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9.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0.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1.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2.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3.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5.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9.xml" ContentType="application/vnd.openxmlformats-officedocument.theme+xml"/>
  <Override PartName="/ppt/tags/tag3.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20.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21.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22.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23.xml" ContentType="application/vnd.openxmlformats-officedocument.theme+xml"/>
  <Override PartName="/ppt/tags/tag4.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2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2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52.xml" ContentType="application/vnd.openxmlformats-officedocument.presentationml.tags+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3.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6.xml" ContentType="application/vnd.openxmlformats-officedocument.presentationml.notesSlide+xml"/>
  <Override PartName="/ppt/tags/tag61.xml" ContentType="application/vnd.openxmlformats-officedocument.presentationml.tags+xml"/>
  <Override PartName="/ppt/notesSlides/notesSlide17.xml" ContentType="application/vnd.openxmlformats-officedocument.presentationml.notesSlide+xml"/>
  <Override PartName="/ppt/tags/tag62.xml" ContentType="application/vnd.openxmlformats-officedocument.presentationml.tags+xml"/>
  <Override PartName="/ppt/notesSlides/notesSlide1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2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21.xml" ContentType="application/vnd.openxmlformats-officedocument.presentationml.notesSlide+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63" r:id="rId2"/>
    <p:sldMasterId id="2147483742" r:id="rId3"/>
    <p:sldMasterId id="2147483772" r:id="rId4"/>
    <p:sldMasterId id="2147483817" r:id="rId5"/>
    <p:sldMasterId id="2147483831" r:id="rId6"/>
    <p:sldMasterId id="2147483871" r:id="rId7"/>
    <p:sldMasterId id="2147483885" r:id="rId8"/>
    <p:sldMasterId id="2147483896" r:id="rId9"/>
    <p:sldMasterId id="2147483903" r:id="rId10"/>
    <p:sldMasterId id="2147483924" r:id="rId11"/>
    <p:sldMasterId id="2147483959" r:id="rId12"/>
    <p:sldMasterId id="2147483978" r:id="rId13"/>
    <p:sldMasterId id="2147484007" r:id="rId14"/>
    <p:sldMasterId id="2147484120" r:id="rId15"/>
    <p:sldMasterId id="2147484332" r:id="rId16"/>
    <p:sldMasterId id="2147484351" r:id="rId17"/>
    <p:sldMasterId id="2147484369" r:id="rId18"/>
    <p:sldMasterId id="2147484382" r:id="rId19"/>
    <p:sldMasterId id="2147484395" r:id="rId20"/>
    <p:sldMasterId id="2147484414" r:id="rId21"/>
    <p:sldMasterId id="2147484596" r:id="rId22"/>
    <p:sldMasterId id="2147484608" r:id="rId23"/>
    <p:sldMasterId id="2147484622" r:id="rId24"/>
    <p:sldMasterId id="2147484629" r:id="rId25"/>
    <p:sldMasterId id="2147484636" r:id="rId26"/>
    <p:sldMasterId id="2147484644" r:id="rId27"/>
  </p:sldMasterIdLst>
  <p:notesMasterIdLst>
    <p:notesMasterId r:id="rId53"/>
  </p:notesMasterIdLst>
  <p:sldIdLst>
    <p:sldId id="726" r:id="rId28"/>
    <p:sldId id="1025" r:id="rId29"/>
    <p:sldId id="1071" r:id="rId30"/>
    <p:sldId id="1000" r:id="rId31"/>
    <p:sldId id="1001" r:id="rId32"/>
    <p:sldId id="1034" r:id="rId33"/>
    <p:sldId id="1092" r:id="rId34"/>
    <p:sldId id="1036" r:id="rId35"/>
    <p:sldId id="1076" r:id="rId36"/>
    <p:sldId id="1077" r:id="rId37"/>
    <p:sldId id="1078" r:id="rId38"/>
    <p:sldId id="1079" r:id="rId39"/>
    <p:sldId id="1080" r:id="rId40"/>
    <p:sldId id="1081" r:id="rId41"/>
    <p:sldId id="1082" r:id="rId42"/>
    <p:sldId id="1083" r:id="rId43"/>
    <p:sldId id="1084" r:id="rId44"/>
    <p:sldId id="1093" r:id="rId45"/>
    <p:sldId id="1085" r:id="rId46"/>
    <p:sldId id="1086" r:id="rId47"/>
    <p:sldId id="1087" r:id="rId48"/>
    <p:sldId id="1088" r:id="rId49"/>
    <p:sldId id="1089" r:id="rId50"/>
    <p:sldId id="1090" r:id="rId51"/>
    <p:sldId id="1091" r:id="rId52"/>
  </p:sldIdLst>
  <p:sldSz cx="9144000" cy="6858000" type="screen4x3"/>
  <p:notesSz cx="7315200" cy="9601200"/>
  <p:custDataLst>
    <p:tags r:id="rId54"/>
  </p:custDataLst>
  <p:defaultTextStyle>
    <a:defPPr>
      <a:defRPr lang="en-US"/>
    </a:defPPr>
    <a:lvl1pPr algn="l" rtl="0" fontAlgn="base">
      <a:spcBef>
        <a:spcPct val="0"/>
      </a:spcBef>
      <a:spcAft>
        <a:spcPct val="0"/>
      </a:spcAft>
      <a:defRPr sz="2300" kern="1200">
        <a:solidFill>
          <a:schemeClr val="tx1"/>
        </a:solidFill>
        <a:latin typeface="Arial" charset="0"/>
        <a:ea typeface="MS PGothic" pitchFamily="34" charset="-128"/>
        <a:cs typeface="+mn-cs"/>
      </a:defRPr>
    </a:lvl1pPr>
    <a:lvl2pPr marL="457200" algn="l" rtl="0" fontAlgn="base">
      <a:spcBef>
        <a:spcPct val="0"/>
      </a:spcBef>
      <a:spcAft>
        <a:spcPct val="0"/>
      </a:spcAft>
      <a:defRPr sz="2300" kern="1200">
        <a:solidFill>
          <a:schemeClr val="tx1"/>
        </a:solidFill>
        <a:latin typeface="Arial" charset="0"/>
        <a:ea typeface="MS PGothic" pitchFamily="34" charset="-128"/>
        <a:cs typeface="+mn-cs"/>
      </a:defRPr>
    </a:lvl2pPr>
    <a:lvl3pPr marL="914400" algn="l" rtl="0" fontAlgn="base">
      <a:spcBef>
        <a:spcPct val="0"/>
      </a:spcBef>
      <a:spcAft>
        <a:spcPct val="0"/>
      </a:spcAft>
      <a:defRPr sz="2300" kern="1200">
        <a:solidFill>
          <a:schemeClr val="tx1"/>
        </a:solidFill>
        <a:latin typeface="Arial" charset="0"/>
        <a:ea typeface="MS PGothic" pitchFamily="34" charset="-128"/>
        <a:cs typeface="+mn-cs"/>
      </a:defRPr>
    </a:lvl3pPr>
    <a:lvl4pPr marL="1371600" algn="l" rtl="0" fontAlgn="base">
      <a:spcBef>
        <a:spcPct val="0"/>
      </a:spcBef>
      <a:spcAft>
        <a:spcPct val="0"/>
      </a:spcAft>
      <a:defRPr sz="2300" kern="1200">
        <a:solidFill>
          <a:schemeClr val="tx1"/>
        </a:solidFill>
        <a:latin typeface="Arial" charset="0"/>
        <a:ea typeface="MS PGothic" pitchFamily="34" charset="-128"/>
        <a:cs typeface="+mn-cs"/>
      </a:defRPr>
    </a:lvl4pPr>
    <a:lvl5pPr marL="1828800" algn="l" rtl="0" fontAlgn="base">
      <a:spcBef>
        <a:spcPct val="0"/>
      </a:spcBef>
      <a:spcAft>
        <a:spcPct val="0"/>
      </a:spcAft>
      <a:defRPr sz="2300" kern="1200">
        <a:solidFill>
          <a:schemeClr val="tx1"/>
        </a:solidFill>
        <a:latin typeface="Arial" charset="0"/>
        <a:ea typeface="MS PGothic" pitchFamily="34" charset="-128"/>
        <a:cs typeface="+mn-cs"/>
      </a:defRPr>
    </a:lvl5pPr>
    <a:lvl6pPr marL="2286000" algn="l" defTabSz="914400" rtl="0" eaLnBrk="1" latinLnBrk="0" hangingPunct="1">
      <a:defRPr sz="2300" kern="1200">
        <a:solidFill>
          <a:schemeClr val="tx1"/>
        </a:solidFill>
        <a:latin typeface="Arial" charset="0"/>
        <a:ea typeface="MS PGothic" pitchFamily="34" charset="-128"/>
        <a:cs typeface="+mn-cs"/>
      </a:defRPr>
    </a:lvl6pPr>
    <a:lvl7pPr marL="2743200" algn="l" defTabSz="914400" rtl="0" eaLnBrk="1" latinLnBrk="0" hangingPunct="1">
      <a:defRPr sz="2300" kern="1200">
        <a:solidFill>
          <a:schemeClr val="tx1"/>
        </a:solidFill>
        <a:latin typeface="Arial" charset="0"/>
        <a:ea typeface="MS PGothic" pitchFamily="34" charset="-128"/>
        <a:cs typeface="+mn-cs"/>
      </a:defRPr>
    </a:lvl7pPr>
    <a:lvl8pPr marL="3200400" algn="l" defTabSz="914400" rtl="0" eaLnBrk="1" latinLnBrk="0" hangingPunct="1">
      <a:defRPr sz="2300" kern="1200">
        <a:solidFill>
          <a:schemeClr val="tx1"/>
        </a:solidFill>
        <a:latin typeface="Arial" charset="0"/>
        <a:ea typeface="MS PGothic" pitchFamily="34" charset="-128"/>
        <a:cs typeface="+mn-cs"/>
      </a:defRPr>
    </a:lvl8pPr>
    <a:lvl9pPr marL="3657600" algn="l" defTabSz="914400" rtl="0" eaLnBrk="1" latinLnBrk="0" hangingPunct="1">
      <a:defRPr sz="2300"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xmlns="">
        <p15:guide id="1" orient="horz" pos="864">
          <p15:clr>
            <a:srgbClr val="A4A3A4"/>
          </p15:clr>
        </p15:guide>
        <p15:guide id="2" orient="horz" pos="672">
          <p15:clr>
            <a:srgbClr val="A4A3A4"/>
          </p15:clr>
        </p15:guide>
        <p15:guide id="3" pos="1200">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olyn Amole" initials="CA" lastIdx="1" clrIdx="0"/>
  <p:cmAuthor id="1" name="Caroline Middlecoate" initials="CM" lastIdx="2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99"/>
    <a:srgbClr val="FFFF00"/>
    <a:srgbClr val="FFFFCC"/>
    <a:srgbClr val="CCECFF"/>
    <a:srgbClr val="E7F6FF"/>
    <a:srgbClr val="FBFDFF"/>
    <a:srgbClr val="FFFF66"/>
    <a:srgbClr val="FF0066"/>
    <a:srgbClr val="B12532"/>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93" autoAdjust="0"/>
    <p:restoredTop sz="84293" autoAdjust="0"/>
  </p:normalViewPr>
  <p:slideViewPr>
    <p:cSldViewPr>
      <p:cViewPr varScale="1">
        <p:scale>
          <a:sx n="71" d="100"/>
          <a:sy n="71" d="100"/>
        </p:scale>
        <p:origin x="-1218" y="-102"/>
      </p:cViewPr>
      <p:guideLst>
        <p:guide orient="horz" pos="864"/>
        <p:guide orient="horz" pos="672"/>
        <p:guide pos="120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3" d="100"/>
          <a:sy n="53" d="100"/>
        </p:scale>
        <p:origin x="-2484" y="-10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2.xml"/><Relationship Id="rId21" Type="http://schemas.openxmlformats.org/officeDocument/2006/relationships/slideMaster" Target="slideMasters/slideMaster21.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2.xml"/><Relationship Id="rId41" Type="http://schemas.openxmlformats.org/officeDocument/2006/relationships/slide" Target="slides/slide14.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4.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B625EA1-A2C5-47B8-99CA-8EAF3B604FBF}" type="doc">
      <dgm:prSet loTypeId="urn:microsoft.com/office/officeart/2005/8/layout/gear1" loCatId="process" qsTypeId="urn:microsoft.com/office/officeart/2005/8/quickstyle/simple1" qsCatId="simple" csTypeId="urn:microsoft.com/office/officeart/2005/8/colors/colorful4" csCatId="colorful" phldr="1"/>
      <dgm:spPr/>
    </dgm:pt>
    <dgm:pt modelId="{7BC91794-D287-44D6-9202-974B420E0E22}">
      <dgm:prSet phldrT="[Text]" custT="1"/>
      <dgm:spPr>
        <a:solidFill>
          <a:schemeClr val="accent5">
            <a:lumMod val="75000"/>
          </a:schemeClr>
        </a:solidFill>
      </dgm:spPr>
      <dgm:t>
        <a:bodyPr/>
        <a:lstStyle/>
        <a:p>
          <a:r>
            <a:rPr lang="en-US" sz="2000" b="1" dirty="0">
              <a:latin typeface="Verdana" pitchFamily="34" charset="0"/>
            </a:rPr>
            <a:t>SUPPLY</a:t>
          </a:r>
        </a:p>
      </dgm:t>
    </dgm:pt>
    <dgm:pt modelId="{67B52DA2-CA8E-45F4-879B-098D234FDD6B}" type="parTrans" cxnId="{1A66973F-7260-47A1-9D7F-07D693B574D0}">
      <dgm:prSet/>
      <dgm:spPr/>
      <dgm:t>
        <a:bodyPr/>
        <a:lstStyle/>
        <a:p>
          <a:endParaRPr lang="en-US"/>
        </a:p>
      </dgm:t>
    </dgm:pt>
    <dgm:pt modelId="{71EBD1B9-C4C9-4EAA-B3CC-1F15C8F00C16}" type="sibTrans" cxnId="{1A66973F-7260-47A1-9D7F-07D693B574D0}">
      <dgm:prSet/>
      <dgm:spPr>
        <a:solidFill>
          <a:schemeClr val="accent5">
            <a:lumMod val="75000"/>
          </a:schemeClr>
        </a:solidFill>
      </dgm:spPr>
      <dgm:t>
        <a:bodyPr/>
        <a:lstStyle/>
        <a:p>
          <a:endParaRPr lang="en-US"/>
        </a:p>
      </dgm:t>
    </dgm:pt>
    <dgm:pt modelId="{053B475C-7D7F-478C-B70D-81781927CD9B}">
      <dgm:prSet phldrT="[Text]"/>
      <dgm:spPr>
        <a:solidFill>
          <a:schemeClr val="accent1">
            <a:lumMod val="75000"/>
          </a:schemeClr>
        </a:solidFill>
      </dgm:spPr>
      <dgm:t>
        <a:bodyPr/>
        <a:lstStyle/>
        <a:p>
          <a:r>
            <a:rPr lang="en-US" b="1" dirty="0">
              <a:latin typeface="Verdana" pitchFamily="34" charset="0"/>
            </a:rPr>
            <a:t>DEMAND</a:t>
          </a:r>
        </a:p>
      </dgm:t>
    </dgm:pt>
    <dgm:pt modelId="{9305DA89-4EBF-4AA9-A3E0-9430B757C143}" type="parTrans" cxnId="{ADBFD776-1D86-4031-8B51-1DD9DF59F23C}">
      <dgm:prSet/>
      <dgm:spPr/>
      <dgm:t>
        <a:bodyPr/>
        <a:lstStyle/>
        <a:p>
          <a:endParaRPr lang="en-US"/>
        </a:p>
      </dgm:t>
    </dgm:pt>
    <dgm:pt modelId="{6AAD918C-905F-4752-9B9A-63AEBC3F5C4E}" type="sibTrans" cxnId="{ADBFD776-1D86-4031-8B51-1DD9DF59F23C}">
      <dgm:prSet/>
      <dgm:spPr>
        <a:solidFill>
          <a:schemeClr val="accent1">
            <a:lumMod val="75000"/>
          </a:schemeClr>
        </a:solidFill>
      </dgm:spPr>
      <dgm:t>
        <a:bodyPr/>
        <a:lstStyle/>
        <a:p>
          <a:endParaRPr lang="en-US"/>
        </a:p>
      </dgm:t>
    </dgm:pt>
    <dgm:pt modelId="{C80514EF-16D3-4C71-AC7D-F6A8CEB3F42B}" type="pres">
      <dgm:prSet presAssocID="{2B625EA1-A2C5-47B8-99CA-8EAF3B604FBF}" presName="composite" presStyleCnt="0">
        <dgm:presLayoutVars>
          <dgm:chMax val="3"/>
          <dgm:animLvl val="lvl"/>
          <dgm:resizeHandles val="exact"/>
        </dgm:presLayoutVars>
      </dgm:prSet>
      <dgm:spPr/>
    </dgm:pt>
    <dgm:pt modelId="{96292133-ACC3-4955-9726-7F54EA066B42}" type="pres">
      <dgm:prSet presAssocID="{7BC91794-D287-44D6-9202-974B420E0E22}" presName="gear1" presStyleLbl="node1" presStyleIdx="0" presStyleCnt="2" custAng="21252199" custScaleX="83471" custScaleY="71319" custLinFactNeighborX="-22310" custLinFactNeighborY="1748">
        <dgm:presLayoutVars>
          <dgm:chMax val="1"/>
          <dgm:bulletEnabled val="1"/>
        </dgm:presLayoutVars>
      </dgm:prSet>
      <dgm:spPr/>
      <dgm:t>
        <a:bodyPr/>
        <a:lstStyle/>
        <a:p>
          <a:endParaRPr lang="en-US"/>
        </a:p>
      </dgm:t>
    </dgm:pt>
    <dgm:pt modelId="{0266FAB3-6012-4ACB-8D9A-29750CE0DACF}" type="pres">
      <dgm:prSet presAssocID="{7BC91794-D287-44D6-9202-974B420E0E22}" presName="gear1srcNode" presStyleLbl="node1" presStyleIdx="0" presStyleCnt="2"/>
      <dgm:spPr/>
      <dgm:t>
        <a:bodyPr/>
        <a:lstStyle/>
        <a:p>
          <a:endParaRPr lang="en-US"/>
        </a:p>
      </dgm:t>
    </dgm:pt>
    <dgm:pt modelId="{B0EFE2FC-FF77-45F4-9E5C-E3FCDA0E33AA}" type="pres">
      <dgm:prSet presAssocID="{7BC91794-D287-44D6-9202-974B420E0E22}" presName="gear1dstNode" presStyleLbl="node1" presStyleIdx="0" presStyleCnt="2"/>
      <dgm:spPr/>
      <dgm:t>
        <a:bodyPr/>
        <a:lstStyle/>
        <a:p>
          <a:endParaRPr lang="en-US"/>
        </a:p>
      </dgm:t>
    </dgm:pt>
    <dgm:pt modelId="{3E79ACA1-45A3-4D11-8F77-33359E869A89}" type="pres">
      <dgm:prSet presAssocID="{053B475C-7D7F-478C-B70D-81781927CD9B}" presName="gear2" presStyleLbl="node1" presStyleIdx="1" presStyleCnt="2" custAng="592843" custScaleX="120610" custLinFactNeighborX="3088" custLinFactNeighborY="-18528">
        <dgm:presLayoutVars>
          <dgm:chMax val="1"/>
          <dgm:bulletEnabled val="1"/>
        </dgm:presLayoutVars>
      </dgm:prSet>
      <dgm:spPr/>
      <dgm:t>
        <a:bodyPr/>
        <a:lstStyle/>
        <a:p>
          <a:endParaRPr lang="en-US"/>
        </a:p>
      </dgm:t>
    </dgm:pt>
    <dgm:pt modelId="{61D23460-A56F-440D-A3EE-6D10FF774340}" type="pres">
      <dgm:prSet presAssocID="{053B475C-7D7F-478C-B70D-81781927CD9B}" presName="gear2srcNode" presStyleLbl="node1" presStyleIdx="1" presStyleCnt="2"/>
      <dgm:spPr/>
      <dgm:t>
        <a:bodyPr/>
        <a:lstStyle/>
        <a:p>
          <a:endParaRPr lang="en-US"/>
        </a:p>
      </dgm:t>
    </dgm:pt>
    <dgm:pt modelId="{C4BE265F-57A8-4492-B5A6-C590AA63EEFB}" type="pres">
      <dgm:prSet presAssocID="{053B475C-7D7F-478C-B70D-81781927CD9B}" presName="gear2dstNode" presStyleLbl="node1" presStyleIdx="1" presStyleCnt="2"/>
      <dgm:spPr/>
      <dgm:t>
        <a:bodyPr/>
        <a:lstStyle/>
        <a:p>
          <a:endParaRPr lang="en-US"/>
        </a:p>
      </dgm:t>
    </dgm:pt>
    <dgm:pt modelId="{0899D4A5-9FEA-4C9C-8A3E-99FE03EEE3DE}" type="pres">
      <dgm:prSet presAssocID="{71EBD1B9-C4C9-4EAA-B3CC-1F15C8F00C16}" presName="connector1" presStyleLbl="sibTrans2D1" presStyleIdx="0" presStyleCnt="2" custAng="784694" custScaleX="87790" custScaleY="101923" custLinFactNeighborX="-27861" custLinFactNeighborY="4232"/>
      <dgm:spPr/>
      <dgm:t>
        <a:bodyPr/>
        <a:lstStyle/>
        <a:p>
          <a:endParaRPr lang="en-US"/>
        </a:p>
      </dgm:t>
    </dgm:pt>
    <dgm:pt modelId="{24C7224F-1C87-42E6-9315-CB1B2DA688CB}" type="pres">
      <dgm:prSet presAssocID="{6AAD918C-905F-4752-9B9A-63AEBC3F5C4E}" presName="connector2" presStyleLbl="sibTrans2D1" presStyleIdx="1" presStyleCnt="2" custScaleX="125940" custLinFactNeighborX="9085" custLinFactNeighborY="-21105"/>
      <dgm:spPr/>
      <dgm:t>
        <a:bodyPr/>
        <a:lstStyle/>
        <a:p>
          <a:endParaRPr lang="en-US"/>
        </a:p>
      </dgm:t>
    </dgm:pt>
  </dgm:ptLst>
  <dgm:cxnLst>
    <dgm:cxn modelId="{05FC09FE-582B-4840-9F77-C0B37CCE19EE}" type="presOf" srcId="{2B625EA1-A2C5-47B8-99CA-8EAF3B604FBF}" destId="{C80514EF-16D3-4C71-AC7D-F6A8CEB3F42B}" srcOrd="0" destOrd="0" presId="urn:microsoft.com/office/officeart/2005/8/layout/gear1"/>
    <dgm:cxn modelId="{1A66973F-7260-47A1-9D7F-07D693B574D0}" srcId="{2B625EA1-A2C5-47B8-99CA-8EAF3B604FBF}" destId="{7BC91794-D287-44D6-9202-974B420E0E22}" srcOrd="0" destOrd="0" parTransId="{67B52DA2-CA8E-45F4-879B-098D234FDD6B}" sibTransId="{71EBD1B9-C4C9-4EAA-B3CC-1F15C8F00C16}"/>
    <dgm:cxn modelId="{F373F077-5B94-49A1-B520-11F8981A2D82}" type="presOf" srcId="{7BC91794-D287-44D6-9202-974B420E0E22}" destId="{96292133-ACC3-4955-9726-7F54EA066B42}" srcOrd="0" destOrd="0" presId="urn:microsoft.com/office/officeart/2005/8/layout/gear1"/>
    <dgm:cxn modelId="{E373C77F-C43C-4D09-8175-5BDA1E0B287B}" type="presOf" srcId="{6AAD918C-905F-4752-9B9A-63AEBC3F5C4E}" destId="{24C7224F-1C87-42E6-9315-CB1B2DA688CB}" srcOrd="0" destOrd="0" presId="urn:microsoft.com/office/officeart/2005/8/layout/gear1"/>
    <dgm:cxn modelId="{CFDAB29F-41BF-4DB8-A541-84DBD9270C34}" type="presOf" srcId="{7BC91794-D287-44D6-9202-974B420E0E22}" destId="{B0EFE2FC-FF77-45F4-9E5C-E3FCDA0E33AA}" srcOrd="2" destOrd="0" presId="urn:microsoft.com/office/officeart/2005/8/layout/gear1"/>
    <dgm:cxn modelId="{5A619ADA-DA8E-40A6-82EF-5F89ED753B1E}" type="presOf" srcId="{053B475C-7D7F-478C-B70D-81781927CD9B}" destId="{61D23460-A56F-440D-A3EE-6D10FF774340}" srcOrd="1" destOrd="0" presId="urn:microsoft.com/office/officeart/2005/8/layout/gear1"/>
    <dgm:cxn modelId="{ADBFD776-1D86-4031-8B51-1DD9DF59F23C}" srcId="{2B625EA1-A2C5-47B8-99CA-8EAF3B604FBF}" destId="{053B475C-7D7F-478C-B70D-81781927CD9B}" srcOrd="1" destOrd="0" parTransId="{9305DA89-4EBF-4AA9-A3E0-9430B757C143}" sibTransId="{6AAD918C-905F-4752-9B9A-63AEBC3F5C4E}"/>
    <dgm:cxn modelId="{1E6D8022-C69A-4290-8E53-C9118873922C}" type="presOf" srcId="{71EBD1B9-C4C9-4EAA-B3CC-1F15C8F00C16}" destId="{0899D4A5-9FEA-4C9C-8A3E-99FE03EEE3DE}" srcOrd="0" destOrd="0" presId="urn:microsoft.com/office/officeart/2005/8/layout/gear1"/>
    <dgm:cxn modelId="{A181973C-0718-492F-971E-E098B72C87D4}" type="presOf" srcId="{053B475C-7D7F-478C-B70D-81781927CD9B}" destId="{3E79ACA1-45A3-4D11-8F77-33359E869A89}" srcOrd="0" destOrd="0" presId="urn:microsoft.com/office/officeart/2005/8/layout/gear1"/>
    <dgm:cxn modelId="{063517D3-94B4-41F2-ACBA-D5FFF7804034}" type="presOf" srcId="{7BC91794-D287-44D6-9202-974B420E0E22}" destId="{0266FAB3-6012-4ACB-8D9A-29750CE0DACF}" srcOrd="1" destOrd="0" presId="urn:microsoft.com/office/officeart/2005/8/layout/gear1"/>
    <dgm:cxn modelId="{3A26D834-62C3-4B14-92FD-3330D68AF2C0}" type="presOf" srcId="{053B475C-7D7F-478C-B70D-81781927CD9B}" destId="{C4BE265F-57A8-4492-B5A6-C590AA63EEFB}" srcOrd="2" destOrd="0" presId="urn:microsoft.com/office/officeart/2005/8/layout/gear1"/>
    <dgm:cxn modelId="{43987943-1907-4C7D-8413-F7F85A66E11C}" type="presParOf" srcId="{C80514EF-16D3-4C71-AC7D-F6A8CEB3F42B}" destId="{96292133-ACC3-4955-9726-7F54EA066B42}" srcOrd="0" destOrd="0" presId="urn:microsoft.com/office/officeart/2005/8/layout/gear1"/>
    <dgm:cxn modelId="{605FF910-E32C-4B69-876F-B6846BCEAEFE}" type="presParOf" srcId="{C80514EF-16D3-4C71-AC7D-F6A8CEB3F42B}" destId="{0266FAB3-6012-4ACB-8D9A-29750CE0DACF}" srcOrd="1" destOrd="0" presId="urn:microsoft.com/office/officeart/2005/8/layout/gear1"/>
    <dgm:cxn modelId="{0C6EF9FF-46CC-44D7-AC35-149FD2A56707}" type="presParOf" srcId="{C80514EF-16D3-4C71-AC7D-F6A8CEB3F42B}" destId="{B0EFE2FC-FF77-45F4-9E5C-E3FCDA0E33AA}" srcOrd="2" destOrd="0" presId="urn:microsoft.com/office/officeart/2005/8/layout/gear1"/>
    <dgm:cxn modelId="{DCEF7473-3DDA-494F-A5E7-C11883355B54}" type="presParOf" srcId="{C80514EF-16D3-4C71-AC7D-F6A8CEB3F42B}" destId="{3E79ACA1-45A3-4D11-8F77-33359E869A89}" srcOrd="3" destOrd="0" presId="urn:microsoft.com/office/officeart/2005/8/layout/gear1"/>
    <dgm:cxn modelId="{F2811B09-D8B0-429E-B1D7-79DF306FBD88}" type="presParOf" srcId="{C80514EF-16D3-4C71-AC7D-F6A8CEB3F42B}" destId="{61D23460-A56F-440D-A3EE-6D10FF774340}" srcOrd="4" destOrd="0" presId="urn:microsoft.com/office/officeart/2005/8/layout/gear1"/>
    <dgm:cxn modelId="{88338E82-0984-4452-9A55-E863468B4266}" type="presParOf" srcId="{C80514EF-16D3-4C71-AC7D-F6A8CEB3F42B}" destId="{C4BE265F-57A8-4492-B5A6-C590AA63EEFB}" srcOrd="5" destOrd="0" presId="urn:microsoft.com/office/officeart/2005/8/layout/gear1"/>
    <dgm:cxn modelId="{0FB9A2F8-D6BC-44B4-9960-6115F71FEE29}" type="presParOf" srcId="{C80514EF-16D3-4C71-AC7D-F6A8CEB3F42B}" destId="{0899D4A5-9FEA-4C9C-8A3E-99FE03EEE3DE}" srcOrd="6" destOrd="0" presId="urn:microsoft.com/office/officeart/2005/8/layout/gear1"/>
    <dgm:cxn modelId="{CFE3C41A-C04D-4C1D-8AAE-4F1856A8063C}" type="presParOf" srcId="{C80514EF-16D3-4C71-AC7D-F6A8CEB3F42B}" destId="{24C7224F-1C87-42E6-9315-CB1B2DA688CB}" srcOrd="7" destOrd="0" presId="urn:microsoft.com/office/officeart/2005/8/layout/gear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F661B33-4262-4F62-9F86-3C512F8E03C6}"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en-US"/>
        </a:p>
      </dgm:t>
    </dgm:pt>
    <dgm:pt modelId="{0C2105A1-5861-45E1-AEA0-E508BE215934}">
      <dgm:prSet phldrT="[Text]" custT="1"/>
      <dgm:spPr/>
      <dgm:t>
        <a:bodyPr/>
        <a:lstStyle/>
        <a:p>
          <a:r>
            <a:rPr lang="en-US" sz="1800" dirty="0" smtClean="0">
              <a:latin typeface="Calibri" panose="020F0502020204030204" pitchFamily="34" charset="0"/>
            </a:rPr>
            <a:t>Community can play a pivotal role in accelerating access to new, optimal products through both </a:t>
          </a:r>
          <a:r>
            <a:rPr lang="en-US" sz="1800" b="1" dirty="0" smtClean="0">
              <a:latin typeface="Calibri" panose="020F0502020204030204" pitchFamily="34" charset="0"/>
            </a:rPr>
            <a:t>advocacy and supporting roll-out</a:t>
          </a:r>
        </a:p>
        <a:p>
          <a:r>
            <a:rPr lang="en-US" sz="1500" i="1" dirty="0" smtClean="0">
              <a:latin typeface="Calibri" panose="020F0502020204030204" pitchFamily="34" charset="0"/>
            </a:rPr>
            <a:t>	“Our biggest mistake in product roll-out in the past has been not	involving the community” – Ministry of Health Official</a:t>
          </a:r>
          <a:endParaRPr lang="en-US" sz="1500" b="1" dirty="0"/>
        </a:p>
      </dgm:t>
    </dgm:pt>
    <dgm:pt modelId="{DC016D47-1D14-4192-A93F-6068DABD375C}" type="parTrans" cxnId="{415CFF49-CAB7-4CD1-BB82-41AC73F3E944}">
      <dgm:prSet/>
      <dgm:spPr/>
      <dgm:t>
        <a:bodyPr/>
        <a:lstStyle/>
        <a:p>
          <a:endParaRPr lang="en-US"/>
        </a:p>
      </dgm:t>
    </dgm:pt>
    <dgm:pt modelId="{6B53082A-87C9-4E18-B5E2-2D0B21906E51}" type="sibTrans" cxnId="{415CFF49-CAB7-4CD1-BB82-41AC73F3E944}">
      <dgm:prSet/>
      <dgm:spPr/>
      <dgm:t>
        <a:bodyPr/>
        <a:lstStyle/>
        <a:p>
          <a:endParaRPr lang="en-US"/>
        </a:p>
      </dgm:t>
    </dgm:pt>
    <dgm:pt modelId="{2EB64886-841A-4DE5-9E3B-724F04FB7E33}">
      <dgm:prSet custT="1"/>
      <dgm:spPr/>
      <dgm:t>
        <a:bodyPr/>
        <a:lstStyle/>
        <a:p>
          <a:r>
            <a:rPr lang="en-US" sz="1800" dirty="0" smtClean="0">
              <a:latin typeface="Calibri" panose="020F0502020204030204" pitchFamily="34" charset="0"/>
            </a:rPr>
            <a:t>Community participation can help ensure the </a:t>
          </a:r>
          <a:r>
            <a:rPr lang="en-US" sz="1800" b="1" dirty="0" smtClean="0">
              <a:latin typeface="Calibri" panose="020F0502020204030204" pitchFamily="34" charset="0"/>
            </a:rPr>
            <a:t>communication and approach </a:t>
          </a:r>
          <a:r>
            <a:rPr lang="en-US" sz="1800" dirty="0" smtClean="0">
              <a:latin typeface="Calibri" panose="020F0502020204030204" pitchFamily="34" charset="0"/>
            </a:rPr>
            <a:t>is appropriate for target groups</a:t>
          </a:r>
        </a:p>
      </dgm:t>
    </dgm:pt>
    <dgm:pt modelId="{4AB9520C-AB80-4223-A609-1FABB0043B1E}" type="parTrans" cxnId="{1CBD20DD-FBD7-4CE6-819A-C450C025BFBF}">
      <dgm:prSet/>
      <dgm:spPr/>
      <dgm:t>
        <a:bodyPr/>
        <a:lstStyle/>
        <a:p>
          <a:endParaRPr lang="en-US"/>
        </a:p>
      </dgm:t>
    </dgm:pt>
    <dgm:pt modelId="{12CFFFB1-D48C-400F-B739-7C0D4F87C52E}" type="sibTrans" cxnId="{1CBD20DD-FBD7-4CE6-819A-C450C025BFBF}">
      <dgm:prSet/>
      <dgm:spPr/>
      <dgm:t>
        <a:bodyPr/>
        <a:lstStyle/>
        <a:p>
          <a:endParaRPr lang="en-US"/>
        </a:p>
      </dgm:t>
    </dgm:pt>
    <dgm:pt modelId="{5F3A9563-A1FA-42A8-ADC3-490CC2F9F20B}">
      <dgm:prSet custT="1"/>
      <dgm:spPr/>
      <dgm:t>
        <a:bodyPr/>
        <a:lstStyle/>
        <a:p>
          <a:r>
            <a:rPr lang="en-US" sz="1800" dirty="0" smtClean="0">
              <a:latin typeface="Calibri" panose="020F0502020204030204" pitchFamily="34" charset="0"/>
            </a:rPr>
            <a:t>The CAB can represent the community voice across countries in providing </a:t>
          </a:r>
          <a:r>
            <a:rPr lang="en-US" sz="1800" b="1" dirty="0" smtClean="0">
              <a:latin typeface="Calibri" panose="020F0502020204030204" pitchFamily="34" charset="0"/>
            </a:rPr>
            <a:t>input and guidance on pressing issues </a:t>
          </a:r>
          <a:br>
            <a:rPr lang="en-US" sz="1800" b="1" dirty="0" smtClean="0">
              <a:latin typeface="Calibri" panose="020F0502020204030204" pitchFamily="34" charset="0"/>
            </a:rPr>
          </a:br>
          <a:r>
            <a:rPr lang="en-US" sz="1800" dirty="0" smtClean="0">
              <a:latin typeface="Calibri" panose="020F0502020204030204" pitchFamily="34" charset="0"/>
            </a:rPr>
            <a:t>in treatment access</a:t>
          </a:r>
        </a:p>
      </dgm:t>
    </dgm:pt>
    <dgm:pt modelId="{967F93DE-C87E-4335-8A04-C47F4AFE95D3}" type="parTrans" cxnId="{6FF21581-DA44-4CCA-BE02-98E9C1D6369D}">
      <dgm:prSet/>
      <dgm:spPr/>
      <dgm:t>
        <a:bodyPr/>
        <a:lstStyle/>
        <a:p>
          <a:endParaRPr lang="en-US"/>
        </a:p>
      </dgm:t>
    </dgm:pt>
    <dgm:pt modelId="{642EDE43-390F-4416-A1CE-0A7F67E88447}" type="sibTrans" cxnId="{6FF21581-DA44-4CCA-BE02-98E9C1D6369D}">
      <dgm:prSet/>
      <dgm:spPr/>
      <dgm:t>
        <a:bodyPr/>
        <a:lstStyle/>
        <a:p>
          <a:endParaRPr lang="en-US"/>
        </a:p>
      </dgm:t>
    </dgm:pt>
    <dgm:pt modelId="{795AFCF2-59AC-42AC-8102-98E8C531BC67}">
      <dgm:prSet custT="1"/>
      <dgm:spPr/>
      <dgm:t>
        <a:bodyPr/>
        <a:lstStyle/>
        <a:p>
          <a:r>
            <a:rPr lang="en-US" sz="1800" i="1" dirty="0" smtClean="0">
              <a:latin typeface="Calibri" panose="020F0502020204030204" pitchFamily="34" charset="0"/>
            </a:rPr>
            <a:t>What is missing?</a:t>
          </a:r>
        </a:p>
      </dgm:t>
    </dgm:pt>
    <dgm:pt modelId="{6FCEE873-188A-4C51-AC25-21BD7C7C849A}" type="parTrans" cxnId="{98A72548-8B0C-43CC-AFFE-8968D41D1026}">
      <dgm:prSet/>
      <dgm:spPr/>
      <dgm:t>
        <a:bodyPr/>
        <a:lstStyle/>
        <a:p>
          <a:endParaRPr lang="en-US"/>
        </a:p>
      </dgm:t>
    </dgm:pt>
    <dgm:pt modelId="{4D4439BA-7FE1-4898-995A-3B67E87426C1}" type="sibTrans" cxnId="{98A72548-8B0C-43CC-AFFE-8968D41D1026}">
      <dgm:prSet/>
      <dgm:spPr/>
      <dgm:t>
        <a:bodyPr/>
        <a:lstStyle/>
        <a:p>
          <a:endParaRPr lang="en-US"/>
        </a:p>
      </dgm:t>
    </dgm:pt>
    <dgm:pt modelId="{7B603802-23AD-4936-9ADA-5BC02BE14C47}">
      <dgm:prSet phldrT="[Text]" custT="1"/>
      <dgm:spPr/>
      <dgm:t>
        <a:bodyPr/>
        <a:lstStyle/>
        <a:p>
          <a:r>
            <a:rPr lang="en-US" sz="1800" dirty="0" smtClean="0">
              <a:latin typeface="Calibri" panose="020F0502020204030204" pitchFamily="34" charset="0"/>
            </a:rPr>
            <a:t>Community engagement is critical to </a:t>
          </a:r>
          <a:r>
            <a:rPr lang="en-US" sz="1800" b="1" dirty="0" smtClean="0">
              <a:latin typeface="Calibri" panose="020F0502020204030204" pitchFamily="34" charset="0"/>
            </a:rPr>
            <a:t>long-term sustainability</a:t>
          </a:r>
          <a:endParaRPr lang="en-US" sz="1800" b="0" dirty="0"/>
        </a:p>
      </dgm:t>
    </dgm:pt>
    <dgm:pt modelId="{E1E82BD6-C087-442D-8226-9FC05347F8CC}" type="parTrans" cxnId="{3B6C25AB-17C6-45FC-AA1A-01F87D765DD1}">
      <dgm:prSet/>
      <dgm:spPr/>
      <dgm:t>
        <a:bodyPr/>
        <a:lstStyle/>
        <a:p>
          <a:endParaRPr lang="en-US"/>
        </a:p>
      </dgm:t>
    </dgm:pt>
    <dgm:pt modelId="{CF72C582-16B5-476A-B6F6-F72A32A0AB9F}" type="sibTrans" cxnId="{3B6C25AB-17C6-45FC-AA1A-01F87D765DD1}">
      <dgm:prSet/>
      <dgm:spPr/>
      <dgm:t>
        <a:bodyPr/>
        <a:lstStyle/>
        <a:p>
          <a:endParaRPr lang="en-US"/>
        </a:p>
      </dgm:t>
    </dgm:pt>
    <dgm:pt modelId="{0FCA1642-9E3D-4C8B-AE15-9961791359B0}" type="pres">
      <dgm:prSet presAssocID="{3F661B33-4262-4F62-9F86-3C512F8E03C6}" presName="Name0" presStyleCnt="0">
        <dgm:presLayoutVars>
          <dgm:dir/>
        </dgm:presLayoutVars>
      </dgm:prSet>
      <dgm:spPr/>
      <dgm:t>
        <a:bodyPr/>
        <a:lstStyle/>
        <a:p>
          <a:endParaRPr lang="en-US"/>
        </a:p>
      </dgm:t>
    </dgm:pt>
    <dgm:pt modelId="{D4B04603-FE5E-4C4F-8B57-4036EB40D6D6}" type="pres">
      <dgm:prSet presAssocID="{0C2105A1-5861-45E1-AEA0-E508BE215934}" presName="noChildren" presStyleCnt="0"/>
      <dgm:spPr/>
    </dgm:pt>
    <dgm:pt modelId="{D3BA1070-2B40-4F97-A8AB-4178B9C415F9}" type="pres">
      <dgm:prSet presAssocID="{0C2105A1-5861-45E1-AEA0-E508BE215934}" presName="gap" presStyleCnt="0"/>
      <dgm:spPr/>
    </dgm:pt>
    <dgm:pt modelId="{0EC0D4C1-8C88-4A3D-B226-6C5768732863}" type="pres">
      <dgm:prSet presAssocID="{0C2105A1-5861-45E1-AEA0-E508BE215934}" presName="medCircle2" presStyleLbl="vennNode1" presStyleIdx="0" presStyleCnt="5"/>
      <dgm:spPr/>
    </dgm:pt>
    <dgm:pt modelId="{5A9D0D92-780E-47FC-96BE-D85F9F6E8344}" type="pres">
      <dgm:prSet presAssocID="{0C2105A1-5861-45E1-AEA0-E508BE215934}" presName="txLvlOnly1" presStyleLbl="revTx" presStyleIdx="0" presStyleCnt="5" custScaleX="103925" custLinFactNeighborX="3399" custLinFactNeighborY="9464"/>
      <dgm:spPr/>
      <dgm:t>
        <a:bodyPr/>
        <a:lstStyle/>
        <a:p>
          <a:endParaRPr lang="en-US"/>
        </a:p>
      </dgm:t>
    </dgm:pt>
    <dgm:pt modelId="{E624DB66-260F-4C95-A947-A253EAB883E9}" type="pres">
      <dgm:prSet presAssocID="{7B603802-23AD-4936-9ADA-5BC02BE14C47}" presName="noChildren" presStyleCnt="0"/>
      <dgm:spPr/>
    </dgm:pt>
    <dgm:pt modelId="{42FA1562-DD52-47AE-8314-5458318C0791}" type="pres">
      <dgm:prSet presAssocID="{7B603802-23AD-4936-9ADA-5BC02BE14C47}" presName="gap" presStyleCnt="0"/>
      <dgm:spPr/>
    </dgm:pt>
    <dgm:pt modelId="{678C949D-70E1-4DD4-9E31-72D31F325A3E}" type="pres">
      <dgm:prSet presAssocID="{7B603802-23AD-4936-9ADA-5BC02BE14C47}" presName="medCircle2" presStyleLbl="vennNode1" presStyleIdx="1" presStyleCnt="5"/>
      <dgm:spPr>
        <a:solidFill>
          <a:srgbClr val="FFFF66">
            <a:alpha val="50000"/>
          </a:srgbClr>
        </a:solidFill>
      </dgm:spPr>
    </dgm:pt>
    <dgm:pt modelId="{A81C6E03-FCB7-4A90-B4EB-6E36FFF04302}" type="pres">
      <dgm:prSet presAssocID="{7B603802-23AD-4936-9ADA-5BC02BE14C47}" presName="txLvlOnly1" presStyleLbl="revTx" presStyleIdx="1" presStyleCnt="5"/>
      <dgm:spPr/>
      <dgm:t>
        <a:bodyPr/>
        <a:lstStyle/>
        <a:p>
          <a:endParaRPr lang="en-US"/>
        </a:p>
      </dgm:t>
    </dgm:pt>
    <dgm:pt modelId="{CF386733-EA9C-4737-9911-97D1FBA86257}" type="pres">
      <dgm:prSet presAssocID="{2EB64886-841A-4DE5-9E3B-724F04FB7E33}" presName="noChildren" presStyleCnt="0"/>
      <dgm:spPr/>
    </dgm:pt>
    <dgm:pt modelId="{53F8A8C4-841A-4520-AC3D-B93F087876F8}" type="pres">
      <dgm:prSet presAssocID="{2EB64886-841A-4DE5-9E3B-724F04FB7E33}" presName="gap" presStyleCnt="0"/>
      <dgm:spPr/>
    </dgm:pt>
    <dgm:pt modelId="{5DFBACF3-D2F3-4A80-99D6-6796D414CB9D}" type="pres">
      <dgm:prSet presAssocID="{2EB64886-841A-4DE5-9E3B-724F04FB7E33}" presName="medCircle2" presStyleLbl="vennNode1" presStyleIdx="2" presStyleCnt="5"/>
      <dgm:spPr>
        <a:solidFill>
          <a:srgbClr val="FFCCFF">
            <a:alpha val="49804"/>
          </a:srgbClr>
        </a:solidFill>
      </dgm:spPr>
    </dgm:pt>
    <dgm:pt modelId="{EAD0E9E6-104E-40C2-AF0F-AB6FFA9B7B80}" type="pres">
      <dgm:prSet presAssocID="{2EB64886-841A-4DE5-9E3B-724F04FB7E33}" presName="txLvlOnly1" presStyleLbl="revTx" presStyleIdx="2" presStyleCnt="5"/>
      <dgm:spPr/>
      <dgm:t>
        <a:bodyPr/>
        <a:lstStyle/>
        <a:p>
          <a:endParaRPr lang="en-US"/>
        </a:p>
      </dgm:t>
    </dgm:pt>
    <dgm:pt modelId="{1A493DCE-2C95-4A08-AE16-CD1E720A85DF}" type="pres">
      <dgm:prSet presAssocID="{5F3A9563-A1FA-42A8-ADC3-490CC2F9F20B}" presName="noChildren" presStyleCnt="0"/>
      <dgm:spPr/>
    </dgm:pt>
    <dgm:pt modelId="{47318BBF-67DE-4F0E-B09E-6AF7AE6CC2DF}" type="pres">
      <dgm:prSet presAssocID="{5F3A9563-A1FA-42A8-ADC3-490CC2F9F20B}" presName="gap" presStyleCnt="0"/>
      <dgm:spPr/>
    </dgm:pt>
    <dgm:pt modelId="{4D49BF29-0083-4A4C-AF6C-DDFEB3D6CA86}" type="pres">
      <dgm:prSet presAssocID="{5F3A9563-A1FA-42A8-ADC3-490CC2F9F20B}" presName="medCircle2" presStyleLbl="vennNode1" presStyleIdx="3" presStyleCnt="5"/>
      <dgm:spPr>
        <a:solidFill>
          <a:srgbClr val="66FF99">
            <a:alpha val="50000"/>
          </a:srgbClr>
        </a:solidFill>
      </dgm:spPr>
    </dgm:pt>
    <dgm:pt modelId="{46CF20BC-9A39-4199-8057-A9B72A8E7BCE}" type="pres">
      <dgm:prSet presAssocID="{5F3A9563-A1FA-42A8-ADC3-490CC2F9F20B}" presName="txLvlOnly1" presStyleLbl="revTx" presStyleIdx="3" presStyleCnt="5"/>
      <dgm:spPr/>
      <dgm:t>
        <a:bodyPr/>
        <a:lstStyle/>
        <a:p>
          <a:endParaRPr lang="en-US"/>
        </a:p>
      </dgm:t>
    </dgm:pt>
    <dgm:pt modelId="{94674B8A-D9C8-4787-972D-2E969C0435F4}" type="pres">
      <dgm:prSet presAssocID="{795AFCF2-59AC-42AC-8102-98E8C531BC67}" presName="noChildren" presStyleCnt="0"/>
      <dgm:spPr/>
    </dgm:pt>
    <dgm:pt modelId="{FB13AF00-DC9F-4C85-BF7E-4BE05B766BBC}" type="pres">
      <dgm:prSet presAssocID="{795AFCF2-59AC-42AC-8102-98E8C531BC67}" presName="gap" presStyleCnt="0"/>
      <dgm:spPr/>
    </dgm:pt>
    <dgm:pt modelId="{42DE7A85-E994-4459-8717-C094F53906BC}" type="pres">
      <dgm:prSet presAssocID="{795AFCF2-59AC-42AC-8102-98E8C531BC67}" presName="medCircle2" presStyleLbl="vennNode1" presStyleIdx="4" presStyleCnt="5"/>
      <dgm:spPr>
        <a:solidFill>
          <a:srgbClr val="CC99FF">
            <a:alpha val="50000"/>
          </a:srgbClr>
        </a:solidFill>
      </dgm:spPr>
    </dgm:pt>
    <dgm:pt modelId="{759800D0-E341-4196-BFBF-30469E3B65F7}" type="pres">
      <dgm:prSet presAssocID="{795AFCF2-59AC-42AC-8102-98E8C531BC67}" presName="txLvlOnly1" presStyleLbl="revTx" presStyleIdx="4" presStyleCnt="5"/>
      <dgm:spPr/>
      <dgm:t>
        <a:bodyPr/>
        <a:lstStyle/>
        <a:p>
          <a:endParaRPr lang="en-US"/>
        </a:p>
      </dgm:t>
    </dgm:pt>
  </dgm:ptLst>
  <dgm:cxnLst>
    <dgm:cxn modelId="{1CBD20DD-FBD7-4CE6-819A-C450C025BFBF}" srcId="{3F661B33-4262-4F62-9F86-3C512F8E03C6}" destId="{2EB64886-841A-4DE5-9E3B-724F04FB7E33}" srcOrd="2" destOrd="0" parTransId="{4AB9520C-AB80-4223-A609-1FABB0043B1E}" sibTransId="{12CFFFB1-D48C-400F-B739-7C0D4F87C52E}"/>
    <dgm:cxn modelId="{98A72548-8B0C-43CC-AFFE-8968D41D1026}" srcId="{3F661B33-4262-4F62-9F86-3C512F8E03C6}" destId="{795AFCF2-59AC-42AC-8102-98E8C531BC67}" srcOrd="4" destOrd="0" parTransId="{6FCEE873-188A-4C51-AC25-21BD7C7C849A}" sibTransId="{4D4439BA-7FE1-4898-995A-3B67E87426C1}"/>
    <dgm:cxn modelId="{415CFF49-CAB7-4CD1-BB82-41AC73F3E944}" srcId="{3F661B33-4262-4F62-9F86-3C512F8E03C6}" destId="{0C2105A1-5861-45E1-AEA0-E508BE215934}" srcOrd="0" destOrd="0" parTransId="{DC016D47-1D14-4192-A93F-6068DABD375C}" sibTransId="{6B53082A-87C9-4E18-B5E2-2D0B21906E51}"/>
    <dgm:cxn modelId="{C982BD67-05CD-41A4-B74E-47841F1BBFD3}" type="presOf" srcId="{2EB64886-841A-4DE5-9E3B-724F04FB7E33}" destId="{EAD0E9E6-104E-40C2-AF0F-AB6FFA9B7B80}" srcOrd="0" destOrd="0" presId="urn:microsoft.com/office/officeart/2008/layout/VerticalCircleList"/>
    <dgm:cxn modelId="{3B6C25AB-17C6-45FC-AA1A-01F87D765DD1}" srcId="{3F661B33-4262-4F62-9F86-3C512F8E03C6}" destId="{7B603802-23AD-4936-9ADA-5BC02BE14C47}" srcOrd="1" destOrd="0" parTransId="{E1E82BD6-C087-442D-8226-9FC05347F8CC}" sibTransId="{CF72C582-16B5-476A-B6F6-F72A32A0AB9F}"/>
    <dgm:cxn modelId="{961B98AF-EE2C-4227-A4FA-EB75DC510DF6}" type="presOf" srcId="{3F661B33-4262-4F62-9F86-3C512F8E03C6}" destId="{0FCA1642-9E3D-4C8B-AE15-9961791359B0}" srcOrd="0" destOrd="0" presId="urn:microsoft.com/office/officeart/2008/layout/VerticalCircleList"/>
    <dgm:cxn modelId="{2BA4F31D-C5F3-4365-8EE3-582A3654A5DC}" type="presOf" srcId="{5F3A9563-A1FA-42A8-ADC3-490CC2F9F20B}" destId="{46CF20BC-9A39-4199-8057-A9B72A8E7BCE}" srcOrd="0" destOrd="0" presId="urn:microsoft.com/office/officeart/2008/layout/VerticalCircleList"/>
    <dgm:cxn modelId="{93B89CE2-8886-45E9-95FD-DA20F55801E4}" type="presOf" srcId="{7B603802-23AD-4936-9ADA-5BC02BE14C47}" destId="{A81C6E03-FCB7-4A90-B4EB-6E36FFF04302}" srcOrd="0" destOrd="0" presId="urn:microsoft.com/office/officeart/2008/layout/VerticalCircleList"/>
    <dgm:cxn modelId="{8BC969A4-398D-4CAA-82ED-F7AEDC3BABAB}" type="presOf" srcId="{795AFCF2-59AC-42AC-8102-98E8C531BC67}" destId="{759800D0-E341-4196-BFBF-30469E3B65F7}" srcOrd="0" destOrd="0" presId="urn:microsoft.com/office/officeart/2008/layout/VerticalCircleList"/>
    <dgm:cxn modelId="{6FF21581-DA44-4CCA-BE02-98E9C1D6369D}" srcId="{3F661B33-4262-4F62-9F86-3C512F8E03C6}" destId="{5F3A9563-A1FA-42A8-ADC3-490CC2F9F20B}" srcOrd="3" destOrd="0" parTransId="{967F93DE-C87E-4335-8A04-C47F4AFE95D3}" sibTransId="{642EDE43-390F-4416-A1CE-0A7F67E88447}"/>
    <dgm:cxn modelId="{538E6379-11A2-46B3-9DF7-699639322465}" type="presOf" srcId="{0C2105A1-5861-45E1-AEA0-E508BE215934}" destId="{5A9D0D92-780E-47FC-96BE-D85F9F6E8344}" srcOrd="0" destOrd="0" presId="urn:microsoft.com/office/officeart/2008/layout/VerticalCircleList"/>
    <dgm:cxn modelId="{A0732CF7-71E7-45A7-A1DD-0F994E5F7173}" type="presParOf" srcId="{0FCA1642-9E3D-4C8B-AE15-9961791359B0}" destId="{D4B04603-FE5E-4C4F-8B57-4036EB40D6D6}" srcOrd="0" destOrd="0" presId="urn:microsoft.com/office/officeart/2008/layout/VerticalCircleList"/>
    <dgm:cxn modelId="{D30AF93A-B8E2-4095-B65A-620903942209}" type="presParOf" srcId="{D4B04603-FE5E-4C4F-8B57-4036EB40D6D6}" destId="{D3BA1070-2B40-4F97-A8AB-4178B9C415F9}" srcOrd="0" destOrd="0" presId="urn:microsoft.com/office/officeart/2008/layout/VerticalCircleList"/>
    <dgm:cxn modelId="{A6E96199-6AD0-463A-BF03-30EB59531459}" type="presParOf" srcId="{D4B04603-FE5E-4C4F-8B57-4036EB40D6D6}" destId="{0EC0D4C1-8C88-4A3D-B226-6C5768732863}" srcOrd="1" destOrd="0" presId="urn:microsoft.com/office/officeart/2008/layout/VerticalCircleList"/>
    <dgm:cxn modelId="{37460038-E025-44B2-B30A-D1962812C968}" type="presParOf" srcId="{D4B04603-FE5E-4C4F-8B57-4036EB40D6D6}" destId="{5A9D0D92-780E-47FC-96BE-D85F9F6E8344}" srcOrd="2" destOrd="0" presId="urn:microsoft.com/office/officeart/2008/layout/VerticalCircleList"/>
    <dgm:cxn modelId="{FDC783AC-0149-4848-86ED-B8FF4E662405}" type="presParOf" srcId="{0FCA1642-9E3D-4C8B-AE15-9961791359B0}" destId="{E624DB66-260F-4C95-A947-A253EAB883E9}" srcOrd="1" destOrd="0" presId="urn:microsoft.com/office/officeart/2008/layout/VerticalCircleList"/>
    <dgm:cxn modelId="{5700D1BB-8F3E-497B-89DE-F6A6B0C2CDE8}" type="presParOf" srcId="{E624DB66-260F-4C95-A947-A253EAB883E9}" destId="{42FA1562-DD52-47AE-8314-5458318C0791}" srcOrd="0" destOrd="0" presId="urn:microsoft.com/office/officeart/2008/layout/VerticalCircleList"/>
    <dgm:cxn modelId="{49D60BDD-156B-40C9-B8D6-BE3A32650CD5}" type="presParOf" srcId="{E624DB66-260F-4C95-A947-A253EAB883E9}" destId="{678C949D-70E1-4DD4-9E31-72D31F325A3E}" srcOrd="1" destOrd="0" presId="urn:microsoft.com/office/officeart/2008/layout/VerticalCircleList"/>
    <dgm:cxn modelId="{6A064B8C-8FFE-480F-9D76-F7286C28FF18}" type="presParOf" srcId="{E624DB66-260F-4C95-A947-A253EAB883E9}" destId="{A81C6E03-FCB7-4A90-B4EB-6E36FFF04302}" srcOrd="2" destOrd="0" presId="urn:microsoft.com/office/officeart/2008/layout/VerticalCircleList"/>
    <dgm:cxn modelId="{4F69BB8B-F7D9-4A57-B80B-BDC9D3817D5F}" type="presParOf" srcId="{0FCA1642-9E3D-4C8B-AE15-9961791359B0}" destId="{CF386733-EA9C-4737-9911-97D1FBA86257}" srcOrd="2" destOrd="0" presId="urn:microsoft.com/office/officeart/2008/layout/VerticalCircleList"/>
    <dgm:cxn modelId="{59F61851-FDE2-428B-A997-77DC954E7B9A}" type="presParOf" srcId="{CF386733-EA9C-4737-9911-97D1FBA86257}" destId="{53F8A8C4-841A-4520-AC3D-B93F087876F8}" srcOrd="0" destOrd="0" presId="urn:microsoft.com/office/officeart/2008/layout/VerticalCircleList"/>
    <dgm:cxn modelId="{82FA3C17-8E30-4709-A80E-64DFEF621381}" type="presParOf" srcId="{CF386733-EA9C-4737-9911-97D1FBA86257}" destId="{5DFBACF3-D2F3-4A80-99D6-6796D414CB9D}" srcOrd="1" destOrd="0" presId="urn:microsoft.com/office/officeart/2008/layout/VerticalCircleList"/>
    <dgm:cxn modelId="{51A86959-D92C-4152-BDCE-4D8344F38001}" type="presParOf" srcId="{CF386733-EA9C-4737-9911-97D1FBA86257}" destId="{EAD0E9E6-104E-40C2-AF0F-AB6FFA9B7B80}" srcOrd="2" destOrd="0" presId="urn:microsoft.com/office/officeart/2008/layout/VerticalCircleList"/>
    <dgm:cxn modelId="{59532FEF-F6BA-4EDE-B08A-A095F1A92F2A}" type="presParOf" srcId="{0FCA1642-9E3D-4C8B-AE15-9961791359B0}" destId="{1A493DCE-2C95-4A08-AE16-CD1E720A85DF}" srcOrd="3" destOrd="0" presId="urn:microsoft.com/office/officeart/2008/layout/VerticalCircleList"/>
    <dgm:cxn modelId="{2BE3474F-8623-45E6-B596-7206D2C6FE6D}" type="presParOf" srcId="{1A493DCE-2C95-4A08-AE16-CD1E720A85DF}" destId="{47318BBF-67DE-4F0E-B09E-6AF7AE6CC2DF}" srcOrd="0" destOrd="0" presId="urn:microsoft.com/office/officeart/2008/layout/VerticalCircleList"/>
    <dgm:cxn modelId="{EF85F6C9-ADD3-4294-BD49-34AB80EC40B5}" type="presParOf" srcId="{1A493DCE-2C95-4A08-AE16-CD1E720A85DF}" destId="{4D49BF29-0083-4A4C-AF6C-DDFEB3D6CA86}" srcOrd="1" destOrd="0" presId="urn:microsoft.com/office/officeart/2008/layout/VerticalCircleList"/>
    <dgm:cxn modelId="{F45C2508-80EF-4EC7-8EC4-A0D4342E48CD}" type="presParOf" srcId="{1A493DCE-2C95-4A08-AE16-CD1E720A85DF}" destId="{46CF20BC-9A39-4199-8057-A9B72A8E7BCE}" srcOrd="2" destOrd="0" presId="urn:microsoft.com/office/officeart/2008/layout/VerticalCircleList"/>
    <dgm:cxn modelId="{79A9CE32-EA30-424A-B362-84A113B7ADDB}" type="presParOf" srcId="{0FCA1642-9E3D-4C8B-AE15-9961791359B0}" destId="{94674B8A-D9C8-4787-972D-2E969C0435F4}" srcOrd="4" destOrd="0" presId="urn:microsoft.com/office/officeart/2008/layout/VerticalCircleList"/>
    <dgm:cxn modelId="{5FB32F29-7A34-46A3-9860-FA3658C467B9}" type="presParOf" srcId="{94674B8A-D9C8-4787-972D-2E969C0435F4}" destId="{FB13AF00-DC9F-4C85-BF7E-4BE05B766BBC}" srcOrd="0" destOrd="0" presId="urn:microsoft.com/office/officeart/2008/layout/VerticalCircleList"/>
    <dgm:cxn modelId="{BABF6F58-D171-459F-89FD-C7AA915083E8}" type="presParOf" srcId="{94674B8A-D9C8-4787-972D-2E969C0435F4}" destId="{42DE7A85-E994-4459-8717-C094F53906BC}" srcOrd="1" destOrd="0" presId="urn:microsoft.com/office/officeart/2008/layout/VerticalCircleList"/>
    <dgm:cxn modelId="{9F3A3504-F675-4DE0-BB86-A4648B06F879}" type="presParOf" srcId="{94674B8A-D9C8-4787-972D-2E969C0435F4}" destId="{759800D0-E341-4196-BFBF-30469E3B65F7}" srcOrd="2" destOrd="0" presId="urn:microsoft.com/office/officeart/2008/layout/VerticalCircleList"/>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A22E9EC6-264B-4262-ADB4-87C40AE53AC5}" type="doc">
      <dgm:prSet loTypeId="urn:microsoft.com/office/officeart/2005/8/layout/hChevron3" loCatId="process" qsTypeId="urn:microsoft.com/office/officeart/2005/8/quickstyle/simple1" qsCatId="simple" csTypeId="urn:microsoft.com/office/officeart/2005/8/colors/accent0_3" csCatId="mainScheme" phldr="1"/>
      <dgm:spPr/>
    </dgm:pt>
    <dgm:pt modelId="{BCECADB2-C319-47EA-A20E-3329C2FECFCE}">
      <dgm:prSet phldrT="[Text]" custT="1"/>
      <dgm:spPr/>
      <dgm:t>
        <a:bodyPr tIns="0" rIns="0" bIns="0"/>
        <a:lstStyle/>
        <a:p>
          <a:r>
            <a:rPr lang="en-US" sz="1400" b="1" dirty="0"/>
            <a:t>Adoption</a:t>
          </a:r>
        </a:p>
      </dgm:t>
    </dgm:pt>
    <dgm:pt modelId="{9D7265D1-0778-42DE-8A54-A63302BD6D04}" type="parTrans" cxnId="{BBA722B9-22E3-4FC9-B5C6-5275CB98C19B}">
      <dgm:prSet/>
      <dgm:spPr/>
      <dgm:t>
        <a:bodyPr/>
        <a:lstStyle/>
        <a:p>
          <a:endParaRPr lang="en-US" sz="1300"/>
        </a:p>
      </dgm:t>
    </dgm:pt>
    <dgm:pt modelId="{33B67FB6-0F77-4FD4-9867-940D5FA31349}" type="sibTrans" cxnId="{BBA722B9-22E3-4FC9-B5C6-5275CB98C19B}">
      <dgm:prSet/>
      <dgm:spPr/>
      <dgm:t>
        <a:bodyPr/>
        <a:lstStyle/>
        <a:p>
          <a:endParaRPr lang="en-US" sz="1300"/>
        </a:p>
      </dgm:t>
    </dgm:pt>
    <dgm:pt modelId="{171B1FBA-265F-4055-964B-9E21051BF6B6}">
      <dgm:prSet phldrT="[Text]" custT="1"/>
      <dgm:spPr/>
      <dgm:t>
        <a:bodyPr tIns="0" rIns="0" bIns="0"/>
        <a:lstStyle/>
        <a:p>
          <a:r>
            <a:rPr lang="en-US" sz="1400" b="1" dirty="0"/>
            <a:t>Product Registration</a:t>
          </a:r>
        </a:p>
      </dgm:t>
    </dgm:pt>
    <dgm:pt modelId="{1D7F5DAD-B501-405E-B58A-E587E003B9E0}" type="parTrans" cxnId="{7DE5FC62-84A4-41E4-A95A-43ED66C15A6B}">
      <dgm:prSet/>
      <dgm:spPr/>
      <dgm:t>
        <a:bodyPr/>
        <a:lstStyle/>
        <a:p>
          <a:endParaRPr lang="en-US" sz="1300"/>
        </a:p>
      </dgm:t>
    </dgm:pt>
    <dgm:pt modelId="{773B4B5C-E62B-45D7-B4EF-6BD4E4E6F297}" type="sibTrans" cxnId="{7DE5FC62-84A4-41E4-A95A-43ED66C15A6B}">
      <dgm:prSet/>
      <dgm:spPr/>
      <dgm:t>
        <a:bodyPr/>
        <a:lstStyle/>
        <a:p>
          <a:endParaRPr lang="en-US" sz="1300"/>
        </a:p>
      </dgm:t>
    </dgm:pt>
    <dgm:pt modelId="{F8CB1CF6-6558-4738-A04F-FCA1208B2A31}">
      <dgm:prSet phldrT="[Text]" custT="1"/>
      <dgm:spPr/>
      <dgm:t>
        <a:bodyPr tIns="0" rIns="0" bIns="0"/>
        <a:lstStyle/>
        <a:p>
          <a:r>
            <a:rPr lang="en-US" sz="1400" b="1" dirty="0"/>
            <a:t>Procurement</a:t>
          </a:r>
        </a:p>
      </dgm:t>
    </dgm:pt>
    <dgm:pt modelId="{1CD3392A-FADC-46CB-AE17-BAE20F666BD0}" type="parTrans" cxnId="{EECDD5FE-DE73-4660-B692-C8F91E1E5563}">
      <dgm:prSet/>
      <dgm:spPr/>
      <dgm:t>
        <a:bodyPr/>
        <a:lstStyle/>
        <a:p>
          <a:endParaRPr lang="en-US" sz="1300"/>
        </a:p>
      </dgm:t>
    </dgm:pt>
    <dgm:pt modelId="{6504765C-3AC0-40D3-B54C-35448DF31950}" type="sibTrans" cxnId="{EECDD5FE-DE73-4660-B692-C8F91E1E5563}">
      <dgm:prSet/>
      <dgm:spPr/>
      <dgm:t>
        <a:bodyPr/>
        <a:lstStyle/>
        <a:p>
          <a:endParaRPr lang="en-US" sz="1300"/>
        </a:p>
      </dgm:t>
    </dgm:pt>
    <dgm:pt modelId="{BD460122-EAEE-4B2F-9094-18A3913DB27C}">
      <dgm:prSet custT="1"/>
      <dgm:spPr/>
      <dgm:t>
        <a:bodyPr tIns="0" rIns="0" bIns="0"/>
        <a:lstStyle/>
        <a:p>
          <a:r>
            <a:rPr lang="en-US" sz="1400" b="1" dirty="0"/>
            <a:t>KOL/Partner Engagement</a:t>
          </a:r>
        </a:p>
      </dgm:t>
    </dgm:pt>
    <dgm:pt modelId="{A88B19CD-69BA-4D15-B724-848CF9535D27}" type="parTrans" cxnId="{5EB3AE26-0387-472A-9294-078337DC2C24}">
      <dgm:prSet/>
      <dgm:spPr/>
      <dgm:t>
        <a:bodyPr/>
        <a:lstStyle/>
        <a:p>
          <a:endParaRPr lang="en-US" sz="1300"/>
        </a:p>
      </dgm:t>
    </dgm:pt>
    <dgm:pt modelId="{B9143C0D-AC06-4F55-A324-5B8AF466204A}" type="sibTrans" cxnId="{5EB3AE26-0387-472A-9294-078337DC2C24}">
      <dgm:prSet/>
      <dgm:spPr/>
      <dgm:t>
        <a:bodyPr/>
        <a:lstStyle/>
        <a:p>
          <a:endParaRPr lang="en-US" sz="1300"/>
        </a:p>
      </dgm:t>
    </dgm:pt>
    <dgm:pt modelId="{89D29A38-661C-4434-B254-2363A6A3154C}">
      <dgm:prSet custT="1"/>
      <dgm:spPr/>
      <dgm:t>
        <a:bodyPr lIns="0" tIns="0" rIns="0" bIns="0"/>
        <a:lstStyle/>
        <a:p>
          <a:r>
            <a:rPr lang="en-US" sz="1300" b="1" dirty="0"/>
            <a:t>Central-Level Uptake Planning</a:t>
          </a:r>
        </a:p>
      </dgm:t>
    </dgm:pt>
    <dgm:pt modelId="{BE54545E-EDAE-410E-A512-F4B88672C2F7}" type="parTrans" cxnId="{6CF73F4B-7527-4C67-A2CB-0C7A32992A16}">
      <dgm:prSet/>
      <dgm:spPr/>
      <dgm:t>
        <a:bodyPr/>
        <a:lstStyle/>
        <a:p>
          <a:endParaRPr lang="en-US" sz="1300"/>
        </a:p>
      </dgm:t>
    </dgm:pt>
    <dgm:pt modelId="{26345911-3EDB-4739-8162-E6DF6E6BDF91}" type="sibTrans" cxnId="{6CF73F4B-7527-4C67-A2CB-0C7A32992A16}">
      <dgm:prSet/>
      <dgm:spPr/>
      <dgm:t>
        <a:bodyPr/>
        <a:lstStyle/>
        <a:p>
          <a:endParaRPr lang="en-US" sz="1300"/>
        </a:p>
      </dgm:t>
    </dgm:pt>
    <dgm:pt modelId="{46630213-86D4-47EB-BB5F-C19B9C33192E}">
      <dgm:prSet custT="1"/>
      <dgm:spPr/>
      <dgm:t>
        <a:bodyPr lIns="0" tIns="0" rIns="0" bIns="0"/>
        <a:lstStyle/>
        <a:p>
          <a:r>
            <a:rPr lang="en-US" sz="1300" b="1" dirty="0"/>
            <a:t>Facility-level Uptake Planning</a:t>
          </a:r>
        </a:p>
      </dgm:t>
    </dgm:pt>
    <dgm:pt modelId="{4F06847C-8CD7-4878-9936-01DDA22B87D2}" type="parTrans" cxnId="{5D585863-A261-4DD2-A6D3-B230C3C728E9}">
      <dgm:prSet/>
      <dgm:spPr/>
      <dgm:t>
        <a:bodyPr/>
        <a:lstStyle/>
        <a:p>
          <a:endParaRPr lang="en-US" sz="1300"/>
        </a:p>
      </dgm:t>
    </dgm:pt>
    <dgm:pt modelId="{6B495834-C8B6-4A55-9513-19383346397C}" type="sibTrans" cxnId="{5D585863-A261-4DD2-A6D3-B230C3C728E9}">
      <dgm:prSet/>
      <dgm:spPr/>
      <dgm:t>
        <a:bodyPr/>
        <a:lstStyle/>
        <a:p>
          <a:endParaRPr lang="en-US" sz="1300"/>
        </a:p>
      </dgm:t>
    </dgm:pt>
    <dgm:pt modelId="{0E8E679C-87B6-4EEA-89B7-FA50389B71E5}">
      <dgm:prSet custT="1"/>
      <dgm:spPr/>
      <dgm:t>
        <a:bodyPr tIns="0" rIns="0" bIns="0"/>
        <a:lstStyle/>
        <a:p>
          <a:r>
            <a:rPr lang="en-US" sz="1400" b="1" dirty="0"/>
            <a:t>Monitoring Uptake</a:t>
          </a:r>
        </a:p>
      </dgm:t>
    </dgm:pt>
    <dgm:pt modelId="{EBEAE906-590B-4333-8581-3890F0FD8727}" type="parTrans" cxnId="{C0896EBB-9425-416C-A9AC-F0E88C80D6D6}">
      <dgm:prSet/>
      <dgm:spPr/>
      <dgm:t>
        <a:bodyPr/>
        <a:lstStyle/>
        <a:p>
          <a:endParaRPr lang="en-US" sz="1300"/>
        </a:p>
      </dgm:t>
    </dgm:pt>
    <dgm:pt modelId="{A5A8E74E-B886-4314-84E7-41DDC72530E2}" type="sibTrans" cxnId="{C0896EBB-9425-416C-A9AC-F0E88C80D6D6}">
      <dgm:prSet/>
      <dgm:spPr/>
      <dgm:t>
        <a:bodyPr/>
        <a:lstStyle/>
        <a:p>
          <a:endParaRPr lang="en-US" sz="1300"/>
        </a:p>
      </dgm:t>
    </dgm:pt>
    <dgm:pt modelId="{72DE3694-5155-4DAD-9FF9-56CE7AF03D7A}" type="pres">
      <dgm:prSet presAssocID="{A22E9EC6-264B-4262-ADB4-87C40AE53AC5}" presName="Name0" presStyleCnt="0">
        <dgm:presLayoutVars>
          <dgm:dir/>
          <dgm:resizeHandles val="exact"/>
        </dgm:presLayoutVars>
      </dgm:prSet>
      <dgm:spPr/>
    </dgm:pt>
    <dgm:pt modelId="{9B0AF7F9-56F5-474F-AB6B-4728D7D80A3B}" type="pres">
      <dgm:prSet presAssocID="{BCECADB2-C319-47EA-A20E-3329C2FECFCE}" presName="parTxOnly" presStyleLbl="node1" presStyleIdx="0" presStyleCnt="7" custScaleX="81919" custScaleY="95946">
        <dgm:presLayoutVars>
          <dgm:bulletEnabled val="1"/>
        </dgm:presLayoutVars>
      </dgm:prSet>
      <dgm:spPr/>
      <dgm:t>
        <a:bodyPr/>
        <a:lstStyle/>
        <a:p>
          <a:endParaRPr lang="en-US"/>
        </a:p>
      </dgm:t>
    </dgm:pt>
    <dgm:pt modelId="{E8931FB5-E7F3-4658-A2EF-D9CEF89B4D5D}" type="pres">
      <dgm:prSet presAssocID="{33B67FB6-0F77-4FD4-9867-940D5FA31349}" presName="parSpace" presStyleCnt="0"/>
      <dgm:spPr/>
    </dgm:pt>
    <dgm:pt modelId="{013E55FF-CEBB-4DEF-99E2-C07536378B53}" type="pres">
      <dgm:prSet presAssocID="{171B1FBA-265F-4055-964B-9E21051BF6B6}" presName="parTxOnly" presStyleLbl="node1" presStyleIdx="1" presStyleCnt="7" custScaleX="109317" custScaleY="95946">
        <dgm:presLayoutVars>
          <dgm:bulletEnabled val="1"/>
        </dgm:presLayoutVars>
      </dgm:prSet>
      <dgm:spPr/>
      <dgm:t>
        <a:bodyPr/>
        <a:lstStyle/>
        <a:p>
          <a:endParaRPr lang="en-US"/>
        </a:p>
      </dgm:t>
    </dgm:pt>
    <dgm:pt modelId="{E3A1BDF7-63FC-49B6-B553-22BF2CB36254}" type="pres">
      <dgm:prSet presAssocID="{773B4B5C-E62B-45D7-B4EF-6BD4E4E6F297}" presName="parSpace" presStyleCnt="0"/>
      <dgm:spPr/>
    </dgm:pt>
    <dgm:pt modelId="{47B366C7-1F4E-4B5D-9F7D-1BB410E19081}" type="pres">
      <dgm:prSet presAssocID="{F8CB1CF6-6558-4738-A04F-FCA1208B2A31}" presName="parTxOnly" presStyleLbl="node1" presStyleIdx="2" presStyleCnt="7" custScaleX="113274" custScaleY="95946">
        <dgm:presLayoutVars>
          <dgm:bulletEnabled val="1"/>
        </dgm:presLayoutVars>
      </dgm:prSet>
      <dgm:spPr/>
      <dgm:t>
        <a:bodyPr/>
        <a:lstStyle/>
        <a:p>
          <a:endParaRPr lang="en-US"/>
        </a:p>
      </dgm:t>
    </dgm:pt>
    <dgm:pt modelId="{1A4D562B-0950-40A0-A3EF-6BE9A13C2402}" type="pres">
      <dgm:prSet presAssocID="{6504765C-3AC0-40D3-B54C-35448DF31950}" presName="parSpace" presStyleCnt="0"/>
      <dgm:spPr/>
    </dgm:pt>
    <dgm:pt modelId="{3DE09483-CA52-4B9E-802E-9F14463E936C}" type="pres">
      <dgm:prSet presAssocID="{BD460122-EAEE-4B2F-9094-18A3913DB27C}" presName="parTxOnly" presStyleLbl="node1" presStyleIdx="3" presStyleCnt="7" custScaleX="117206" custScaleY="95946">
        <dgm:presLayoutVars>
          <dgm:bulletEnabled val="1"/>
        </dgm:presLayoutVars>
      </dgm:prSet>
      <dgm:spPr/>
      <dgm:t>
        <a:bodyPr/>
        <a:lstStyle/>
        <a:p>
          <a:endParaRPr lang="en-US"/>
        </a:p>
      </dgm:t>
    </dgm:pt>
    <dgm:pt modelId="{401693BD-3FA2-42F1-AA16-5D02030F3941}" type="pres">
      <dgm:prSet presAssocID="{B9143C0D-AC06-4F55-A324-5B8AF466204A}" presName="parSpace" presStyleCnt="0"/>
      <dgm:spPr/>
    </dgm:pt>
    <dgm:pt modelId="{CC6270E4-1B62-4713-A641-3436319CE311}" type="pres">
      <dgm:prSet presAssocID="{89D29A38-661C-4434-B254-2363A6A3154C}" presName="parTxOnly" presStyleLbl="node1" presStyleIdx="4" presStyleCnt="7" custScaleX="107219" custScaleY="95946">
        <dgm:presLayoutVars>
          <dgm:bulletEnabled val="1"/>
        </dgm:presLayoutVars>
      </dgm:prSet>
      <dgm:spPr/>
      <dgm:t>
        <a:bodyPr/>
        <a:lstStyle/>
        <a:p>
          <a:endParaRPr lang="en-US"/>
        </a:p>
      </dgm:t>
    </dgm:pt>
    <dgm:pt modelId="{A270110E-D5F4-4E70-B4EC-9A62EB68B8F3}" type="pres">
      <dgm:prSet presAssocID="{26345911-3EDB-4739-8162-E6DF6E6BDF91}" presName="parSpace" presStyleCnt="0"/>
      <dgm:spPr/>
    </dgm:pt>
    <dgm:pt modelId="{2EC3860E-27E5-45F2-A6BA-38E1BACF290A}" type="pres">
      <dgm:prSet presAssocID="{46630213-86D4-47EB-BB5F-C19B9C33192E}" presName="parTxOnly" presStyleLbl="node1" presStyleIdx="5" presStyleCnt="7" custScaleX="108702" custScaleY="95946">
        <dgm:presLayoutVars>
          <dgm:bulletEnabled val="1"/>
        </dgm:presLayoutVars>
      </dgm:prSet>
      <dgm:spPr/>
      <dgm:t>
        <a:bodyPr/>
        <a:lstStyle/>
        <a:p>
          <a:endParaRPr lang="en-US"/>
        </a:p>
      </dgm:t>
    </dgm:pt>
    <dgm:pt modelId="{B200FB3D-90D2-4A9C-88E2-9149C1C3C2EF}" type="pres">
      <dgm:prSet presAssocID="{6B495834-C8B6-4A55-9513-19383346397C}" presName="parSpace" presStyleCnt="0"/>
      <dgm:spPr/>
    </dgm:pt>
    <dgm:pt modelId="{91FD3FD8-2FA9-411F-A417-800BDFED140B}" type="pres">
      <dgm:prSet presAssocID="{0E8E679C-87B6-4EEA-89B7-FA50389B71E5}" presName="parTxOnly" presStyleLbl="node1" presStyleIdx="6" presStyleCnt="7" custScaleX="103254" custScaleY="95946">
        <dgm:presLayoutVars>
          <dgm:bulletEnabled val="1"/>
        </dgm:presLayoutVars>
      </dgm:prSet>
      <dgm:spPr/>
      <dgm:t>
        <a:bodyPr/>
        <a:lstStyle/>
        <a:p>
          <a:endParaRPr lang="en-US"/>
        </a:p>
      </dgm:t>
    </dgm:pt>
  </dgm:ptLst>
  <dgm:cxnLst>
    <dgm:cxn modelId="{4AE04862-A90B-4206-B383-91935E16B4E2}" type="presOf" srcId="{46630213-86D4-47EB-BB5F-C19B9C33192E}" destId="{2EC3860E-27E5-45F2-A6BA-38E1BACF290A}" srcOrd="0" destOrd="0" presId="urn:microsoft.com/office/officeart/2005/8/layout/hChevron3"/>
    <dgm:cxn modelId="{5D585863-A261-4DD2-A6D3-B230C3C728E9}" srcId="{A22E9EC6-264B-4262-ADB4-87C40AE53AC5}" destId="{46630213-86D4-47EB-BB5F-C19B9C33192E}" srcOrd="5" destOrd="0" parTransId="{4F06847C-8CD7-4878-9936-01DDA22B87D2}" sibTransId="{6B495834-C8B6-4A55-9513-19383346397C}"/>
    <dgm:cxn modelId="{A377A7B1-2D1B-47CA-9095-26EEE439B8BA}" type="presOf" srcId="{89D29A38-661C-4434-B254-2363A6A3154C}" destId="{CC6270E4-1B62-4713-A641-3436319CE311}" srcOrd="0" destOrd="0" presId="urn:microsoft.com/office/officeart/2005/8/layout/hChevron3"/>
    <dgm:cxn modelId="{CC99730D-181B-49C3-9B69-F067A248CE23}" type="presOf" srcId="{0E8E679C-87B6-4EEA-89B7-FA50389B71E5}" destId="{91FD3FD8-2FA9-411F-A417-800BDFED140B}" srcOrd="0" destOrd="0" presId="urn:microsoft.com/office/officeart/2005/8/layout/hChevron3"/>
    <dgm:cxn modelId="{C0896EBB-9425-416C-A9AC-F0E88C80D6D6}" srcId="{A22E9EC6-264B-4262-ADB4-87C40AE53AC5}" destId="{0E8E679C-87B6-4EEA-89B7-FA50389B71E5}" srcOrd="6" destOrd="0" parTransId="{EBEAE906-590B-4333-8581-3890F0FD8727}" sibTransId="{A5A8E74E-B886-4314-84E7-41DDC72530E2}"/>
    <dgm:cxn modelId="{BBA722B9-22E3-4FC9-B5C6-5275CB98C19B}" srcId="{A22E9EC6-264B-4262-ADB4-87C40AE53AC5}" destId="{BCECADB2-C319-47EA-A20E-3329C2FECFCE}" srcOrd="0" destOrd="0" parTransId="{9D7265D1-0778-42DE-8A54-A63302BD6D04}" sibTransId="{33B67FB6-0F77-4FD4-9867-940D5FA31349}"/>
    <dgm:cxn modelId="{9BA60B15-6089-422C-AADF-CA6E576E54F0}" type="presOf" srcId="{A22E9EC6-264B-4262-ADB4-87C40AE53AC5}" destId="{72DE3694-5155-4DAD-9FF9-56CE7AF03D7A}" srcOrd="0" destOrd="0" presId="urn:microsoft.com/office/officeart/2005/8/layout/hChevron3"/>
    <dgm:cxn modelId="{7DE5FC62-84A4-41E4-A95A-43ED66C15A6B}" srcId="{A22E9EC6-264B-4262-ADB4-87C40AE53AC5}" destId="{171B1FBA-265F-4055-964B-9E21051BF6B6}" srcOrd="1" destOrd="0" parTransId="{1D7F5DAD-B501-405E-B58A-E587E003B9E0}" sibTransId="{773B4B5C-E62B-45D7-B4EF-6BD4E4E6F297}"/>
    <dgm:cxn modelId="{8F4BD22D-31B4-4F86-8B2F-50024C08498F}" type="presOf" srcId="{F8CB1CF6-6558-4738-A04F-FCA1208B2A31}" destId="{47B366C7-1F4E-4B5D-9F7D-1BB410E19081}" srcOrd="0" destOrd="0" presId="urn:microsoft.com/office/officeart/2005/8/layout/hChevron3"/>
    <dgm:cxn modelId="{6CF73F4B-7527-4C67-A2CB-0C7A32992A16}" srcId="{A22E9EC6-264B-4262-ADB4-87C40AE53AC5}" destId="{89D29A38-661C-4434-B254-2363A6A3154C}" srcOrd="4" destOrd="0" parTransId="{BE54545E-EDAE-410E-A512-F4B88672C2F7}" sibTransId="{26345911-3EDB-4739-8162-E6DF6E6BDF91}"/>
    <dgm:cxn modelId="{53CD8058-1616-47D2-9D36-29966EBC7DFF}" type="presOf" srcId="{BCECADB2-C319-47EA-A20E-3329C2FECFCE}" destId="{9B0AF7F9-56F5-474F-AB6B-4728D7D80A3B}" srcOrd="0" destOrd="0" presId="urn:microsoft.com/office/officeart/2005/8/layout/hChevron3"/>
    <dgm:cxn modelId="{28BF3782-6B32-44E1-8A67-E11E3ECB9D73}" type="presOf" srcId="{171B1FBA-265F-4055-964B-9E21051BF6B6}" destId="{013E55FF-CEBB-4DEF-99E2-C07536378B53}" srcOrd="0" destOrd="0" presId="urn:microsoft.com/office/officeart/2005/8/layout/hChevron3"/>
    <dgm:cxn modelId="{EECDD5FE-DE73-4660-B692-C8F91E1E5563}" srcId="{A22E9EC6-264B-4262-ADB4-87C40AE53AC5}" destId="{F8CB1CF6-6558-4738-A04F-FCA1208B2A31}" srcOrd="2" destOrd="0" parTransId="{1CD3392A-FADC-46CB-AE17-BAE20F666BD0}" sibTransId="{6504765C-3AC0-40D3-B54C-35448DF31950}"/>
    <dgm:cxn modelId="{CE16FBCD-9E08-44D4-907F-B83729A421BF}" type="presOf" srcId="{BD460122-EAEE-4B2F-9094-18A3913DB27C}" destId="{3DE09483-CA52-4B9E-802E-9F14463E936C}" srcOrd="0" destOrd="0" presId="urn:microsoft.com/office/officeart/2005/8/layout/hChevron3"/>
    <dgm:cxn modelId="{5EB3AE26-0387-472A-9294-078337DC2C24}" srcId="{A22E9EC6-264B-4262-ADB4-87C40AE53AC5}" destId="{BD460122-EAEE-4B2F-9094-18A3913DB27C}" srcOrd="3" destOrd="0" parTransId="{A88B19CD-69BA-4D15-B724-848CF9535D27}" sibTransId="{B9143C0D-AC06-4F55-A324-5B8AF466204A}"/>
    <dgm:cxn modelId="{A986DA1E-3687-4A22-BC5A-E1C93A019E08}" type="presParOf" srcId="{72DE3694-5155-4DAD-9FF9-56CE7AF03D7A}" destId="{9B0AF7F9-56F5-474F-AB6B-4728D7D80A3B}" srcOrd="0" destOrd="0" presId="urn:microsoft.com/office/officeart/2005/8/layout/hChevron3"/>
    <dgm:cxn modelId="{C1970915-511D-42F4-8F85-09793C34F662}" type="presParOf" srcId="{72DE3694-5155-4DAD-9FF9-56CE7AF03D7A}" destId="{E8931FB5-E7F3-4658-A2EF-D9CEF89B4D5D}" srcOrd="1" destOrd="0" presId="urn:microsoft.com/office/officeart/2005/8/layout/hChevron3"/>
    <dgm:cxn modelId="{7E896C5A-F780-44A0-B089-38592418EC32}" type="presParOf" srcId="{72DE3694-5155-4DAD-9FF9-56CE7AF03D7A}" destId="{013E55FF-CEBB-4DEF-99E2-C07536378B53}" srcOrd="2" destOrd="0" presId="urn:microsoft.com/office/officeart/2005/8/layout/hChevron3"/>
    <dgm:cxn modelId="{C1C731C3-571E-4AFA-B3CD-6BCEB1D750AF}" type="presParOf" srcId="{72DE3694-5155-4DAD-9FF9-56CE7AF03D7A}" destId="{E3A1BDF7-63FC-49B6-B553-22BF2CB36254}" srcOrd="3" destOrd="0" presId="urn:microsoft.com/office/officeart/2005/8/layout/hChevron3"/>
    <dgm:cxn modelId="{ED835A57-6069-4A9D-85CA-7E903670C743}" type="presParOf" srcId="{72DE3694-5155-4DAD-9FF9-56CE7AF03D7A}" destId="{47B366C7-1F4E-4B5D-9F7D-1BB410E19081}" srcOrd="4" destOrd="0" presId="urn:microsoft.com/office/officeart/2005/8/layout/hChevron3"/>
    <dgm:cxn modelId="{1B0490AE-8C4E-4A5A-9845-1FEA27F29BF4}" type="presParOf" srcId="{72DE3694-5155-4DAD-9FF9-56CE7AF03D7A}" destId="{1A4D562B-0950-40A0-A3EF-6BE9A13C2402}" srcOrd="5" destOrd="0" presId="urn:microsoft.com/office/officeart/2005/8/layout/hChevron3"/>
    <dgm:cxn modelId="{52322CE4-66AC-439D-9FCB-7D77D4A96753}" type="presParOf" srcId="{72DE3694-5155-4DAD-9FF9-56CE7AF03D7A}" destId="{3DE09483-CA52-4B9E-802E-9F14463E936C}" srcOrd="6" destOrd="0" presId="urn:microsoft.com/office/officeart/2005/8/layout/hChevron3"/>
    <dgm:cxn modelId="{6DF4190F-272F-41E7-A782-C85EAAF48C11}" type="presParOf" srcId="{72DE3694-5155-4DAD-9FF9-56CE7AF03D7A}" destId="{401693BD-3FA2-42F1-AA16-5D02030F3941}" srcOrd="7" destOrd="0" presId="urn:microsoft.com/office/officeart/2005/8/layout/hChevron3"/>
    <dgm:cxn modelId="{6E379C3F-6DC6-4F71-A0C0-6D9843074569}" type="presParOf" srcId="{72DE3694-5155-4DAD-9FF9-56CE7AF03D7A}" destId="{CC6270E4-1B62-4713-A641-3436319CE311}" srcOrd="8" destOrd="0" presId="urn:microsoft.com/office/officeart/2005/8/layout/hChevron3"/>
    <dgm:cxn modelId="{14CCAA65-D30A-4E8E-96F9-DE9AB7B9475B}" type="presParOf" srcId="{72DE3694-5155-4DAD-9FF9-56CE7AF03D7A}" destId="{A270110E-D5F4-4E70-B4EC-9A62EB68B8F3}" srcOrd="9" destOrd="0" presId="urn:microsoft.com/office/officeart/2005/8/layout/hChevron3"/>
    <dgm:cxn modelId="{0E3D420F-377C-493F-82DA-4640AC628946}" type="presParOf" srcId="{72DE3694-5155-4DAD-9FF9-56CE7AF03D7A}" destId="{2EC3860E-27E5-45F2-A6BA-38E1BACF290A}" srcOrd="10" destOrd="0" presId="urn:microsoft.com/office/officeart/2005/8/layout/hChevron3"/>
    <dgm:cxn modelId="{9D22C287-A644-4F4C-8ACC-8A3491D0BD22}" type="presParOf" srcId="{72DE3694-5155-4DAD-9FF9-56CE7AF03D7A}" destId="{B200FB3D-90D2-4A9C-88E2-9149C1C3C2EF}" srcOrd="11" destOrd="0" presId="urn:microsoft.com/office/officeart/2005/8/layout/hChevron3"/>
    <dgm:cxn modelId="{2CFA5DEA-09A5-4D52-BB3C-AB5B942C0650}" type="presParOf" srcId="{72DE3694-5155-4DAD-9FF9-56CE7AF03D7A}" destId="{91FD3FD8-2FA9-411F-A417-800BDFED140B}" srcOrd="12" destOrd="0" presId="urn:microsoft.com/office/officeart/2005/8/layout/hChevron3"/>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292133-ACC3-4955-9726-7F54EA066B42}">
      <dsp:nvSpPr>
        <dsp:cNvPr id="0" name=""/>
        <dsp:cNvSpPr/>
      </dsp:nvSpPr>
      <dsp:spPr>
        <a:xfrm rot="21252199">
          <a:off x="2005335" y="1995108"/>
          <a:ext cx="1994013" cy="1703718"/>
        </a:xfrm>
        <a:prstGeom prst="gear9">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b="1" kern="1200" dirty="0">
              <a:latin typeface="Verdana" pitchFamily="34" charset="0"/>
            </a:rPr>
            <a:t>SUPPLY</a:t>
          </a:r>
        </a:p>
      </dsp:txBody>
      <dsp:txXfrm>
        <a:off x="2383019" y="2394272"/>
        <a:ext cx="1235635" cy="875746"/>
      </dsp:txXfrm>
    </dsp:sp>
    <dsp:sp modelId="{3E79ACA1-45A3-4D11-8F77-33359E869A89}">
      <dsp:nvSpPr>
        <dsp:cNvPr id="0" name=""/>
        <dsp:cNvSpPr/>
      </dsp:nvSpPr>
      <dsp:spPr>
        <a:xfrm rot="592843">
          <a:off x="825590" y="724234"/>
          <a:ext cx="2095429" cy="1737360"/>
        </a:xfrm>
        <a:prstGeom prst="gear6">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n-US" sz="1700" b="1" kern="1200" dirty="0">
              <a:latin typeface="Verdana" pitchFamily="34" charset="0"/>
            </a:rPr>
            <a:t>DEMAND</a:t>
          </a:r>
        </a:p>
      </dsp:txBody>
      <dsp:txXfrm>
        <a:off x="1315025" y="1164263"/>
        <a:ext cx="1116559" cy="857302"/>
      </dsp:txXfrm>
    </dsp:sp>
    <dsp:sp modelId="{0899D4A5-9FEA-4C9C-8A3E-99FE03EEE3DE}">
      <dsp:nvSpPr>
        <dsp:cNvPr id="0" name=""/>
        <dsp:cNvSpPr/>
      </dsp:nvSpPr>
      <dsp:spPr>
        <a:xfrm rot="784694">
          <a:off x="1815994" y="1297825"/>
          <a:ext cx="2579542" cy="2994813"/>
        </a:xfrm>
        <a:prstGeom prst="circularArrow">
          <a:avLst>
            <a:gd name="adj1" fmla="val 4878"/>
            <a:gd name="adj2" fmla="val 312630"/>
            <a:gd name="adj3" fmla="val 3154372"/>
            <a:gd name="adj4" fmla="val 15205455"/>
            <a:gd name="adj5" fmla="val 5691"/>
          </a:avLst>
        </a:prstGeom>
        <a:solidFill>
          <a:schemeClr val="accent5">
            <a:lumMod val="75000"/>
          </a:schemeClr>
        </a:solidFill>
        <a:ln>
          <a:noFill/>
        </a:ln>
        <a:effectLst/>
      </dsp:spPr>
      <dsp:style>
        <a:lnRef idx="0">
          <a:scrgbClr r="0" g="0" b="0"/>
        </a:lnRef>
        <a:fillRef idx="1">
          <a:scrgbClr r="0" g="0" b="0"/>
        </a:fillRef>
        <a:effectRef idx="0">
          <a:scrgbClr r="0" g="0" b="0"/>
        </a:effectRef>
        <a:fontRef idx="minor">
          <a:schemeClr val="lt1"/>
        </a:fontRef>
      </dsp:style>
    </dsp:sp>
    <dsp:sp modelId="{24C7224F-1C87-42E6-9315-CB1B2DA688CB}">
      <dsp:nvSpPr>
        <dsp:cNvPr id="0" name=""/>
        <dsp:cNvSpPr/>
      </dsp:nvSpPr>
      <dsp:spPr>
        <a:xfrm>
          <a:off x="556981" y="192202"/>
          <a:ext cx="2797944" cy="2221649"/>
        </a:xfrm>
        <a:prstGeom prst="leftCircularArrow">
          <a:avLst>
            <a:gd name="adj1" fmla="val 6452"/>
            <a:gd name="adj2" fmla="val 429999"/>
            <a:gd name="adj3" fmla="val 10489124"/>
            <a:gd name="adj4" fmla="val 14837806"/>
            <a:gd name="adj5" fmla="val 7527"/>
          </a:avLst>
        </a:prstGeom>
        <a:solidFill>
          <a:schemeClr val="accent1">
            <a:lumMod val="7500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C0D4C1-8C88-4A3D-B226-6C5768732863}">
      <dsp:nvSpPr>
        <dsp:cNvPr id="0" name=""/>
        <dsp:cNvSpPr/>
      </dsp:nvSpPr>
      <dsp:spPr>
        <a:xfrm>
          <a:off x="1416429" y="2470"/>
          <a:ext cx="1111531" cy="111153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5A9D0D92-780E-47FC-96BE-D85F9F6E8344}">
      <dsp:nvSpPr>
        <dsp:cNvPr id="0" name=""/>
        <dsp:cNvSpPr/>
      </dsp:nvSpPr>
      <dsp:spPr>
        <a:xfrm>
          <a:off x="2057385" y="107665"/>
          <a:ext cx="6163198" cy="1111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0" bIns="22860" numCol="1" spcCol="1270" anchor="ctr" anchorCtr="0">
          <a:noAutofit/>
        </a:bodyPr>
        <a:lstStyle/>
        <a:p>
          <a:pPr lvl="0" algn="l" defTabSz="800100">
            <a:lnSpc>
              <a:spcPct val="90000"/>
            </a:lnSpc>
            <a:spcBef>
              <a:spcPct val="0"/>
            </a:spcBef>
            <a:spcAft>
              <a:spcPct val="35000"/>
            </a:spcAft>
          </a:pPr>
          <a:r>
            <a:rPr lang="en-US" sz="1800" kern="1200" dirty="0" smtClean="0">
              <a:latin typeface="Calibri" panose="020F0502020204030204" pitchFamily="34" charset="0"/>
            </a:rPr>
            <a:t>Community can play a pivotal role in accelerating access to new, optimal products through both </a:t>
          </a:r>
          <a:r>
            <a:rPr lang="en-US" sz="1800" b="1" kern="1200" dirty="0" smtClean="0">
              <a:latin typeface="Calibri" panose="020F0502020204030204" pitchFamily="34" charset="0"/>
            </a:rPr>
            <a:t>advocacy and supporting roll-out</a:t>
          </a:r>
        </a:p>
        <a:p>
          <a:pPr lvl="0" algn="l" defTabSz="800100">
            <a:lnSpc>
              <a:spcPct val="90000"/>
            </a:lnSpc>
            <a:spcBef>
              <a:spcPct val="0"/>
            </a:spcBef>
            <a:spcAft>
              <a:spcPct val="35000"/>
            </a:spcAft>
          </a:pPr>
          <a:r>
            <a:rPr lang="en-US" sz="1500" i="1" kern="1200" dirty="0" smtClean="0">
              <a:latin typeface="Calibri" panose="020F0502020204030204" pitchFamily="34" charset="0"/>
            </a:rPr>
            <a:t>	“Our biggest mistake in product roll-out in the past has been not	involving the community” – Ministry of Health Official</a:t>
          </a:r>
          <a:endParaRPr lang="en-US" sz="1500" b="1" kern="1200" dirty="0"/>
        </a:p>
      </dsp:txBody>
      <dsp:txXfrm>
        <a:off x="2057385" y="107665"/>
        <a:ext cx="6163198" cy="1111531"/>
      </dsp:txXfrm>
    </dsp:sp>
    <dsp:sp modelId="{678C949D-70E1-4DD4-9E31-72D31F325A3E}">
      <dsp:nvSpPr>
        <dsp:cNvPr id="0" name=""/>
        <dsp:cNvSpPr/>
      </dsp:nvSpPr>
      <dsp:spPr>
        <a:xfrm>
          <a:off x="1474621" y="1114002"/>
          <a:ext cx="1111531" cy="1111531"/>
        </a:xfrm>
        <a:prstGeom prst="ellipse">
          <a:avLst/>
        </a:prstGeom>
        <a:solidFill>
          <a:srgbClr val="FFFF66">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81C6E03-FCB7-4A90-B4EB-6E36FFF04302}">
      <dsp:nvSpPr>
        <dsp:cNvPr id="0" name=""/>
        <dsp:cNvSpPr/>
      </dsp:nvSpPr>
      <dsp:spPr>
        <a:xfrm>
          <a:off x="2030387" y="1114002"/>
          <a:ext cx="5930428" cy="1111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0" bIns="22860" numCol="1" spcCol="1270" anchor="ctr" anchorCtr="0">
          <a:noAutofit/>
        </a:bodyPr>
        <a:lstStyle/>
        <a:p>
          <a:pPr lvl="0" algn="l" defTabSz="800100">
            <a:lnSpc>
              <a:spcPct val="90000"/>
            </a:lnSpc>
            <a:spcBef>
              <a:spcPct val="0"/>
            </a:spcBef>
            <a:spcAft>
              <a:spcPct val="35000"/>
            </a:spcAft>
          </a:pPr>
          <a:r>
            <a:rPr lang="en-US" sz="1800" kern="1200" dirty="0" smtClean="0">
              <a:latin typeface="Calibri" panose="020F0502020204030204" pitchFamily="34" charset="0"/>
            </a:rPr>
            <a:t>Community engagement is critical to </a:t>
          </a:r>
          <a:r>
            <a:rPr lang="en-US" sz="1800" b="1" kern="1200" dirty="0" smtClean="0">
              <a:latin typeface="Calibri" panose="020F0502020204030204" pitchFamily="34" charset="0"/>
            </a:rPr>
            <a:t>long-term sustainability</a:t>
          </a:r>
          <a:endParaRPr lang="en-US" sz="1800" b="0" kern="1200" dirty="0"/>
        </a:p>
      </dsp:txBody>
      <dsp:txXfrm>
        <a:off x="2030387" y="1114002"/>
        <a:ext cx="5930428" cy="1111531"/>
      </dsp:txXfrm>
    </dsp:sp>
    <dsp:sp modelId="{5DFBACF3-D2F3-4A80-99D6-6796D414CB9D}">
      <dsp:nvSpPr>
        <dsp:cNvPr id="0" name=""/>
        <dsp:cNvSpPr/>
      </dsp:nvSpPr>
      <dsp:spPr>
        <a:xfrm>
          <a:off x="1474621" y="2225534"/>
          <a:ext cx="1111531" cy="1111531"/>
        </a:xfrm>
        <a:prstGeom prst="ellipse">
          <a:avLst/>
        </a:prstGeom>
        <a:solidFill>
          <a:srgbClr val="FFCCFF">
            <a:alpha val="49804"/>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EAD0E9E6-104E-40C2-AF0F-AB6FFA9B7B80}">
      <dsp:nvSpPr>
        <dsp:cNvPr id="0" name=""/>
        <dsp:cNvSpPr/>
      </dsp:nvSpPr>
      <dsp:spPr>
        <a:xfrm>
          <a:off x="2030387" y="2225534"/>
          <a:ext cx="5930428" cy="1111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0" bIns="22860" numCol="1" spcCol="1270" anchor="ctr" anchorCtr="0">
          <a:noAutofit/>
        </a:bodyPr>
        <a:lstStyle/>
        <a:p>
          <a:pPr lvl="0" algn="l" defTabSz="800100">
            <a:lnSpc>
              <a:spcPct val="90000"/>
            </a:lnSpc>
            <a:spcBef>
              <a:spcPct val="0"/>
            </a:spcBef>
            <a:spcAft>
              <a:spcPct val="35000"/>
            </a:spcAft>
          </a:pPr>
          <a:r>
            <a:rPr lang="en-US" sz="1800" kern="1200" dirty="0" smtClean="0">
              <a:latin typeface="Calibri" panose="020F0502020204030204" pitchFamily="34" charset="0"/>
            </a:rPr>
            <a:t>Community participation can help ensure the </a:t>
          </a:r>
          <a:r>
            <a:rPr lang="en-US" sz="1800" b="1" kern="1200" dirty="0" smtClean="0">
              <a:latin typeface="Calibri" panose="020F0502020204030204" pitchFamily="34" charset="0"/>
            </a:rPr>
            <a:t>communication and approach </a:t>
          </a:r>
          <a:r>
            <a:rPr lang="en-US" sz="1800" kern="1200" dirty="0" smtClean="0">
              <a:latin typeface="Calibri" panose="020F0502020204030204" pitchFamily="34" charset="0"/>
            </a:rPr>
            <a:t>is appropriate for target groups</a:t>
          </a:r>
        </a:p>
      </dsp:txBody>
      <dsp:txXfrm>
        <a:off x="2030387" y="2225534"/>
        <a:ext cx="5930428" cy="1111531"/>
      </dsp:txXfrm>
    </dsp:sp>
    <dsp:sp modelId="{4D49BF29-0083-4A4C-AF6C-DDFEB3D6CA86}">
      <dsp:nvSpPr>
        <dsp:cNvPr id="0" name=""/>
        <dsp:cNvSpPr/>
      </dsp:nvSpPr>
      <dsp:spPr>
        <a:xfrm>
          <a:off x="1474621" y="3337065"/>
          <a:ext cx="1111531" cy="1111531"/>
        </a:xfrm>
        <a:prstGeom prst="ellipse">
          <a:avLst/>
        </a:prstGeom>
        <a:solidFill>
          <a:srgbClr val="66FF99">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6CF20BC-9A39-4199-8057-A9B72A8E7BCE}">
      <dsp:nvSpPr>
        <dsp:cNvPr id="0" name=""/>
        <dsp:cNvSpPr/>
      </dsp:nvSpPr>
      <dsp:spPr>
        <a:xfrm>
          <a:off x="2030387" y="3337065"/>
          <a:ext cx="5930428" cy="1111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0" bIns="22860" numCol="1" spcCol="1270" anchor="ctr" anchorCtr="0">
          <a:noAutofit/>
        </a:bodyPr>
        <a:lstStyle/>
        <a:p>
          <a:pPr lvl="0" algn="l" defTabSz="800100">
            <a:lnSpc>
              <a:spcPct val="90000"/>
            </a:lnSpc>
            <a:spcBef>
              <a:spcPct val="0"/>
            </a:spcBef>
            <a:spcAft>
              <a:spcPct val="35000"/>
            </a:spcAft>
          </a:pPr>
          <a:r>
            <a:rPr lang="en-US" sz="1800" kern="1200" dirty="0" smtClean="0">
              <a:latin typeface="Calibri" panose="020F0502020204030204" pitchFamily="34" charset="0"/>
            </a:rPr>
            <a:t>The CAB can represent the community voice across countries in providing </a:t>
          </a:r>
          <a:r>
            <a:rPr lang="en-US" sz="1800" b="1" kern="1200" dirty="0" smtClean="0">
              <a:latin typeface="Calibri" panose="020F0502020204030204" pitchFamily="34" charset="0"/>
            </a:rPr>
            <a:t>input and guidance on pressing issues </a:t>
          </a:r>
          <a:br>
            <a:rPr lang="en-US" sz="1800" b="1" kern="1200" dirty="0" smtClean="0">
              <a:latin typeface="Calibri" panose="020F0502020204030204" pitchFamily="34" charset="0"/>
            </a:rPr>
          </a:br>
          <a:r>
            <a:rPr lang="en-US" sz="1800" kern="1200" dirty="0" smtClean="0">
              <a:latin typeface="Calibri" panose="020F0502020204030204" pitchFamily="34" charset="0"/>
            </a:rPr>
            <a:t>in treatment access</a:t>
          </a:r>
        </a:p>
      </dsp:txBody>
      <dsp:txXfrm>
        <a:off x="2030387" y="3337065"/>
        <a:ext cx="5930428" cy="1111531"/>
      </dsp:txXfrm>
    </dsp:sp>
    <dsp:sp modelId="{42DE7A85-E994-4459-8717-C094F53906BC}">
      <dsp:nvSpPr>
        <dsp:cNvPr id="0" name=""/>
        <dsp:cNvSpPr/>
      </dsp:nvSpPr>
      <dsp:spPr>
        <a:xfrm>
          <a:off x="1474621" y="4448597"/>
          <a:ext cx="1111531" cy="1111531"/>
        </a:xfrm>
        <a:prstGeom prst="ellipse">
          <a:avLst/>
        </a:prstGeom>
        <a:solidFill>
          <a:srgbClr val="CC99FF">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759800D0-E341-4196-BFBF-30469E3B65F7}">
      <dsp:nvSpPr>
        <dsp:cNvPr id="0" name=""/>
        <dsp:cNvSpPr/>
      </dsp:nvSpPr>
      <dsp:spPr>
        <a:xfrm>
          <a:off x="2030387" y="4448597"/>
          <a:ext cx="5930428" cy="1111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0" bIns="22860" numCol="1" spcCol="1270" anchor="ctr" anchorCtr="0">
          <a:noAutofit/>
        </a:bodyPr>
        <a:lstStyle/>
        <a:p>
          <a:pPr lvl="0" algn="l" defTabSz="800100">
            <a:lnSpc>
              <a:spcPct val="90000"/>
            </a:lnSpc>
            <a:spcBef>
              <a:spcPct val="0"/>
            </a:spcBef>
            <a:spcAft>
              <a:spcPct val="35000"/>
            </a:spcAft>
          </a:pPr>
          <a:r>
            <a:rPr lang="en-US" sz="1800" i="1" kern="1200" dirty="0" smtClean="0">
              <a:latin typeface="Calibri" panose="020F0502020204030204" pitchFamily="34" charset="0"/>
            </a:rPr>
            <a:t>What is missing?</a:t>
          </a:r>
        </a:p>
      </dsp:txBody>
      <dsp:txXfrm>
        <a:off x="2030387" y="4448597"/>
        <a:ext cx="5930428" cy="11115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0AF7F9-56F5-474F-AB6B-4728D7D80A3B}">
      <dsp:nvSpPr>
        <dsp:cNvPr id="0" name=""/>
        <dsp:cNvSpPr/>
      </dsp:nvSpPr>
      <dsp:spPr>
        <a:xfrm>
          <a:off x="4694" y="236592"/>
          <a:ext cx="1171072" cy="548638"/>
        </a:xfrm>
        <a:prstGeom prst="homePlat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0" rIns="0" bIns="0" numCol="1" spcCol="1270" anchor="ctr" anchorCtr="0">
          <a:noAutofit/>
        </a:bodyPr>
        <a:lstStyle/>
        <a:p>
          <a:pPr lvl="0" algn="ctr" defTabSz="622300">
            <a:lnSpc>
              <a:spcPct val="90000"/>
            </a:lnSpc>
            <a:spcBef>
              <a:spcPct val="0"/>
            </a:spcBef>
            <a:spcAft>
              <a:spcPct val="35000"/>
            </a:spcAft>
          </a:pPr>
          <a:r>
            <a:rPr lang="en-US" sz="1400" b="1" kern="1200" dirty="0"/>
            <a:t>Adoption</a:t>
          </a:r>
        </a:p>
      </dsp:txBody>
      <dsp:txXfrm>
        <a:off x="4694" y="236592"/>
        <a:ext cx="1033913" cy="548638"/>
      </dsp:txXfrm>
    </dsp:sp>
    <dsp:sp modelId="{013E55FF-CEBB-4DEF-99E2-C07536378B53}">
      <dsp:nvSpPr>
        <dsp:cNvPr id="0" name=""/>
        <dsp:cNvSpPr/>
      </dsp:nvSpPr>
      <dsp:spPr>
        <a:xfrm>
          <a:off x="889857" y="236592"/>
          <a:ext cx="1562740" cy="54863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0" rIns="0" bIns="0" numCol="1" spcCol="1270" anchor="ctr" anchorCtr="0">
          <a:noAutofit/>
        </a:bodyPr>
        <a:lstStyle/>
        <a:p>
          <a:pPr lvl="0" algn="ctr" defTabSz="622300">
            <a:lnSpc>
              <a:spcPct val="90000"/>
            </a:lnSpc>
            <a:spcBef>
              <a:spcPct val="0"/>
            </a:spcBef>
            <a:spcAft>
              <a:spcPct val="35000"/>
            </a:spcAft>
          </a:pPr>
          <a:r>
            <a:rPr lang="en-US" sz="1400" b="1" kern="1200" dirty="0"/>
            <a:t>Product Registration</a:t>
          </a:r>
        </a:p>
      </dsp:txBody>
      <dsp:txXfrm>
        <a:off x="1164176" y="236592"/>
        <a:ext cx="1014102" cy="548638"/>
      </dsp:txXfrm>
    </dsp:sp>
    <dsp:sp modelId="{47B366C7-1F4E-4B5D-9F7D-1BB410E19081}">
      <dsp:nvSpPr>
        <dsp:cNvPr id="0" name=""/>
        <dsp:cNvSpPr/>
      </dsp:nvSpPr>
      <dsp:spPr>
        <a:xfrm>
          <a:off x="2166688" y="236592"/>
          <a:ext cx="1619307" cy="54863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0" rIns="0" bIns="0" numCol="1" spcCol="1270" anchor="ctr" anchorCtr="0">
          <a:noAutofit/>
        </a:bodyPr>
        <a:lstStyle/>
        <a:p>
          <a:pPr lvl="0" algn="ctr" defTabSz="622300">
            <a:lnSpc>
              <a:spcPct val="90000"/>
            </a:lnSpc>
            <a:spcBef>
              <a:spcPct val="0"/>
            </a:spcBef>
            <a:spcAft>
              <a:spcPct val="35000"/>
            </a:spcAft>
          </a:pPr>
          <a:r>
            <a:rPr lang="en-US" sz="1400" b="1" kern="1200" dirty="0"/>
            <a:t>Procurement</a:t>
          </a:r>
        </a:p>
      </dsp:txBody>
      <dsp:txXfrm>
        <a:off x="2441007" y="236592"/>
        <a:ext cx="1070669" cy="548638"/>
      </dsp:txXfrm>
    </dsp:sp>
    <dsp:sp modelId="{3DE09483-CA52-4B9E-802E-9F14463E936C}">
      <dsp:nvSpPr>
        <dsp:cNvPr id="0" name=""/>
        <dsp:cNvSpPr/>
      </dsp:nvSpPr>
      <dsp:spPr>
        <a:xfrm>
          <a:off x="3500086" y="236592"/>
          <a:ext cx="1675517" cy="54863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0" rIns="0" bIns="0" numCol="1" spcCol="1270" anchor="ctr" anchorCtr="0">
          <a:noAutofit/>
        </a:bodyPr>
        <a:lstStyle/>
        <a:p>
          <a:pPr lvl="0" algn="ctr" defTabSz="622300">
            <a:lnSpc>
              <a:spcPct val="90000"/>
            </a:lnSpc>
            <a:spcBef>
              <a:spcPct val="0"/>
            </a:spcBef>
            <a:spcAft>
              <a:spcPct val="35000"/>
            </a:spcAft>
          </a:pPr>
          <a:r>
            <a:rPr lang="en-US" sz="1400" b="1" kern="1200" dirty="0"/>
            <a:t>KOL/Partner Engagement</a:t>
          </a:r>
        </a:p>
      </dsp:txBody>
      <dsp:txXfrm>
        <a:off x="3774405" y="236592"/>
        <a:ext cx="1126879" cy="548638"/>
      </dsp:txXfrm>
    </dsp:sp>
    <dsp:sp modelId="{CC6270E4-1B62-4713-A641-3436319CE311}">
      <dsp:nvSpPr>
        <dsp:cNvPr id="0" name=""/>
        <dsp:cNvSpPr/>
      </dsp:nvSpPr>
      <dsp:spPr>
        <a:xfrm>
          <a:off x="4889694" y="236592"/>
          <a:ext cx="1532748" cy="54863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b="1" kern="1200" dirty="0"/>
            <a:t>Central-Level Uptake Planning</a:t>
          </a:r>
        </a:p>
      </dsp:txBody>
      <dsp:txXfrm>
        <a:off x="5164013" y="236592"/>
        <a:ext cx="984110" cy="548638"/>
      </dsp:txXfrm>
    </dsp:sp>
    <dsp:sp modelId="{2EC3860E-27E5-45F2-A6BA-38E1BACF290A}">
      <dsp:nvSpPr>
        <dsp:cNvPr id="0" name=""/>
        <dsp:cNvSpPr/>
      </dsp:nvSpPr>
      <dsp:spPr>
        <a:xfrm>
          <a:off x="6136533" y="236592"/>
          <a:ext cx="1553948" cy="54863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b="1" kern="1200" dirty="0"/>
            <a:t>Facility-level Uptake Planning</a:t>
          </a:r>
        </a:p>
      </dsp:txBody>
      <dsp:txXfrm>
        <a:off x="6410852" y="236592"/>
        <a:ext cx="1005310" cy="548638"/>
      </dsp:txXfrm>
    </dsp:sp>
    <dsp:sp modelId="{91FD3FD8-2FA9-411F-A417-800BDFED140B}">
      <dsp:nvSpPr>
        <dsp:cNvPr id="0" name=""/>
        <dsp:cNvSpPr/>
      </dsp:nvSpPr>
      <dsp:spPr>
        <a:xfrm>
          <a:off x="7404572" y="236592"/>
          <a:ext cx="1476067" cy="548638"/>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0" rIns="0" bIns="0" numCol="1" spcCol="1270" anchor="ctr" anchorCtr="0">
          <a:noAutofit/>
        </a:bodyPr>
        <a:lstStyle/>
        <a:p>
          <a:pPr lvl="0" algn="ctr" defTabSz="622300">
            <a:lnSpc>
              <a:spcPct val="90000"/>
            </a:lnSpc>
            <a:spcBef>
              <a:spcPct val="0"/>
            </a:spcBef>
            <a:spcAft>
              <a:spcPct val="35000"/>
            </a:spcAft>
          </a:pPr>
          <a:r>
            <a:rPr lang="en-US" sz="1400" b="1" kern="1200" dirty="0"/>
            <a:t>Monitoring Uptake</a:t>
          </a:r>
        </a:p>
      </dsp:txBody>
      <dsp:txXfrm>
        <a:off x="7678891" y="236592"/>
        <a:ext cx="927429" cy="548638"/>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169920" cy="480060"/>
          </a:xfrm>
          <a:prstGeom prst="rect">
            <a:avLst/>
          </a:prstGeom>
          <a:noFill/>
          <a:ln w="9525">
            <a:noFill/>
            <a:miter lim="800000"/>
            <a:headEnd/>
            <a:tailEnd/>
          </a:ln>
        </p:spPr>
        <p:txBody>
          <a:bodyPr vert="horz" wrap="square" lIns="96661" tIns="48331" rIns="96661" bIns="48331" numCol="1" anchor="t" anchorCtr="0" compatLnSpc="1">
            <a:prstTxWarp prst="textNoShape">
              <a:avLst/>
            </a:prstTxWarp>
          </a:bodyPr>
          <a:lstStyle>
            <a:lvl1pPr algn="l" eaLnBrk="0" hangingPunct="0">
              <a:defRPr sz="1300"/>
            </a:lvl1pPr>
          </a:lstStyle>
          <a:p>
            <a:pPr>
              <a:defRPr/>
            </a:pPr>
            <a:endParaRPr lang="en-US" dirty="0"/>
          </a:p>
        </p:txBody>
      </p:sp>
      <p:sp>
        <p:nvSpPr>
          <p:cNvPr id="4099" name="Rectangle 3"/>
          <p:cNvSpPr>
            <a:spLocks noGrp="1" noChangeArrowheads="1"/>
          </p:cNvSpPr>
          <p:nvPr>
            <p:ph type="dt" idx="1"/>
          </p:nvPr>
        </p:nvSpPr>
        <p:spPr bwMode="auto">
          <a:xfrm>
            <a:off x="4145280" y="0"/>
            <a:ext cx="3169920" cy="480060"/>
          </a:xfrm>
          <a:prstGeom prst="rect">
            <a:avLst/>
          </a:prstGeom>
          <a:noFill/>
          <a:ln w="9525">
            <a:noFill/>
            <a:miter lim="800000"/>
            <a:headEnd/>
            <a:tailEnd/>
          </a:ln>
        </p:spPr>
        <p:txBody>
          <a:bodyPr vert="horz" wrap="square" lIns="96661" tIns="48331" rIns="96661" bIns="48331" numCol="1" anchor="t" anchorCtr="0" compatLnSpc="1">
            <a:prstTxWarp prst="textNoShape">
              <a:avLst/>
            </a:prstTxWarp>
          </a:bodyPr>
          <a:lstStyle>
            <a:lvl1pPr algn="r" eaLnBrk="0" hangingPunct="0">
              <a:defRPr sz="1300"/>
            </a:lvl1pPr>
          </a:lstStyle>
          <a:p>
            <a:pPr>
              <a:defRPr/>
            </a:pPr>
            <a:endParaRPr lang="en-US" dirty="0"/>
          </a:p>
        </p:txBody>
      </p:sp>
      <p:sp>
        <p:nvSpPr>
          <p:cNvPr id="28676"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75360" y="4560570"/>
            <a:ext cx="5364480" cy="4320540"/>
          </a:xfrm>
          <a:prstGeom prst="rect">
            <a:avLst/>
          </a:prstGeom>
          <a:noFill/>
          <a:ln w="9525">
            <a:noFill/>
            <a:miter lim="800000"/>
            <a:headEnd/>
            <a:tailEnd/>
          </a:ln>
        </p:spPr>
        <p:txBody>
          <a:bodyPr vert="horz" wrap="square" lIns="96661" tIns="48331" rIns="96661" bIns="4833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9121140"/>
            <a:ext cx="3169920" cy="480060"/>
          </a:xfrm>
          <a:prstGeom prst="rect">
            <a:avLst/>
          </a:prstGeom>
          <a:noFill/>
          <a:ln w="9525">
            <a:noFill/>
            <a:miter lim="800000"/>
            <a:headEnd/>
            <a:tailEnd/>
          </a:ln>
        </p:spPr>
        <p:txBody>
          <a:bodyPr vert="horz" wrap="square" lIns="96661" tIns="48331" rIns="96661" bIns="48331" numCol="1" anchor="b" anchorCtr="0" compatLnSpc="1">
            <a:prstTxWarp prst="textNoShape">
              <a:avLst/>
            </a:prstTxWarp>
          </a:bodyPr>
          <a:lstStyle>
            <a:lvl1pPr algn="l" eaLnBrk="0" hangingPunct="0">
              <a:defRPr sz="1300"/>
            </a:lvl1pPr>
          </a:lstStyle>
          <a:p>
            <a:pPr>
              <a:defRPr/>
            </a:pPr>
            <a:endParaRPr lang="en-US" dirty="0"/>
          </a:p>
        </p:txBody>
      </p:sp>
      <p:sp>
        <p:nvSpPr>
          <p:cNvPr id="4103" name="Rectangle 7"/>
          <p:cNvSpPr>
            <a:spLocks noGrp="1" noChangeArrowheads="1"/>
          </p:cNvSpPr>
          <p:nvPr>
            <p:ph type="sldNum" sz="quarter" idx="5"/>
          </p:nvPr>
        </p:nvSpPr>
        <p:spPr bwMode="auto">
          <a:xfrm>
            <a:off x="4145280" y="9121140"/>
            <a:ext cx="3169920" cy="480060"/>
          </a:xfrm>
          <a:prstGeom prst="rect">
            <a:avLst/>
          </a:prstGeom>
          <a:noFill/>
          <a:ln w="9525">
            <a:noFill/>
            <a:miter lim="800000"/>
            <a:headEnd/>
            <a:tailEnd/>
          </a:ln>
        </p:spPr>
        <p:txBody>
          <a:bodyPr vert="horz" wrap="square" lIns="96661" tIns="48331" rIns="96661" bIns="48331" numCol="1" anchor="b" anchorCtr="0" compatLnSpc="1">
            <a:prstTxWarp prst="textNoShape">
              <a:avLst/>
            </a:prstTxWarp>
          </a:bodyPr>
          <a:lstStyle>
            <a:lvl1pPr algn="r" eaLnBrk="0" hangingPunct="0">
              <a:defRPr sz="1300"/>
            </a:lvl1pPr>
          </a:lstStyle>
          <a:p>
            <a:pPr>
              <a:defRPr/>
            </a:pPr>
            <a:fld id="{31992187-B1CC-41CC-9142-F099FCE9EC24}" type="slidenum">
              <a:rPr lang="en-US"/>
              <a:pPr>
                <a:defRPr/>
              </a:pPr>
              <a:t>‹#›</a:t>
            </a:fld>
            <a:endParaRPr lang="en-US" dirty="0"/>
          </a:p>
        </p:txBody>
      </p:sp>
    </p:spTree>
    <p:extLst>
      <p:ext uri="{BB962C8B-B14F-4D97-AF65-F5344CB8AC3E}">
        <p14:creationId xmlns:p14="http://schemas.microsoft.com/office/powerpoint/2010/main" val="159946171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52.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69.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a:noFill/>
        </p:spPr>
        <p:txBody>
          <a:bodyPr/>
          <a:lstStyle/>
          <a:p>
            <a:fld id="{228CF3E4-A84D-4557-AB5F-1696D1177818}" type="slidenum">
              <a:rPr lang="en-US" smtClean="0">
                <a:solidFill>
                  <a:prstClr val="black"/>
                </a:solidFill>
              </a:rPr>
              <a:pPr/>
              <a:t>1</a:t>
            </a:fld>
            <a:endParaRPr lang="en-US" dirty="0">
              <a:solidFill>
                <a:prstClr val="black"/>
              </a:solidFill>
            </a:endParaRPr>
          </a:p>
        </p:txBody>
      </p:sp>
      <p:sp>
        <p:nvSpPr>
          <p:cNvPr id="30722" name="Rectangle 2"/>
          <p:cNvSpPr>
            <a:spLocks noGrp="1" noRot="1" noChangeAspect="1" noChangeArrowheads="1" noTextEdit="1"/>
          </p:cNvSpPr>
          <p:nvPr>
            <p:ph type="sldImg"/>
          </p:nvPr>
        </p:nvSpPr>
        <p:spPr>
          <a:xfrm>
            <a:off x="1258888" y="722313"/>
            <a:ext cx="4797425" cy="3598862"/>
          </a:xfrm>
          <a:solidFill>
            <a:srgbClr val="FFFFFF"/>
          </a:solidFill>
          <a:ln/>
        </p:spPr>
      </p:sp>
      <p:sp>
        <p:nvSpPr>
          <p:cNvPr id="30723" name="Rectangle 3"/>
          <p:cNvSpPr>
            <a:spLocks noGrp="1" noChangeArrowheads="1"/>
          </p:cNvSpPr>
          <p:nvPr>
            <p:ph type="body" idx="1"/>
          </p:nvPr>
        </p:nvSpPr>
        <p:spPr>
          <a:xfrm>
            <a:off x="731520" y="4558904"/>
            <a:ext cx="5852160" cy="4320540"/>
          </a:xfrm>
          <a:solidFill>
            <a:srgbClr val="FFFFFF"/>
          </a:solidFill>
          <a:ln>
            <a:solidFill>
              <a:srgbClr val="000000"/>
            </a:solidFill>
          </a:ln>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dirty="0" smtClean="0"/>
              <a:t>The</a:t>
            </a:r>
            <a:r>
              <a:rPr lang="en-US" sz="1200" b="0" baseline="0" dirty="0" smtClean="0"/>
              <a:t> community engagement piece is particularly important to this grant. While CHAI has been on the forefront of a lot of work in the HIV treatment access space, we have not included community engagement specifically in our grants in the past. Our approach is to partner directly with governments. In some countries, our offices are still located in Ministry of Health office. But in thinking through our approach on this grant, we determined that increasing our collaboration with community was not only the right thing to do, but also absolutely essential to the success of the project. Working with community and working with governments are not mutually exclusive. </a:t>
            </a:r>
            <a:endParaRPr lang="en-US" sz="1200" b="0" dirty="0"/>
          </a:p>
        </p:txBody>
      </p:sp>
      <p:sp>
        <p:nvSpPr>
          <p:cNvPr id="4" name="Slide Number Placeholder 3"/>
          <p:cNvSpPr>
            <a:spLocks noGrp="1"/>
          </p:cNvSpPr>
          <p:nvPr>
            <p:ph type="sldNum" sz="quarter" idx="10"/>
          </p:nvPr>
        </p:nvSpPr>
        <p:spPr/>
        <p:txBody>
          <a:bodyPr/>
          <a:lstStyle/>
          <a:p>
            <a:fld id="{128C258E-B50B-4F54-8DA6-DE3BD167E997}"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809661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r>
              <a:rPr lang="en-GB" dirty="0" smtClean="0"/>
              <a:t>On sustainability: NGOs will come and go but community will stay – CHAI</a:t>
            </a:r>
            <a:r>
              <a:rPr lang="en-GB" baseline="0" dirty="0" smtClean="0"/>
              <a:t> wants to work itself out of jobs</a:t>
            </a:r>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128C258E-B50B-4F54-8DA6-DE3BD167E997}"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809661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582742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A8ADCE-6FE5-4CB9-9649-96348802ABA5}"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358637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7275" y="720725"/>
            <a:ext cx="5200650" cy="3600450"/>
          </a:xfrm>
        </p:spPr>
      </p:sp>
      <p:sp>
        <p:nvSpPr>
          <p:cNvPr id="3" name="Notes Placeholder 2"/>
          <p:cNvSpPr>
            <a:spLocks noGrp="1"/>
          </p:cNvSpPr>
          <p:nvPr>
            <p:ph type="body" idx="1"/>
          </p:nvPr>
        </p:nvSpPr>
        <p:spPr/>
        <p:txBody>
          <a:bodyPr>
            <a:normAutofit/>
          </a:bodyPr>
          <a:lstStyle/>
          <a:p>
            <a:r>
              <a:rPr lang="fr-FR" b="1" dirty="0" err="1" smtClean="0"/>
              <a:t>History</a:t>
            </a:r>
            <a:endParaRPr lang="fr-FR" b="1" dirty="0" smtClean="0"/>
          </a:p>
          <a:p>
            <a:pPr marL="171450" indent="-171450">
              <a:buFont typeface="Arial" panose="020B0604020202020204" pitchFamily="34" charset="0"/>
              <a:buChar char="•"/>
            </a:pPr>
            <a:r>
              <a:rPr lang="fr-FR" dirty="0" err="1" smtClean="0"/>
              <a:t>Since</a:t>
            </a:r>
            <a:r>
              <a:rPr lang="fr-FR" dirty="0" smtClean="0"/>
              <a:t> </a:t>
            </a:r>
            <a:r>
              <a:rPr lang="fr-FR" dirty="0" err="1" smtClean="0"/>
              <a:t>it's</a:t>
            </a:r>
            <a:r>
              <a:rPr lang="fr-FR" dirty="0" smtClean="0"/>
              <a:t> </a:t>
            </a:r>
            <a:r>
              <a:rPr lang="fr-FR" dirty="0" err="1" smtClean="0"/>
              <a:t>inception</a:t>
            </a:r>
            <a:r>
              <a:rPr lang="fr-FR" dirty="0" smtClean="0"/>
              <a:t> in 2006, UNITAID has </a:t>
            </a:r>
            <a:r>
              <a:rPr lang="fr-FR" dirty="0" err="1" smtClean="0"/>
              <a:t>worked</a:t>
            </a:r>
            <a:r>
              <a:rPr lang="fr-FR" dirty="0" smtClean="0"/>
              <a:t> </a:t>
            </a:r>
            <a:r>
              <a:rPr lang="fr-FR" dirty="0" err="1" smtClean="0"/>
              <a:t>through</a:t>
            </a:r>
            <a:r>
              <a:rPr lang="fr-FR" dirty="0" smtClean="0"/>
              <a:t> </a:t>
            </a:r>
            <a:r>
              <a:rPr lang="fr-FR" dirty="0" err="1" smtClean="0"/>
              <a:t>market</a:t>
            </a:r>
            <a:r>
              <a:rPr lang="fr-FR" dirty="0" smtClean="0"/>
              <a:t> </a:t>
            </a:r>
            <a:r>
              <a:rPr lang="fr-FR" dirty="0" err="1" smtClean="0"/>
              <a:t>based</a:t>
            </a:r>
            <a:r>
              <a:rPr lang="fr-FR" dirty="0" smtClean="0"/>
              <a:t> interventions to </a:t>
            </a:r>
            <a:r>
              <a:rPr lang="fr-FR" dirty="0" err="1" smtClean="0"/>
              <a:t>improve</a:t>
            </a:r>
            <a:r>
              <a:rPr lang="fr-FR" dirty="0" smtClean="0"/>
              <a:t> </a:t>
            </a:r>
            <a:r>
              <a:rPr lang="fr-FR" dirty="0" err="1" smtClean="0"/>
              <a:t>access</a:t>
            </a:r>
            <a:r>
              <a:rPr lang="fr-FR" baseline="0" dirty="0" smtClean="0"/>
              <a:t> to essential </a:t>
            </a:r>
            <a:r>
              <a:rPr lang="fr-FR" baseline="0" dirty="0" err="1" smtClean="0"/>
              <a:t>health</a:t>
            </a:r>
            <a:r>
              <a:rPr lang="fr-FR" baseline="0" dirty="0" smtClean="0"/>
              <a:t> </a:t>
            </a:r>
            <a:r>
              <a:rPr lang="fr-FR" baseline="0" dirty="0" err="1" smtClean="0"/>
              <a:t>products</a:t>
            </a:r>
            <a:r>
              <a:rPr lang="fr-FR" baseline="0" dirty="0" smtClean="0"/>
              <a:t> in the 3 </a:t>
            </a:r>
            <a:r>
              <a:rPr lang="fr-FR" baseline="0" dirty="0" err="1" smtClean="0"/>
              <a:t>diseases</a:t>
            </a:r>
            <a:r>
              <a:rPr lang="fr-FR" baseline="0" dirty="0" smtClean="0"/>
              <a:t> for the people </a:t>
            </a:r>
            <a:r>
              <a:rPr lang="fr-FR" baseline="0" dirty="0" err="1" smtClean="0"/>
              <a:t>who</a:t>
            </a:r>
            <a:r>
              <a:rPr lang="fr-FR" baseline="0" dirty="0" smtClean="0"/>
              <a:t> </a:t>
            </a:r>
            <a:r>
              <a:rPr lang="fr-FR" baseline="0" dirty="0" err="1" smtClean="0"/>
              <a:t>needed</a:t>
            </a:r>
            <a:r>
              <a:rPr lang="fr-FR" baseline="0" dirty="0" smtClean="0"/>
              <a:t> </a:t>
            </a:r>
            <a:r>
              <a:rPr lang="fr-FR" baseline="0" dirty="0" err="1" smtClean="0"/>
              <a:t>them</a:t>
            </a:r>
            <a:r>
              <a:rPr lang="fr-FR" baseline="0" dirty="0" smtClean="0"/>
              <a:t> the </a:t>
            </a:r>
            <a:r>
              <a:rPr lang="fr-FR" baseline="0" dirty="0" err="1" smtClean="0"/>
              <a:t>most</a:t>
            </a:r>
            <a:r>
              <a:rPr lang="fr-FR" baseline="0" dirty="0" smtClean="0"/>
              <a:t>.</a:t>
            </a:r>
          </a:p>
          <a:p>
            <a:pPr marL="171450" indent="-171450">
              <a:buFont typeface="Arial" panose="020B0604020202020204" pitchFamily="34" charset="0"/>
              <a:buChar char="•"/>
            </a:pPr>
            <a:r>
              <a:rPr lang="fr-FR" baseline="0" dirty="0" err="1" smtClean="0"/>
              <a:t>Through</a:t>
            </a:r>
            <a:r>
              <a:rPr lang="fr-FR" baseline="0" dirty="0" smtClean="0"/>
              <a:t> </a:t>
            </a:r>
            <a:r>
              <a:rPr lang="fr-FR" baseline="0" dirty="0" err="1" smtClean="0"/>
              <a:t>advanced</a:t>
            </a:r>
            <a:r>
              <a:rPr lang="fr-FR" baseline="0" dirty="0" smtClean="0"/>
              <a:t> </a:t>
            </a:r>
            <a:r>
              <a:rPr lang="fr-FR" baseline="0" dirty="0" err="1" smtClean="0"/>
              <a:t>purchase</a:t>
            </a:r>
            <a:r>
              <a:rPr lang="fr-FR" baseline="0" dirty="0" smtClean="0"/>
              <a:t> </a:t>
            </a:r>
            <a:r>
              <a:rPr lang="fr-FR" baseline="0" dirty="0" err="1" smtClean="0"/>
              <a:t>committements</a:t>
            </a:r>
            <a:r>
              <a:rPr lang="fr-FR" baseline="0" dirty="0" smtClean="0"/>
              <a:t> and </a:t>
            </a:r>
            <a:r>
              <a:rPr lang="fr-FR" baseline="0" dirty="0" err="1" smtClean="0"/>
              <a:t>bulk</a:t>
            </a:r>
            <a:r>
              <a:rPr lang="fr-FR" baseline="0" dirty="0" smtClean="0"/>
              <a:t> </a:t>
            </a:r>
            <a:r>
              <a:rPr lang="fr-FR" baseline="0" dirty="0" err="1" smtClean="0"/>
              <a:t>procurement</a:t>
            </a:r>
            <a:r>
              <a:rPr lang="fr-FR" baseline="0" dirty="0" smtClean="0"/>
              <a:t> – UNITAID </a:t>
            </a:r>
            <a:r>
              <a:rPr lang="fr-FR" baseline="0" dirty="0" err="1" smtClean="0"/>
              <a:t>was</a:t>
            </a:r>
            <a:r>
              <a:rPr lang="fr-FR" baseline="0" dirty="0" smtClean="0"/>
              <a:t> able to </a:t>
            </a:r>
            <a:r>
              <a:rPr lang="fr-FR" baseline="0" dirty="0" err="1" smtClean="0"/>
              <a:t>fill</a:t>
            </a:r>
            <a:r>
              <a:rPr lang="fr-FR" baseline="0" dirty="0" smtClean="0"/>
              <a:t> </a:t>
            </a:r>
            <a:r>
              <a:rPr lang="fr-FR" baseline="0" dirty="0" err="1" smtClean="0"/>
              <a:t>huge</a:t>
            </a:r>
            <a:r>
              <a:rPr lang="fr-FR" baseline="0" dirty="0" smtClean="0"/>
              <a:t> gaps in </a:t>
            </a:r>
            <a:r>
              <a:rPr lang="fr-FR" baseline="0" dirty="0" err="1" smtClean="0"/>
              <a:t>paediatric</a:t>
            </a:r>
            <a:r>
              <a:rPr lang="fr-FR" baseline="0" dirty="0" smtClean="0"/>
              <a:t> and 2</a:t>
            </a:r>
            <a:r>
              <a:rPr lang="fr-FR" baseline="30000" dirty="0" smtClean="0"/>
              <a:t>nd</a:t>
            </a:r>
            <a:r>
              <a:rPr lang="fr-FR" baseline="0" dirty="0" smtClean="0"/>
              <a:t> line </a:t>
            </a:r>
            <a:r>
              <a:rPr lang="fr-FR" baseline="0" dirty="0" err="1" smtClean="0"/>
              <a:t>treatment</a:t>
            </a:r>
            <a:r>
              <a:rPr lang="fr-FR" baseline="0" dirty="0" smtClean="0"/>
              <a:t> for </a:t>
            </a:r>
            <a:r>
              <a:rPr lang="fr-FR" baseline="0" dirty="0" err="1" smtClean="0"/>
              <a:t>those</a:t>
            </a:r>
            <a:r>
              <a:rPr lang="fr-FR" baseline="0" dirty="0" smtClean="0"/>
              <a:t> living </a:t>
            </a:r>
            <a:r>
              <a:rPr lang="fr-FR" baseline="0" dirty="0" err="1" smtClean="0"/>
              <a:t>with</a:t>
            </a:r>
            <a:r>
              <a:rPr lang="fr-FR" baseline="0" dirty="0" smtClean="0"/>
              <a:t> HIV</a:t>
            </a:r>
          </a:p>
          <a:p>
            <a:pPr marL="0" indent="0">
              <a:buFont typeface="Arial" panose="020B0604020202020204" pitchFamily="34" charset="0"/>
              <a:buNone/>
            </a:pPr>
            <a:endParaRPr lang="fr-FR" baseline="0" dirty="0" smtClean="0"/>
          </a:p>
          <a:p>
            <a:pPr marL="0" indent="0">
              <a:buFont typeface="Arial" panose="020B0604020202020204" pitchFamily="34" charset="0"/>
              <a:buNone/>
            </a:pPr>
            <a:r>
              <a:rPr lang="fr-FR" b="1" baseline="0" dirty="0" smtClean="0"/>
              <a:t>UNITAID </a:t>
            </a:r>
            <a:r>
              <a:rPr lang="fr-FR" baseline="0" dirty="0" err="1" smtClean="0"/>
              <a:t>also</a:t>
            </a:r>
            <a:r>
              <a:rPr lang="fr-FR" baseline="0" dirty="0" smtClean="0"/>
              <a:t> </a:t>
            </a:r>
            <a:r>
              <a:rPr lang="fr-FR" baseline="0" dirty="0" err="1" smtClean="0"/>
              <a:t>supported</a:t>
            </a:r>
            <a:r>
              <a:rPr lang="fr-FR" baseline="0" dirty="0" smtClean="0"/>
              <a:t> (and </a:t>
            </a:r>
            <a:r>
              <a:rPr lang="fr-FR" baseline="0" dirty="0" err="1" smtClean="0"/>
              <a:t>still</a:t>
            </a:r>
            <a:r>
              <a:rPr lang="fr-FR" baseline="0" dirty="0" smtClean="0"/>
              <a:t> supports) initiatives to:</a:t>
            </a:r>
          </a:p>
          <a:p>
            <a:pPr marL="171450" indent="-171450">
              <a:buFont typeface="Arial" panose="020B0604020202020204" pitchFamily="34" charset="0"/>
              <a:buChar char="•"/>
            </a:pPr>
            <a:r>
              <a:rPr lang="fr-FR" baseline="0" dirty="0" err="1" smtClean="0"/>
              <a:t>Overcome</a:t>
            </a:r>
            <a:r>
              <a:rPr lang="fr-FR" baseline="0" dirty="0" smtClean="0"/>
              <a:t> </a:t>
            </a:r>
            <a:r>
              <a:rPr lang="fr-FR" baseline="0" dirty="0" err="1" smtClean="0"/>
              <a:t>intellectual</a:t>
            </a:r>
            <a:r>
              <a:rPr lang="fr-FR" baseline="0" dirty="0" smtClean="0"/>
              <a:t> </a:t>
            </a:r>
            <a:r>
              <a:rPr lang="fr-FR" baseline="0" dirty="0" err="1" smtClean="0"/>
              <a:t>property</a:t>
            </a:r>
            <a:r>
              <a:rPr lang="fr-FR" baseline="0" dirty="0" smtClean="0"/>
              <a:t> </a:t>
            </a:r>
            <a:r>
              <a:rPr lang="fr-FR" baseline="0" dirty="0" err="1" smtClean="0"/>
              <a:t>barriers</a:t>
            </a:r>
            <a:r>
              <a:rPr lang="fr-FR" baseline="0" dirty="0" smtClean="0"/>
              <a:t> to </a:t>
            </a:r>
            <a:r>
              <a:rPr lang="fr-FR" baseline="0" dirty="0" err="1" smtClean="0"/>
              <a:t>access</a:t>
            </a:r>
            <a:r>
              <a:rPr lang="fr-FR" baseline="0" dirty="0" smtClean="0"/>
              <a:t> via MPP</a:t>
            </a:r>
          </a:p>
          <a:p>
            <a:pPr marL="171450" indent="-171450">
              <a:buFont typeface="Arial" panose="020B0604020202020204" pitchFamily="34" charset="0"/>
              <a:buChar char="•"/>
            </a:pPr>
            <a:r>
              <a:rPr lang="fr-FR" baseline="0" dirty="0" err="1" smtClean="0"/>
              <a:t>Improve</a:t>
            </a:r>
            <a:r>
              <a:rPr lang="fr-FR" baseline="0" dirty="0" smtClean="0"/>
              <a:t> </a:t>
            </a:r>
            <a:r>
              <a:rPr lang="fr-FR" baseline="0" dirty="0" err="1" smtClean="0"/>
              <a:t>quality</a:t>
            </a:r>
            <a:r>
              <a:rPr lang="fr-FR" baseline="0" dirty="0" smtClean="0"/>
              <a:t> assurance for </a:t>
            </a:r>
            <a:r>
              <a:rPr lang="fr-FR" baseline="0" dirty="0" err="1" smtClean="0"/>
              <a:t>medicines</a:t>
            </a:r>
            <a:r>
              <a:rPr lang="fr-FR" baseline="0" dirty="0" smtClean="0"/>
              <a:t>/diagnostics </a:t>
            </a:r>
            <a:r>
              <a:rPr lang="fr-FR" baseline="0" dirty="0" err="1" smtClean="0"/>
              <a:t>including</a:t>
            </a:r>
            <a:r>
              <a:rPr lang="fr-FR" baseline="0" dirty="0" smtClean="0"/>
              <a:t> </a:t>
            </a:r>
            <a:r>
              <a:rPr lang="fr-FR" baseline="0" dirty="0" err="1" smtClean="0"/>
              <a:t>prequalification</a:t>
            </a:r>
            <a:r>
              <a:rPr lang="fr-FR" baseline="0" dirty="0" smtClean="0"/>
              <a:t>.</a:t>
            </a:r>
          </a:p>
          <a:p>
            <a:pPr marL="0" indent="0">
              <a:buFont typeface="Arial" panose="020B0604020202020204" pitchFamily="34" charset="0"/>
              <a:buNone/>
            </a:pPr>
            <a:endParaRPr lang="fr-FR" baseline="0" dirty="0" smtClean="0"/>
          </a:p>
          <a:p>
            <a:pPr marL="0" indent="0">
              <a:buFont typeface="Arial" panose="020B0604020202020204" pitchFamily="34" charset="0"/>
              <a:buNone/>
            </a:pPr>
            <a:r>
              <a:rPr lang="fr-FR" baseline="0" dirty="0" err="1" smtClean="0"/>
              <a:t>Now</a:t>
            </a:r>
            <a:r>
              <a:rPr lang="fr-FR" baseline="0" dirty="0" smtClean="0"/>
              <a:t> </a:t>
            </a:r>
            <a:r>
              <a:rPr lang="fr-FR" baseline="0" dirty="0" err="1" smtClean="0"/>
              <a:t>with</a:t>
            </a:r>
            <a:r>
              <a:rPr lang="fr-FR" baseline="0" dirty="0" smtClean="0"/>
              <a:t> the </a:t>
            </a:r>
            <a:r>
              <a:rPr lang="fr-FR" baseline="0" dirty="0" err="1" smtClean="0"/>
              <a:t>evolving</a:t>
            </a:r>
            <a:r>
              <a:rPr lang="fr-FR" baseline="0" dirty="0" smtClean="0"/>
              <a:t> global </a:t>
            </a:r>
            <a:r>
              <a:rPr lang="fr-FR" baseline="0" dirty="0" err="1" smtClean="0"/>
              <a:t>health</a:t>
            </a:r>
            <a:r>
              <a:rPr lang="fr-FR" baseline="0" dirty="0" smtClean="0"/>
              <a:t> </a:t>
            </a:r>
            <a:r>
              <a:rPr lang="fr-FR" baseline="0" dirty="0" err="1" smtClean="0"/>
              <a:t>landscape</a:t>
            </a:r>
            <a:r>
              <a:rPr lang="fr-FR" baseline="0" dirty="0" smtClean="0"/>
              <a:t>, UNITAID </a:t>
            </a:r>
            <a:r>
              <a:rPr lang="fr-FR" baseline="0" dirty="0" err="1" smtClean="0"/>
              <a:t>is</a:t>
            </a:r>
            <a:r>
              <a:rPr lang="fr-FR" baseline="0" dirty="0" smtClean="0"/>
              <a:t> </a:t>
            </a:r>
            <a:r>
              <a:rPr lang="fr-FR" baseline="0" dirty="0" err="1" smtClean="0"/>
              <a:t>engaging</a:t>
            </a:r>
            <a:r>
              <a:rPr lang="fr-FR" baseline="0" dirty="0" smtClean="0"/>
              <a:t> more </a:t>
            </a:r>
            <a:r>
              <a:rPr lang="fr-FR" baseline="0" dirty="0" err="1" smtClean="0"/>
              <a:t>targeted</a:t>
            </a:r>
            <a:r>
              <a:rPr lang="fr-FR" baseline="0" dirty="0" smtClean="0"/>
              <a:t> interventions  - </a:t>
            </a:r>
            <a:r>
              <a:rPr lang="fr-FR" baseline="0" dirty="0" err="1" smtClean="0"/>
              <a:t>highlighted</a:t>
            </a:r>
            <a:r>
              <a:rPr lang="fr-FR" baseline="0" dirty="0" smtClean="0"/>
              <a:t> in the new 2017 – 2021 </a:t>
            </a:r>
            <a:r>
              <a:rPr lang="fr-FR" baseline="0" dirty="0" err="1" smtClean="0"/>
              <a:t>Strategy</a:t>
            </a:r>
            <a:endParaRPr lang="fr-FR" baseline="0" dirty="0" smtClean="0"/>
          </a:p>
          <a:p>
            <a:pPr marL="171450" indent="-171450">
              <a:buFont typeface="Arial" panose="020B0604020202020204" pitchFamily="34" charset="0"/>
              <a:buChar char="•"/>
            </a:pPr>
            <a:endParaRPr lang="fr-FR" baseline="0" dirty="0" smtClean="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22</a:t>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r>
              <a:rPr lang="en-US" dirty="0" smtClean="0"/>
              <a:t>Where do </a:t>
            </a:r>
            <a:r>
              <a:rPr lang="en-US" dirty="0" err="1" smtClean="0"/>
              <a:t>Unitaid's</a:t>
            </a:r>
            <a:r>
              <a:rPr lang="en-US" dirty="0" smtClean="0"/>
              <a:t> interventions start and end?</a:t>
            </a:r>
          </a:p>
          <a:p>
            <a:endParaRPr lang="en-US" dirty="0" smtClean="0"/>
          </a:p>
          <a:p>
            <a:pPr marL="171450" indent="-171450">
              <a:buFont typeface="Arial" panose="020B0604020202020204" pitchFamily="34" charset="0"/>
              <a:buChar char="•"/>
            </a:pPr>
            <a:r>
              <a:rPr lang="en-US" dirty="0" smtClean="0"/>
              <a:t>Start - </a:t>
            </a:r>
            <a:r>
              <a:rPr lang="en-US" dirty="0" err="1" smtClean="0"/>
              <a:t>Unitaid's</a:t>
            </a:r>
            <a:r>
              <a:rPr lang="en-US" dirty="0" smtClean="0"/>
              <a:t> interventions usually start when products are commercially available or close to product launch – Unitaid for example supports late stage development.</a:t>
            </a:r>
          </a:p>
          <a:p>
            <a:endParaRPr lang="en-US" dirty="0" smtClean="0"/>
          </a:p>
          <a:p>
            <a:pPr marL="171450" indent="-171450">
              <a:buFont typeface="Arial" panose="020B0604020202020204" pitchFamily="34" charset="0"/>
              <a:buChar char="•"/>
            </a:pPr>
            <a:r>
              <a:rPr lang="en-US" dirty="0" smtClean="0"/>
              <a:t>End - </a:t>
            </a:r>
            <a:r>
              <a:rPr lang="en-US" dirty="0" err="1" smtClean="0"/>
              <a:t>Unitaid's</a:t>
            </a:r>
            <a:r>
              <a:rPr lang="en-US" dirty="0" smtClean="0"/>
              <a:t> interventions end with preparing the transition to scale - implementation at scale is funded by </a:t>
            </a:r>
            <a:r>
              <a:rPr lang="en-US" dirty="0" err="1" smtClean="0"/>
              <a:t>Unitaid's</a:t>
            </a:r>
            <a:r>
              <a:rPr lang="en-US" dirty="0" smtClean="0"/>
              <a:t> partners.</a:t>
            </a:r>
            <a:endParaRPr lang="fr-FR"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23</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pPr/>
              <a:t>4</a:t>
            </a:fld>
            <a:endParaRPr lang="en-US" dirty="0"/>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7275" y="720725"/>
            <a:ext cx="5200650" cy="3600450"/>
          </a:xfrm>
        </p:spPr>
      </p:sp>
      <p:sp>
        <p:nvSpPr>
          <p:cNvPr id="3" name="Notes Placeholder 2"/>
          <p:cNvSpPr>
            <a:spLocks noGrp="1"/>
          </p:cNvSpPr>
          <p:nvPr>
            <p:ph type="body" idx="1"/>
          </p:nvPr>
        </p:nvSpPr>
        <p:spPr/>
        <p:txBody>
          <a:bodyPr>
            <a:normAutofit/>
          </a:bodyPr>
          <a:lstStyle/>
          <a:p>
            <a:endParaRPr lang="fr-FR"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24</a:t>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pPr/>
              <a:t>5</a:t>
            </a:fld>
            <a:endParaRPr lang="en-US" dirty="0"/>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1830388" y="1238250"/>
            <a:ext cx="10931526" cy="8197850"/>
          </a:xfrm>
          <a:ln/>
        </p:spPr>
      </p:sp>
      <p:sp>
        <p:nvSpPr>
          <p:cNvPr id="32771" name="Rectangle 3"/>
          <p:cNvSpPr>
            <a:spLocks noGrp="1" noChangeArrowheads="1"/>
          </p:cNvSpPr>
          <p:nvPr>
            <p:ph type="body" idx="1"/>
          </p:nvPr>
        </p:nvSpPr>
        <p:spPr>
          <a:xfrm>
            <a:off x="587588" y="345043"/>
            <a:ext cx="4323079" cy="246698"/>
          </a:xfrm>
          <a:noFill/>
          <a:ln/>
        </p:spPr>
        <p:txBody>
          <a:bodyPr/>
          <a:lstStyle/>
          <a:p>
            <a:endParaRPr lang="en-GB" dirty="0"/>
          </a:p>
        </p:txBody>
      </p:sp>
      <p:sp>
        <p:nvSpPr>
          <p:cNvPr id="32772" name="McK Separator"/>
          <p:cNvSpPr>
            <a:spLocks noChangeShapeType="1"/>
          </p:cNvSpPr>
          <p:nvPr>
            <p:custDataLst>
              <p:tags r:id="rId1"/>
            </p:custDataLst>
          </p:nvPr>
        </p:nvSpPr>
        <p:spPr bwMode="auto">
          <a:xfrm>
            <a:off x="601135" y="1466850"/>
            <a:ext cx="5968999" cy="0"/>
          </a:xfrm>
          <a:prstGeom prst="line">
            <a:avLst/>
          </a:prstGeom>
          <a:noFill/>
          <a:ln w="9525">
            <a:solidFill>
              <a:schemeClr val="tx1"/>
            </a:solidFill>
            <a:round/>
            <a:headEnd/>
            <a:tailEnd/>
          </a:ln>
        </p:spPr>
        <p:txBody>
          <a:bodyPr lIns="96661" tIns="48331" rIns="96661" bIns="48331"/>
          <a:lstStyle/>
          <a:p>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lain</a:t>
            </a:r>
            <a:r>
              <a:rPr lang="en-US" baseline="0" dirty="0" smtClean="0"/>
              <a:t> program and purchasing consortium countries</a:t>
            </a:r>
            <a:endParaRPr lang="en-US" dirty="0"/>
          </a:p>
        </p:txBody>
      </p:sp>
      <p:sp>
        <p:nvSpPr>
          <p:cNvPr id="4" name="Slide Number Placeholder 3"/>
          <p:cNvSpPr>
            <a:spLocks noGrp="1"/>
          </p:cNvSpPr>
          <p:nvPr>
            <p:ph type="sldNum" sz="quarter" idx="10"/>
          </p:nvPr>
        </p:nvSpPr>
        <p:spPr/>
        <p:txBody>
          <a:bodyPr/>
          <a:lstStyle/>
          <a:p>
            <a:fld id="{2EC19646-6506-4B3A-8C59-2AF7DEE8DF74}"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687551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pPr indent="0" algn="l" eaLnBrk="1" hangingPunct="1"/>
            <a:r>
              <a:rPr lang="en-US" sz="1200" kern="0" dirty="0" smtClean="0">
                <a:solidFill>
                  <a:srgbClr val="FFFFFF"/>
                </a:solidFill>
                <a:latin typeface="Calibri" panose="020F0502020204030204" pitchFamily="34" charset="0"/>
                <a:ea typeface="ＭＳ Ｐゴシック" pitchFamily="-16" charset="-128"/>
                <a:cs typeface="Times New Roman" panose="02020603050405020304" pitchFamily="18" charset="0"/>
              </a:rPr>
              <a:t>CHAI was founded in 2002 by US President</a:t>
            </a:r>
            <a:r>
              <a:rPr lang="en-US" sz="1200" kern="0" baseline="0" dirty="0" smtClean="0">
                <a:solidFill>
                  <a:srgbClr val="FFFFFF"/>
                </a:solidFill>
                <a:latin typeface="Calibri" panose="020F0502020204030204" pitchFamily="34" charset="0"/>
                <a:ea typeface="ＭＳ Ｐゴシック" pitchFamily="-16" charset="-128"/>
                <a:cs typeface="Times New Roman" panose="02020603050405020304" pitchFamily="18" charset="0"/>
              </a:rPr>
              <a:t> Bill Clinton and Ira Magaziner </a:t>
            </a:r>
            <a:r>
              <a:rPr lang="en-US" sz="1200" kern="0" dirty="0" smtClean="0">
                <a:solidFill>
                  <a:srgbClr val="FFFFFF"/>
                </a:solidFill>
                <a:latin typeface="Calibri" panose="020F0502020204030204" pitchFamily="34" charset="0"/>
                <a:ea typeface="ＭＳ Ｐゴシック" pitchFamily="-16" charset="-128"/>
                <a:cs typeface="Times New Roman" panose="02020603050405020304" pitchFamily="18" charset="0"/>
              </a:rPr>
              <a:t>to fight the AIDS pandemic, and this work is still central to the CHAI mission.</a:t>
            </a:r>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33844580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3A5EC8B6-D8E5-C14C-A365-1D3886928372}" type="slidenum">
              <a:rPr lang="en-US">
                <a:solidFill>
                  <a:prstClr val="black"/>
                </a:solidFill>
              </a:rPr>
              <a:pPr>
                <a:defRPr/>
              </a:pPr>
              <a:t>11</a:t>
            </a:fld>
            <a:endParaRPr lang="en-US" dirty="0">
              <a:solidFill>
                <a:prstClr val="black"/>
              </a:solidFill>
            </a:endParaRPr>
          </a:p>
        </p:txBody>
      </p:sp>
      <p:sp>
        <p:nvSpPr>
          <p:cNvPr id="54274" name="Rectangle 2"/>
          <p:cNvSpPr>
            <a:spLocks noGrp="1" noRot="1" noChangeAspect="1" noChangeArrowheads="1" noTextEdit="1"/>
          </p:cNvSpPr>
          <p:nvPr>
            <p:ph type="sldImg"/>
          </p:nvPr>
        </p:nvSpPr>
        <p:spPr>
          <a:xfrm>
            <a:off x="-1830388" y="1238250"/>
            <a:ext cx="10931526" cy="8197850"/>
          </a:xfrm>
          <a:ln/>
        </p:spPr>
      </p:sp>
      <p:sp>
        <p:nvSpPr>
          <p:cNvPr id="54275" name="Rectangle 3"/>
          <p:cNvSpPr>
            <a:spLocks noGrp="1" noChangeArrowheads="1"/>
          </p:cNvSpPr>
          <p:nvPr>
            <p:ph type="body" idx="1"/>
          </p:nvPr>
        </p:nvSpPr>
        <p:spPr>
          <a:xfrm>
            <a:off x="587591" y="344306"/>
            <a:ext cx="4323078" cy="24757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a:spcAft>
                <a:spcPts val="634"/>
              </a:spcAft>
            </a:pPr>
            <a:r>
              <a:rPr lang="en-US" dirty="0"/>
              <a:t>When we think about new product introduction, we think about interventions</a:t>
            </a:r>
            <a:r>
              <a:rPr lang="en-US" baseline="0" dirty="0"/>
              <a:t> to take and levers that we need to pull on both sides of this market. </a:t>
            </a:r>
            <a:endParaRPr lang="en-US" dirty="0"/>
          </a:p>
        </p:txBody>
      </p:sp>
      <p:sp>
        <p:nvSpPr>
          <p:cNvPr id="24581" name="McK Separator"/>
          <p:cNvSpPr>
            <a:spLocks noChangeShapeType="1"/>
          </p:cNvSpPr>
          <p:nvPr>
            <p:custDataLst>
              <p:tags r:id="rId1"/>
            </p:custDataLst>
          </p:nvPr>
        </p:nvSpPr>
        <p:spPr bwMode="auto">
          <a:xfrm>
            <a:off x="601137" y="1467397"/>
            <a:ext cx="5968999" cy="0"/>
          </a:xfrm>
          <a:prstGeom prst="line">
            <a:avLst/>
          </a:prstGeom>
          <a:noFill/>
          <a:ln w="9525">
            <a:solidFill>
              <a:schemeClr val="tx1"/>
            </a:solidFill>
            <a:round/>
            <a:headEnd/>
            <a:tailEnd/>
          </a:ln>
        </p:spPr>
        <p:txBody>
          <a:bodyPr lIns="96541" tIns="48270" rIns="96541" bIns="48270"/>
          <a:lstStyle/>
          <a:p>
            <a:pPr fontAlgn="auto">
              <a:spcBef>
                <a:spcPts val="0"/>
              </a:spcBef>
              <a:spcAft>
                <a:spcPts val="0"/>
              </a:spcAft>
              <a:defRPr/>
            </a:pPr>
            <a:endParaRPr lang="en-US" sz="1900" dirty="0">
              <a:solidFill>
                <a:prstClr val="black"/>
              </a:solidFill>
              <a:latin typeface="Calibri"/>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28C258E-B50B-4F54-8DA6-DE3BD167E99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6087147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F42596AC-6355-46BA-A916-F074AB0CC20A}" type="slidenum">
              <a:rPr lang="en-US"/>
              <a:pPr>
                <a:defRPr/>
              </a:pPr>
              <a:t>‹#›</a:t>
            </a:fld>
            <a:endParaRPr lang="en-US" dirty="0"/>
          </a:p>
        </p:txBody>
      </p:sp>
      <p:sp>
        <p:nvSpPr>
          <p:cNvPr id="6" name="Title 1"/>
          <p:cNvSpPr txBox="1">
            <a:spLocks/>
          </p:cNvSpPr>
          <p:nvPr userDrawn="1"/>
        </p:nvSpPr>
        <p:spPr bwMode="auto">
          <a:xfrm>
            <a:off x="0" y="0"/>
            <a:ext cx="9144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400" b="0" i="0" u="none" strike="noStrike" kern="0" cap="none" spc="0" normalizeH="0" baseline="0" noProof="0" dirty="0">
                <a:ln>
                  <a:noFill/>
                </a:ln>
                <a:solidFill>
                  <a:schemeClr val="tx2"/>
                </a:solidFill>
                <a:effectLst/>
                <a:uLnTx/>
                <a:uFillTx/>
                <a:latin typeface="+mj-lt"/>
                <a:ea typeface="+mj-ea"/>
                <a:cs typeface="+mj-cs"/>
              </a:rPr>
              <a:t>Click to edit Master title </a:t>
            </a:r>
            <a:r>
              <a:rPr kumimoji="0" lang="en-US" sz="4400" b="0" i="0" u="none" strike="noStrike" kern="0" cap="none" spc="0" normalizeH="0" baseline="0" noProof="0" dirty="0" err="1">
                <a:ln>
                  <a:noFill/>
                </a:ln>
                <a:solidFill>
                  <a:schemeClr val="tx2"/>
                </a:solidFill>
                <a:effectLst/>
                <a:uLnTx/>
                <a:uFillTx/>
                <a:latin typeface="+mj-lt"/>
                <a:ea typeface="+mj-ea"/>
                <a:cs typeface="+mj-cs"/>
              </a:rPr>
              <a:t>stylez</a:t>
            </a:r>
            <a:endParaRPr kumimoji="0" lang="en-US" sz="4400" b="0" i="0" u="none" strike="noStrike" kern="0" cap="none" spc="0" normalizeH="0" baseline="0" noProof="0" dirty="0">
              <a:ln>
                <a:noFill/>
              </a:ln>
              <a:solidFill>
                <a:schemeClr val="tx2"/>
              </a:solidFill>
              <a:effectLst/>
              <a:uLnTx/>
              <a:uFillTx/>
              <a:latin typeface="+mj-lt"/>
              <a:ea typeface="+mj-ea"/>
              <a:cs typeface="+mj-cs"/>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8921C251-7379-4E52-AF0B-86DB75D797A2}" type="slidenum">
              <a:rPr lang="en-US"/>
              <a:pPr>
                <a:defRPr/>
              </a:pPr>
              <a:t>‹#›</a:t>
            </a:fld>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Half Page Chart and Table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hasCustomPrompt="1"/>
          </p:nvPr>
        </p:nvSpPr>
        <p:spPr>
          <a:xfrm>
            <a:off x="353588" y="1292913"/>
            <a:ext cx="4004323" cy="5095600"/>
          </a:xfrm>
          <a:prstGeom prst="rect">
            <a:avLst/>
          </a:prstGeom>
          <a:blipFill>
            <a:blip r:embed="rId2" cstate="screen"/>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6" name="Table Placeholder 5"/>
          <p:cNvSpPr>
            <a:spLocks noGrp="1"/>
          </p:cNvSpPr>
          <p:nvPr>
            <p:ph type="tbl" sz="quarter" idx="13"/>
          </p:nvPr>
        </p:nvSpPr>
        <p:spPr>
          <a:xfrm>
            <a:off x="4740141" y="1292913"/>
            <a:ext cx="4004562" cy="5096770"/>
          </a:xfrm>
          <a:prstGeom prst="rect">
            <a:avLst/>
          </a:prstGeom>
        </p:spPr>
        <p:txBody>
          <a:bodyPr>
            <a:normAutofit/>
          </a:bodyPr>
          <a:lstStyle>
            <a:lvl1pPr marL="252922" indent="-252922" algn="l" defTabSz="914068" rtl="0" eaLnBrk="1" fontAlgn="base" latinLnBrk="0" hangingPunct="1">
              <a:spcBef>
                <a:spcPct val="40000"/>
              </a:spcBef>
              <a:spcAft>
                <a:spcPct val="0"/>
              </a:spcAft>
              <a:buClr>
                <a:schemeClr val="tx1"/>
              </a:buClr>
              <a:buSzPct val="100000"/>
              <a:buFont typeface="Verdana" pitchFamily="34" charset="0"/>
              <a:buChar char="•"/>
              <a:defRPr lang="en-US" altLang="zh-CN" sz="2200" kern="1200" noProof="1" dirty="0" smtClean="0">
                <a:solidFill>
                  <a:schemeClr val="tx1"/>
                </a:solidFill>
                <a:latin typeface="+mn-lt"/>
                <a:ea typeface="+mn-ea"/>
                <a:cs typeface="+mn-cs"/>
              </a:defRPr>
            </a:lvl1pPr>
          </a:lstStyle>
          <a:p>
            <a:r>
              <a:rPr lang="en-US"/>
              <a:t>Click icon to add table</a:t>
            </a:r>
            <a:endParaRPr lang="en-US" dirty="0"/>
          </a:p>
        </p:txBody>
      </p:sp>
      <p:sp>
        <p:nvSpPr>
          <p:cNvPr id="5"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a:p>
        </p:txBody>
      </p:sp>
    </p:spTree>
    <p:extLst>
      <p:ext uri="{BB962C8B-B14F-4D97-AF65-F5344CB8AC3E}">
        <p14:creationId xmlns:p14="http://schemas.microsoft.com/office/powerpoint/2010/main" val="12019134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sp>
        <p:nvSpPr>
          <p:cNvPr id="6"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0" hasCustomPrompt="1"/>
          </p:nvPr>
        </p:nvSpPr>
        <p:spPr>
          <a:xfrm>
            <a:off x="2257207" y="2541733"/>
            <a:ext cx="4624916" cy="1725730"/>
          </a:xfrm>
        </p:spPr>
        <p:txBody>
          <a:bodyPr/>
          <a:lstStyle>
            <a:lvl1pPr>
              <a:lnSpc>
                <a:spcPct val="150000"/>
              </a:lnSpc>
              <a:defRPr sz="2000" baseline="0">
                <a:latin typeface="+mj-lt"/>
              </a:defRPr>
            </a:lvl1pPr>
          </a:lstStyle>
          <a:p>
            <a:pPr lvl="0"/>
            <a:r>
              <a:rPr lang="en-US" dirty="0"/>
              <a:t>First level bullet</a:t>
            </a:r>
          </a:p>
          <a:p>
            <a:pPr lvl="0"/>
            <a:r>
              <a:rPr lang="en-US" dirty="0"/>
              <a:t>First level bullet</a:t>
            </a:r>
          </a:p>
          <a:p>
            <a:pPr lvl="0"/>
            <a:r>
              <a:rPr lang="en-US" dirty="0"/>
              <a:t>First level bullet</a:t>
            </a:r>
            <a:endParaRPr lang="it-IT" dirty="0"/>
          </a:p>
        </p:txBody>
      </p:sp>
      <p:sp>
        <p:nvSpPr>
          <p:cNvPr id="4" name="Rectangle 8"/>
          <p:cNvSpPr>
            <a:spLocks noGrp="1" noChangeArrowheads="1"/>
          </p:cNvSpPr>
          <p:nvPr>
            <p:ph type="sldNum" sz="quarter" idx="11"/>
          </p:nvPr>
        </p:nvSpPr>
        <p:spPr>
          <a:xfrm>
            <a:off x="6818313" y="6302375"/>
            <a:ext cx="2133600" cy="476250"/>
          </a:xfrm>
          <a:ln/>
        </p:spPr>
        <p:txBody>
          <a:bodyPr/>
          <a:lstStyle>
            <a:lvl1pPr>
              <a:defRPr/>
            </a:lvl1pPr>
          </a:lstStyle>
          <a:p>
            <a:fld id="{FA8C94CF-DC14-409D-A359-9F5E91B971A0}" type="slidenum">
              <a:rPr lang="en-US" smtClean="0"/>
              <a:pPr/>
              <a:t>‹#›</a:t>
            </a:fld>
            <a:endParaRPr lang="en-US"/>
          </a:p>
        </p:txBody>
      </p:sp>
    </p:spTree>
    <p:extLst>
      <p:ext uri="{BB962C8B-B14F-4D97-AF65-F5344CB8AC3E}">
        <p14:creationId xmlns:p14="http://schemas.microsoft.com/office/powerpoint/2010/main" val="63560636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fld id="{FA8C94CF-DC14-409D-A359-9F5E91B971A0}" type="slidenum">
              <a:rPr lang="en-US" smtClean="0"/>
              <a:pPr/>
              <a:t>‹#›</a:t>
            </a:fld>
            <a:endParaRPr lang="en-US"/>
          </a:p>
        </p:txBody>
      </p:sp>
      <p:sp>
        <p:nvSpPr>
          <p:cNvPr id="4"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68467515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4"/>
            <a:ext cx="8229600" cy="152259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8"/>
          <p:cNvSpPr>
            <a:spLocks noGrp="1" noChangeArrowheads="1"/>
          </p:cNvSpPr>
          <p:nvPr>
            <p:ph type="sldNum" sz="quarter" idx="10"/>
          </p:nvPr>
        </p:nvSpPr>
        <p:spPr>
          <a:ln/>
        </p:spPr>
        <p:txBody>
          <a:bodyPr bIns="45720" anchor="b" anchorCtr="0"/>
          <a:lstStyle>
            <a:lvl1pPr>
              <a:defRPr/>
            </a:lvl1pPr>
          </a:lstStyle>
          <a:p>
            <a:fld id="{FA8C94CF-DC14-409D-A359-9F5E91B971A0}" type="slidenum">
              <a:rPr lang="en-US" smtClean="0"/>
              <a:pPr/>
              <a:t>‹#›</a:t>
            </a:fld>
            <a:endParaRPr lang="en-US"/>
          </a:p>
        </p:txBody>
      </p:sp>
      <p:sp>
        <p:nvSpPr>
          <p:cNvPr id="5"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42580989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4"/>
            <a:ext cx="4038600" cy="1522597"/>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4648200" y="1600204"/>
            <a:ext cx="4038600" cy="1522597"/>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Rectangle 8"/>
          <p:cNvSpPr>
            <a:spLocks noGrp="1" noChangeArrowheads="1"/>
          </p:cNvSpPr>
          <p:nvPr>
            <p:ph type="sldNum" sz="quarter" idx="10"/>
          </p:nvPr>
        </p:nvSpPr>
        <p:spPr>
          <a:ln/>
        </p:spPr>
        <p:txBody>
          <a:bodyPr anchor="b" anchorCtr="0"/>
          <a:lstStyle>
            <a:lvl1pPr>
              <a:defRPr/>
            </a:lvl1pPr>
          </a:lstStyle>
          <a:p>
            <a:fld id="{FA8C94CF-DC14-409D-A359-9F5E91B971A0}" type="slidenum">
              <a:rPr lang="en-US" smtClean="0"/>
              <a:pPr/>
              <a:t>‹#›</a:t>
            </a:fld>
            <a:endParaRPr lang="en-US"/>
          </a:p>
        </p:txBody>
      </p:sp>
      <p:sp>
        <p:nvSpPr>
          <p:cNvPr id="6"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8837393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1219204"/>
            <a:ext cx="5486400" cy="58695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fr-FR" noProof="0"/>
          </a:p>
        </p:txBody>
      </p:sp>
      <p:sp>
        <p:nvSpPr>
          <p:cNvPr id="4" name="Text Placeholder 3"/>
          <p:cNvSpPr>
            <a:spLocks noGrp="1"/>
          </p:cNvSpPr>
          <p:nvPr>
            <p:ph type="body" sz="half" idx="2"/>
          </p:nvPr>
        </p:nvSpPr>
        <p:spPr>
          <a:xfrm>
            <a:off x="1792288" y="5367338"/>
            <a:ext cx="5486400" cy="30995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nchor="b" anchorCtr="0"/>
          <a:lstStyle>
            <a:lvl1pPr>
              <a:defRPr/>
            </a:lvl1pPr>
          </a:lstStyle>
          <a:p>
            <a:fld id="{FA8C94CF-DC14-409D-A359-9F5E91B971A0}" type="slidenum">
              <a:rPr lang="en-US" smtClean="0"/>
              <a:pPr/>
              <a:t>‹#›</a:t>
            </a:fld>
            <a:endParaRPr lang="en-US"/>
          </a:p>
        </p:txBody>
      </p:sp>
      <p:sp>
        <p:nvSpPr>
          <p:cNvPr id="6" name="Title 1"/>
          <p:cNvSpPr txBox="1">
            <a:spLocks/>
          </p:cNvSpPr>
          <p:nvPr/>
        </p:nvSpPr>
        <p:spPr bwMode="white">
          <a:xfrm>
            <a:off x="280814" y="76200"/>
            <a:ext cx="8834097" cy="83580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eaLnBrk="0" hangingPunct="0">
              <a:defRPr/>
            </a:pPr>
            <a:r>
              <a:rPr lang="en-US" sz="1700" kern="0">
                <a:solidFill>
                  <a:srgbClr val="FFFFFF"/>
                </a:solidFill>
                <a:latin typeface="Verdana"/>
                <a:cs typeface="MS PGothic" pitchFamily="34" charset="-128"/>
              </a:rPr>
              <a:t>Click to edit Master title style</a:t>
            </a:r>
            <a:endParaRPr lang="en-US" sz="1700" kern="0" dirty="0">
              <a:solidFill>
                <a:srgbClr val="FFFFFF"/>
              </a:solidFill>
              <a:latin typeface="Verdana"/>
              <a:cs typeface="MS PGothic" pitchFamily="34" charset="-128"/>
            </a:endParaRPr>
          </a:p>
        </p:txBody>
      </p:sp>
    </p:spTree>
    <p:extLst>
      <p:ext uri="{BB962C8B-B14F-4D97-AF65-F5344CB8AC3E}">
        <p14:creationId xmlns:p14="http://schemas.microsoft.com/office/powerpoint/2010/main" val="93265297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nchor="b" anchorCtr="0"/>
          <a:lstStyle/>
          <a:p>
            <a:fld id="{FA8C94CF-DC14-409D-A359-9F5E91B971A0}" type="slidenum">
              <a:rPr lang="en-US" smtClean="0"/>
              <a:pPr/>
              <a:t>‹#›</a:t>
            </a:fld>
            <a:endParaRPr lang="en-US"/>
          </a:p>
        </p:txBody>
      </p:sp>
    </p:spTree>
    <p:extLst>
      <p:ext uri="{BB962C8B-B14F-4D97-AF65-F5344CB8AC3E}">
        <p14:creationId xmlns:p14="http://schemas.microsoft.com/office/powerpoint/2010/main" val="40428831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p:nvPr>
        </p:nvSpPr>
        <p:spPr>
          <a:xfrm>
            <a:off x="435356" y="1508402"/>
            <a:ext cx="8275203" cy="1522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3922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CHAI_Interim Logo (Feb 20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4601" y="5562600"/>
            <a:ext cx="27003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31"/>
            <a:ext cx="7772400" cy="1470025"/>
          </a:xfrm>
          <a:prstGeom prst="rect">
            <a:avLst/>
          </a:prstGeom>
        </p:spPr>
        <p:txBody>
          <a:bodyPr/>
          <a:lstStyle>
            <a:lvl1pPr algn="l">
              <a:defRPr sz="2800">
                <a:solidFill>
                  <a:schemeClr val="tx1"/>
                </a:solidFill>
                <a:latin typeface="Verdana" pitchFamily="34" charset="0"/>
                <a:ea typeface="Verdana" pitchFamily="34" charset="0"/>
                <a:cs typeface="Verdana" pitchFamily="34" charset="0"/>
              </a:defRPr>
            </a:lvl1pPr>
          </a:lstStyle>
          <a:p>
            <a:r>
              <a:rPr lang="en-US"/>
              <a:t>Click to edit Master title style</a:t>
            </a:r>
            <a:endParaRPr lang="fr-FR" dirty="0"/>
          </a:p>
        </p:txBody>
      </p:sp>
      <p:sp>
        <p:nvSpPr>
          <p:cNvPr id="3" name="Subtitle 2"/>
          <p:cNvSpPr>
            <a:spLocks noGrp="1"/>
          </p:cNvSpPr>
          <p:nvPr>
            <p:ph type="subTitle" idx="1"/>
          </p:nvPr>
        </p:nvSpPr>
        <p:spPr>
          <a:xfrm>
            <a:off x="685800" y="3886204"/>
            <a:ext cx="6400800" cy="371513"/>
          </a:xfrm>
          <a:prstGeom prst="rect">
            <a:avLst/>
          </a:prstGeom>
        </p:spPr>
        <p:txBody>
          <a:bodyPr/>
          <a:lstStyle>
            <a:lvl1pPr marL="0" indent="0" algn="l">
              <a:buNone/>
              <a:defRPr sz="1800">
                <a:latin typeface="Verdana" pitchFamily="34" charset="0"/>
                <a:ea typeface="Verdana" pitchFamily="34" charset="0"/>
                <a:cs typeface="Verdana"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fr-FR"/>
          </a:p>
        </p:txBody>
      </p:sp>
    </p:spTree>
    <p:extLst>
      <p:ext uri="{BB962C8B-B14F-4D97-AF65-F5344CB8AC3E}">
        <p14:creationId xmlns:p14="http://schemas.microsoft.com/office/powerpoint/2010/main" val="40167765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sp>
        <p:nvSpPr>
          <p:cNvPr id="3" name="Picture Placeholder 7"/>
          <p:cNvSpPr>
            <a:spLocks noGrp="1"/>
          </p:cNvSpPr>
          <p:nvPr>
            <p:ph type="pic" sz="quarter" idx="12"/>
          </p:nvPr>
        </p:nvSpPr>
        <p:spPr>
          <a:xfrm>
            <a:off x="353586" y="1292913"/>
            <a:ext cx="8438320"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pPr lvl="0"/>
            <a:r>
              <a:rPr lang="en-US" noProof="0"/>
              <a:t>Click icon to add picture</a:t>
            </a:r>
            <a:endParaRPr lang="en-US" noProof="0" dirty="0"/>
          </a:p>
        </p:txBody>
      </p:sp>
      <p:sp>
        <p:nvSpPr>
          <p:cNvPr id="2" name="Title 1"/>
          <p:cNvSpPr>
            <a:spLocks noGrp="1"/>
          </p:cNvSpPr>
          <p:nvPr>
            <p:ph type="title"/>
          </p:nvPr>
        </p:nvSpPr>
        <p:spPr>
          <a:xfrm>
            <a:off x="280814" y="78592"/>
            <a:ext cx="8834097" cy="835808"/>
          </a:xfrm>
          <a:prstGeom prst="rect">
            <a:avLst/>
          </a:prstGeom>
        </p:spPr>
        <p:txBody>
          <a:bodyPr/>
          <a:lstStyle/>
          <a:p>
            <a:r>
              <a:rPr lang="en-US"/>
              <a:t>Click to edit Master title style</a:t>
            </a:r>
            <a:endParaRPr lang="en-US" dirty="0"/>
          </a:p>
        </p:txBody>
      </p:sp>
      <p:sp>
        <p:nvSpPr>
          <p:cNvPr id="4" name="Rectangle 8"/>
          <p:cNvSpPr>
            <a:spLocks noGrp="1" noChangeArrowheads="1"/>
          </p:cNvSpPr>
          <p:nvPr>
            <p:ph type="sldNum" sz="quarter" idx="13"/>
          </p:nvPr>
        </p:nvSpPr>
        <p:spPr/>
        <p:txBody>
          <a:bodyPr/>
          <a:lstStyle>
            <a:lvl1pPr fontAlgn="base">
              <a:spcBef>
                <a:spcPct val="0"/>
              </a:spcBef>
              <a:spcAft>
                <a:spcPct val="0"/>
              </a:spcAft>
              <a:defRPr>
                <a:ea typeface="ＭＳ Ｐゴシック" pitchFamily="34" charset="-128"/>
              </a:defRPr>
            </a:lvl1pPr>
          </a:lstStyle>
          <a:p>
            <a:pPr>
              <a:defRPr/>
            </a:pPr>
            <a:fld id="{3D052EAC-0DF8-434F-B942-089C5B690E06}" type="slidenum">
              <a:rPr lang="en-US"/>
              <a:pPr>
                <a:defRPr/>
              </a:pPr>
              <a:t>‹#›</a:t>
            </a:fld>
            <a:endParaRPr lang="en-US"/>
          </a:p>
        </p:txBody>
      </p:sp>
    </p:spTree>
    <p:extLst>
      <p:ext uri="{BB962C8B-B14F-4D97-AF65-F5344CB8AC3E}">
        <p14:creationId xmlns:p14="http://schemas.microsoft.com/office/powerpoint/2010/main" val="2960807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7A04EFDA-57EF-40A1-9921-7F4FF2D6CF4B}" type="slidenum">
              <a:rPr lang="en-US"/>
              <a:pPr>
                <a:defRPr/>
              </a:pPr>
              <a:t>‹#›</a:t>
            </a:fld>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p:nvPr>
        </p:nvSpPr>
        <p:spPr>
          <a:xfrm>
            <a:off x="35358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pPr lvl="0"/>
            <a:r>
              <a:rPr lang="en-US" noProof="0"/>
              <a:t>Click icon to add picture</a:t>
            </a:r>
            <a:endParaRPr lang="en-US" noProof="0" dirty="0"/>
          </a:p>
        </p:txBody>
      </p:sp>
      <p:sp>
        <p:nvSpPr>
          <p:cNvPr id="5" name="Picture Placeholder 7"/>
          <p:cNvSpPr>
            <a:spLocks noGrp="1"/>
          </p:cNvSpPr>
          <p:nvPr>
            <p:ph type="pic" sz="quarter" idx="13"/>
          </p:nvPr>
        </p:nvSpPr>
        <p:spPr>
          <a:xfrm>
            <a:off x="478907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latinLnBrk="0" hangingPunct="1">
              <a:spcBef>
                <a:spcPct val="40000"/>
              </a:spcBef>
              <a:spcAft>
                <a:spcPct val="0"/>
              </a:spcAft>
              <a:buClr>
                <a:schemeClr val="tx1"/>
              </a:buClr>
              <a:buSzPct val="100000"/>
              <a:buFont typeface="Verdana" pitchFamily="34" charset="0"/>
              <a:buChar char="•"/>
              <a:defRPr lang="en-US" altLang="zh-CN" sz="2200" kern="1200" noProof="1" dirty="0">
                <a:solidFill>
                  <a:schemeClr val="tx1"/>
                </a:solidFill>
                <a:latin typeface="+mn-lt"/>
                <a:ea typeface="+mn-ea"/>
                <a:cs typeface="+mn-cs"/>
              </a:defRPr>
            </a:lvl1pPr>
          </a:lstStyle>
          <a:p>
            <a:pPr lvl="0"/>
            <a:r>
              <a:rPr lang="en-US" altLang="zh-CN" noProof="1"/>
              <a:t>Click icon to add picture</a:t>
            </a:r>
          </a:p>
        </p:txBody>
      </p:sp>
      <p:sp>
        <p:nvSpPr>
          <p:cNvPr id="6" name="Rectangle 8"/>
          <p:cNvSpPr>
            <a:spLocks noGrp="1" noChangeArrowheads="1"/>
          </p:cNvSpPr>
          <p:nvPr>
            <p:ph type="sldNum" sz="quarter" idx="14"/>
          </p:nvPr>
        </p:nvSpPr>
        <p:spPr/>
        <p:txBody>
          <a:bodyPr/>
          <a:lstStyle>
            <a:lvl1pPr fontAlgn="base">
              <a:spcBef>
                <a:spcPct val="0"/>
              </a:spcBef>
              <a:spcAft>
                <a:spcPct val="0"/>
              </a:spcAft>
              <a:defRPr>
                <a:ea typeface="ＭＳ Ｐゴシック" pitchFamily="34" charset="-128"/>
              </a:defRPr>
            </a:lvl1pPr>
          </a:lstStyle>
          <a:p>
            <a:pPr>
              <a:defRPr/>
            </a:pPr>
            <a:fld id="{2457ECD8-17C3-43D2-B395-5381F389E974}" type="slidenum">
              <a:rPr lang="en-US"/>
              <a:pPr>
                <a:defRPr/>
              </a:pPr>
              <a:t>‹#›</a:t>
            </a:fld>
            <a:endParaRPr lang="en-US"/>
          </a:p>
        </p:txBody>
      </p:sp>
    </p:spTree>
    <p:extLst>
      <p:ext uri="{BB962C8B-B14F-4D97-AF65-F5344CB8AC3E}">
        <p14:creationId xmlns:p14="http://schemas.microsoft.com/office/powerpoint/2010/main" val="203925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p:nvPr>
        </p:nvSpPr>
        <p:spPr>
          <a:xfrm>
            <a:off x="35358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pPr lvl="0"/>
            <a:r>
              <a:rPr lang="en-US" noProof="0"/>
              <a:t>Click icon to add picture</a:t>
            </a:r>
            <a:endParaRPr lang="en-US" noProof="0" dirty="0"/>
          </a:p>
        </p:txBody>
      </p:sp>
      <p:sp>
        <p:nvSpPr>
          <p:cNvPr id="5" name="Rectangle 8"/>
          <p:cNvSpPr>
            <a:spLocks noGrp="1" noChangeArrowheads="1"/>
          </p:cNvSpPr>
          <p:nvPr>
            <p:ph type="sldNum" sz="quarter" idx="13"/>
          </p:nvPr>
        </p:nvSpPr>
        <p:spPr/>
        <p:txBody>
          <a:bodyPr/>
          <a:lstStyle>
            <a:lvl1pPr fontAlgn="base">
              <a:spcBef>
                <a:spcPct val="0"/>
              </a:spcBef>
              <a:spcAft>
                <a:spcPct val="0"/>
              </a:spcAft>
              <a:defRPr>
                <a:ea typeface="ＭＳ Ｐゴシック" pitchFamily="34" charset="-128"/>
              </a:defRPr>
            </a:lvl1pPr>
          </a:lstStyle>
          <a:p>
            <a:pPr>
              <a:defRPr/>
            </a:pPr>
            <a:fld id="{C221E6AE-6D8D-463F-8CE5-E4BEE4EE361F}" type="slidenum">
              <a:rPr lang="en-US"/>
              <a:pPr>
                <a:defRPr/>
              </a:pPr>
              <a:t>‹#›</a:t>
            </a:fld>
            <a:endParaRPr lang="en-US"/>
          </a:p>
        </p:txBody>
      </p:sp>
    </p:spTree>
    <p:extLst>
      <p:ext uri="{BB962C8B-B14F-4D97-AF65-F5344CB8AC3E}">
        <p14:creationId xmlns:p14="http://schemas.microsoft.com/office/powerpoint/2010/main" val="339546048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Table Placeholder 3"/>
          <p:cNvSpPr>
            <a:spLocks noGrp="1"/>
          </p:cNvSpPr>
          <p:nvPr>
            <p:ph type="tbl" sz="quarter" idx="10"/>
          </p:nvPr>
        </p:nvSpPr>
        <p:spPr>
          <a:xfrm>
            <a:off x="352605" y="1306077"/>
            <a:ext cx="8438797" cy="5096770"/>
          </a:xfrm>
          <a:prstGeom prst="rect">
            <a:avLst/>
          </a:prstGeom>
        </p:spPr>
        <p:txBody>
          <a:bodyPr>
            <a:normAutofit/>
          </a:bodyPr>
          <a:lstStyle>
            <a:lvl1pPr>
              <a:defRPr lang="en-US" altLang="zh-CN" sz="2200" kern="1200" baseline="0" noProof="1" dirty="0" smtClean="0">
                <a:solidFill>
                  <a:schemeClr val="tx1"/>
                </a:solidFill>
                <a:latin typeface="+mn-lt"/>
                <a:ea typeface="+mn-ea"/>
                <a:cs typeface="+mn-cs"/>
              </a:defRPr>
            </a:lvl1pPr>
          </a:lstStyle>
          <a:p>
            <a:pPr lvl="0"/>
            <a:r>
              <a:rPr lang="en-US" altLang="zh-CN" noProof="1"/>
              <a:t>Click icon to add table</a:t>
            </a:r>
          </a:p>
        </p:txBody>
      </p:sp>
      <p:sp>
        <p:nvSpPr>
          <p:cNvPr id="5" name="Rectangle 8"/>
          <p:cNvSpPr>
            <a:spLocks noGrp="1" noChangeArrowheads="1"/>
          </p:cNvSpPr>
          <p:nvPr>
            <p:ph type="sldNum" sz="quarter" idx="11"/>
          </p:nvPr>
        </p:nvSpPr>
        <p:spPr/>
        <p:txBody>
          <a:bodyPr/>
          <a:lstStyle>
            <a:lvl1pPr fontAlgn="base">
              <a:spcBef>
                <a:spcPct val="0"/>
              </a:spcBef>
              <a:spcAft>
                <a:spcPct val="0"/>
              </a:spcAft>
              <a:defRPr>
                <a:ea typeface="ＭＳ Ｐゴシック" pitchFamily="34" charset="-128"/>
              </a:defRPr>
            </a:lvl1pPr>
          </a:lstStyle>
          <a:p>
            <a:pPr>
              <a:defRPr/>
            </a:pPr>
            <a:fld id="{9A9CD353-6A9A-40EE-8B82-D9EDADD4CED6}" type="slidenum">
              <a:rPr lang="en-US"/>
              <a:pPr>
                <a:defRPr/>
              </a:pPr>
              <a:t>‹#›</a:t>
            </a:fld>
            <a:endParaRPr lang="en-US"/>
          </a:p>
        </p:txBody>
      </p:sp>
    </p:spTree>
    <p:extLst>
      <p:ext uri="{BB962C8B-B14F-4D97-AF65-F5344CB8AC3E}">
        <p14:creationId xmlns:p14="http://schemas.microsoft.com/office/powerpoint/2010/main" val="12359237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Half Page Chart and Table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p:nvPr>
        </p:nvSpPr>
        <p:spPr>
          <a:xfrm>
            <a:off x="35358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pPr lvl="0"/>
            <a:r>
              <a:rPr lang="en-US" noProof="0"/>
              <a:t>Click icon to add picture</a:t>
            </a:r>
            <a:endParaRPr lang="en-US" noProof="0" dirty="0"/>
          </a:p>
        </p:txBody>
      </p:sp>
      <p:sp>
        <p:nvSpPr>
          <p:cNvPr id="6" name="Table Placeholder 5"/>
          <p:cNvSpPr>
            <a:spLocks noGrp="1"/>
          </p:cNvSpPr>
          <p:nvPr>
            <p:ph type="tbl" sz="quarter" idx="13"/>
          </p:nvPr>
        </p:nvSpPr>
        <p:spPr>
          <a:xfrm>
            <a:off x="4740141" y="1292913"/>
            <a:ext cx="4004562" cy="5096770"/>
          </a:xfrm>
          <a:prstGeom prst="rect">
            <a:avLst/>
          </a:prstGeom>
        </p:spPr>
        <p:txBody>
          <a:bodyPr>
            <a:normAutofit/>
          </a:bodyPr>
          <a:lstStyle>
            <a:lvl1pPr marL="252922" indent="-252922" algn="l" defTabSz="914068" rtl="0" eaLnBrk="1" fontAlgn="base" latinLnBrk="0" hangingPunct="1">
              <a:spcBef>
                <a:spcPct val="40000"/>
              </a:spcBef>
              <a:spcAft>
                <a:spcPct val="0"/>
              </a:spcAft>
              <a:buClr>
                <a:schemeClr val="tx1"/>
              </a:buClr>
              <a:buSzPct val="100000"/>
              <a:buFont typeface="Verdana" pitchFamily="34" charset="0"/>
              <a:buChar char="•"/>
              <a:defRPr lang="en-US" altLang="zh-CN" sz="2200" kern="1200" noProof="1" dirty="0" smtClean="0">
                <a:solidFill>
                  <a:schemeClr val="tx1"/>
                </a:solidFill>
                <a:latin typeface="+mn-lt"/>
                <a:ea typeface="+mn-ea"/>
                <a:cs typeface="+mn-cs"/>
              </a:defRPr>
            </a:lvl1pPr>
          </a:lstStyle>
          <a:p>
            <a:pPr lvl="0"/>
            <a:r>
              <a:rPr lang="en-US" altLang="zh-CN" noProof="1"/>
              <a:t>Click icon to add table</a:t>
            </a:r>
          </a:p>
        </p:txBody>
      </p:sp>
      <p:sp>
        <p:nvSpPr>
          <p:cNvPr id="5" name="Rectangle 8"/>
          <p:cNvSpPr>
            <a:spLocks noGrp="1" noChangeArrowheads="1"/>
          </p:cNvSpPr>
          <p:nvPr>
            <p:ph type="sldNum" sz="quarter" idx="14"/>
          </p:nvPr>
        </p:nvSpPr>
        <p:spPr/>
        <p:txBody>
          <a:bodyPr/>
          <a:lstStyle>
            <a:lvl1pPr fontAlgn="base">
              <a:spcBef>
                <a:spcPct val="0"/>
              </a:spcBef>
              <a:spcAft>
                <a:spcPct val="0"/>
              </a:spcAft>
              <a:defRPr>
                <a:ea typeface="ＭＳ Ｐゴシック" pitchFamily="34" charset="-128"/>
              </a:defRPr>
            </a:lvl1pPr>
          </a:lstStyle>
          <a:p>
            <a:pPr>
              <a:defRPr/>
            </a:pPr>
            <a:fld id="{3A88D494-DA6E-40AB-90A9-B33C91DBA72F}" type="slidenum">
              <a:rPr lang="en-US"/>
              <a:pPr>
                <a:defRPr/>
              </a:pPr>
              <a:t>‹#›</a:t>
            </a:fld>
            <a:endParaRPr lang="en-US"/>
          </a:p>
        </p:txBody>
      </p:sp>
    </p:spTree>
    <p:extLst>
      <p:ext uri="{BB962C8B-B14F-4D97-AF65-F5344CB8AC3E}">
        <p14:creationId xmlns:p14="http://schemas.microsoft.com/office/powerpoint/2010/main" val="259072990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sp>
        <p:nvSpPr>
          <p:cNvPr id="6"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0"/>
          </p:nvPr>
        </p:nvSpPr>
        <p:spPr>
          <a:xfrm>
            <a:off x="2257207" y="2541733"/>
            <a:ext cx="4624916" cy="1147110"/>
          </a:xfrm>
        </p:spPr>
        <p:txBody>
          <a:bodyPr/>
          <a:lstStyle>
            <a:lvl1pPr>
              <a:lnSpc>
                <a:spcPct val="150000"/>
              </a:lnSpc>
              <a:defRPr sz="2000" baseline="0">
                <a:latin typeface="+mj-lt"/>
              </a:defRPr>
            </a:lvl1pPr>
          </a:lstStyle>
          <a:p>
            <a:pPr lvl="0"/>
            <a:r>
              <a:rPr lang="en-US"/>
              <a:t>Click to edit Master text styles</a:t>
            </a:r>
          </a:p>
          <a:p>
            <a:pPr lvl="1"/>
            <a:r>
              <a:rPr lang="en-US"/>
              <a:t>Second level</a:t>
            </a:r>
          </a:p>
          <a:p>
            <a:pPr lvl="2"/>
            <a:r>
              <a:rPr lang="en-US"/>
              <a:t>Third level</a:t>
            </a:r>
          </a:p>
        </p:txBody>
      </p:sp>
      <p:sp>
        <p:nvSpPr>
          <p:cNvPr id="4" name="Rectangle 8"/>
          <p:cNvSpPr>
            <a:spLocks noGrp="1" noChangeArrowheads="1"/>
          </p:cNvSpPr>
          <p:nvPr>
            <p:ph type="sldNum" sz="quarter" idx="11"/>
          </p:nvPr>
        </p:nvSpPr>
        <p:spPr/>
        <p:txBody>
          <a:bodyPr/>
          <a:lstStyle>
            <a:lvl1pPr fontAlgn="base">
              <a:spcBef>
                <a:spcPct val="0"/>
              </a:spcBef>
              <a:spcAft>
                <a:spcPct val="0"/>
              </a:spcAft>
              <a:defRPr>
                <a:ea typeface="ＭＳ Ｐゴシック" pitchFamily="34" charset="-128"/>
              </a:defRPr>
            </a:lvl1pPr>
          </a:lstStyle>
          <a:p>
            <a:pPr>
              <a:defRPr/>
            </a:pPr>
            <a:fld id="{F3C96220-BD06-4190-945D-D641D9270FF3}" type="slidenum">
              <a:rPr lang="en-US"/>
              <a:pPr>
                <a:defRPr/>
              </a:pPr>
              <a:t>‹#›</a:t>
            </a:fld>
            <a:endParaRPr lang="en-US"/>
          </a:p>
        </p:txBody>
      </p:sp>
    </p:spTree>
    <p:extLst>
      <p:ext uri="{BB962C8B-B14F-4D97-AF65-F5344CB8AC3E}">
        <p14:creationId xmlns:p14="http://schemas.microsoft.com/office/powerpoint/2010/main" val="32856256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3" name="Rectangle 8"/>
          <p:cNvSpPr>
            <a:spLocks noGrp="1" noChangeArrowheads="1"/>
          </p:cNvSpPr>
          <p:nvPr>
            <p:ph type="sldNum" sz="quarter" idx="10"/>
          </p:nvPr>
        </p:nvSpPr>
        <p:spPr/>
        <p:txBody>
          <a:bodyPr/>
          <a:lstStyle>
            <a:lvl1pPr fontAlgn="base">
              <a:spcBef>
                <a:spcPct val="0"/>
              </a:spcBef>
              <a:spcAft>
                <a:spcPct val="0"/>
              </a:spcAft>
              <a:defRPr>
                <a:ea typeface="ＭＳ Ｐゴシック" pitchFamily="34" charset="-128"/>
              </a:defRPr>
            </a:lvl1pPr>
          </a:lstStyle>
          <a:p>
            <a:pPr>
              <a:defRPr/>
            </a:pPr>
            <a:fld id="{A292116B-88B1-4111-A85C-AAADC8FC7D05}" type="slidenum">
              <a:rPr lang="en-US"/>
              <a:pPr>
                <a:defRPr/>
              </a:pPr>
              <a:t>‹#›</a:t>
            </a:fld>
            <a:endParaRPr lang="en-US"/>
          </a:p>
        </p:txBody>
      </p:sp>
    </p:spTree>
    <p:extLst>
      <p:ext uri="{BB962C8B-B14F-4D97-AF65-F5344CB8AC3E}">
        <p14:creationId xmlns:p14="http://schemas.microsoft.com/office/powerpoint/2010/main" val="288360482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4"/>
            <a:ext cx="8229600" cy="152259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Rectangle 8"/>
          <p:cNvSpPr>
            <a:spLocks noGrp="1" noChangeArrowheads="1"/>
          </p:cNvSpPr>
          <p:nvPr>
            <p:ph type="sldNum" sz="quarter" idx="10"/>
          </p:nvPr>
        </p:nvSpPr>
        <p:spPr/>
        <p:txBody>
          <a:bodyPr/>
          <a:lstStyle>
            <a:lvl1pPr fontAlgn="base">
              <a:spcBef>
                <a:spcPct val="0"/>
              </a:spcBef>
              <a:spcAft>
                <a:spcPct val="0"/>
              </a:spcAft>
              <a:defRPr>
                <a:ea typeface="ＭＳ Ｐゴシック" pitchFamily="34" charset="-128"/>
              </a:defRPr>
            </a:lvl1pPr>
          </a:lstStyle>
          <a:p>
            <a:pPr>
              <a:defRPr/>
            </a:pPr>
            <a:fld id="{EC0CEDF5-3399-4B96-BD53-2784ECC05011}" type="slidenum">
              <a:rPr lang="en-US"/>
              <a:pPr>
                <a:defRPr/>
              </a:pPr>
              <a:t>‹#›</a:t>
            </a:fld>
            <a:endParaRPr lang="en-US"/>
          </a:p>
        </p:txBody>
      </p:sp>
    </p:spTree>
    <p:extLst>
      <p:ext uri="{BB962C8B-B14F-4D97-AF65-F5344CB8AC3E}">
        <p14:creationId xmlns:p14="http://schemas.microsoft.com/office/powerpoint/2010/main" val="402911611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4"/>
            <a:ext cx="4038600" cy="1522597"/>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4648200" y="1600204"/>
            <a:ext cx="4038600" cy="1522597"/>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5" name="Rectangle 8"/>
          <p:cNvSpPr>
            <a:spLocks noGrp="1" noChangeArrowheads="1"/>
          </p:cNvSpPr>
          <p:nvPr>
            <p:ph type="sldNum" sz="quarter" idx="10"/>
          </p:nvPr>
        </p:nvSpPr>
        <p:spPr/>
        <p:txBody>
          <a:bodyPr/>
          <a:lstStyle>
            <a:lvl1pPr fontAlgn="base">
              <a:spcBef>
                <a:spcPct val="0"/>
              </a:spcBef>
              <a:spcAft>
                <a:spcPct val="0"/>
              </a:spcAft>
              <a:defRPr>
                <a:ea typeface="ＭＳ Ｐゴシック" pitchFamily="34" charset="-128"/>
              </a:defRPr>
            </a:lvl1pPr>
          </a:lstStyle>
          <a:p>
            <a:pPr>
              <a:defRPr/>
            </a:pPr>
            <a:fld id="{9C92FEBD-DBFE-4AED-893C-0CA640AF47BD}" type="slidenum">
              <a:rPr lang="en-US"/>
              <a:pPr>
                <a:defRPr/>
              </a:pPr>
              <a:t>‹#›</a:t>
            </a:fld>
            <a:endParaRPr lang="en-US"/>
          </a:p>
        </p:txBody>
      </p:sp>
    </p:spTree>
    <p:extLst>
      <p:ext uri="{BB962C8B-B14F-4D97-AF65-F5344CB8AC3E}">
        <p14:creationId xmlns:p14="http://schemas.microsoft.com/office/powerpoint/2010/main" val="20277752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itle 1"/>
          <p:cNvSpPr txBox="1">
            <a:spLocks/>
          </p:cNvSpPr>
          <p:nvPr/>
        </p:nvSpPr>
        <p:spPr bwMode="white">
          <a:xfrm>
            <a:off x="280988" y="76200"/>
            <a:ext cx="8834437"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200" b="1" i="1">
                <a:solidFill>
                  <a:schemeClr val="tx1"/>
                </a:solidFill>
                <a:latin typeface="Arial" pitchFamily="34" charset="0"/>
                <a:ea typeface="ＭＳ Ｐゴシック" pitchFamily="34" charset="-128"/>
              </a:defRPr>
            </a:lvl1pPr>
            <a:lvl2pPr marL="742950" indent="-285750" eaLnBrk="0" hangingPunct="0">
              <a:defRPr sz="1200" b="1" i="1">
                <a:solidFill>
                  <a:schemeClr val="tx1"/>
                </a:solidFill>
                <a:latin typeface="Arial" pitchFamily="34" charset="0"/>
                <a:ea typeface="ＭＳ Ｐゴシック" pitchFamily="34" charset="-128"/>
              </a:defRPr>
            </a:lvl2pPr>
            <a:lvl3pPr marL="1143000" indent="-228600" eaLnBrk="0" hangingPunct="0">
              <a:defRPr sz="1200" b="1" i="1">
                <a:solidFill>
                  <a:schemeClr val="tx1"/>
                </a:solidFill>
                <a:latin typeface="Arial" pitchFamily="34" charset="0"/>
                <a:ea typeface="ＭＳ Ｐゴシック" pitchFamily="34" charset="-128"/>
              </a:defRPr>
            </a:lvl3pPr>
            <a:lvl4pPr marL="1600200" indent="-228600" eaLnBrk="0" hangingPunct="0">
              <a:defRPr sz="1200" b="1" i="1">
                <a:solidFill>
                  <a:schemeClr val="tx1"/>
                </a:solidFill>
                <a:latin typeface="Arial" pitchFamily="34" charset="0"/>
                <a:ea typeface="ＭＳ Ｐゴシック" pitchFamily="34" charset="-128"/>
              </a:defRPr>
            </a:lvl4pPr>
            <a:lvl5pPr marL="2057400" indent="-228600" eaLnBrk="0" hangingPunct="0">
              <a:defRPr sz="1200" b="1" i="1">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200" b="1" i="1">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200" b="1" i="1">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200" b="1" i="1">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200" b="1" i="1">
                <a:solidFill>
                  <a:schemeClr val="tx1"/>
                </a:solidFill>
                <a:latin typeface="Arial" pitchFamily="34" charset="0"/>
                <a:ea typeface="ＭＳ Ｐゴシック" pitchFamily="34" charset="-128"/>
              </a:defRPr>
            </a:lvl9pPr>
          </a:lstStyle>
          <a:p>
            <a:pPr>
              <a:defRPr/>
            </a:pPr>
            <a:r>
              <a:rPr lang="en-US" sz="1700" b="0" i="0">
                <a:solidFill>
                  <a:srgbClr val="FFFFFF"/>
                </a:solidFill>
                <a:latin typeface="Verdana" pitchFamily="34" charset="0"/>
              </a:rPr>
              <a:t>Click to edit Master title style</a:t>
            </a:r>
          </a:p>
        </p:txBody>
      </p:sp>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1219204"/>
            <a:ext cx="5486400" cy="58695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fr-FR" noProof="0"/>
          </a:p>
        </p:txBody>
      </p:sp>
      <p:sp>
        <p:nvSpPr>
          <p:cNvPr id="4" name="Text Placeholder 3"/>
          <p:cNvSpPr>
            <a:spLocks noGrp="1"/>
          </p:cNvSpPr>
          <p:nvPr>
            <p:ph type="body" sz="half" idx="2"/>
          </p:nvPr>
        </p:nvSpPr>
        <p:spPr>
          <a:xfrm>
            <a:off x="1792288" y="5367338"/>
            <a:ext cx="5486400" cy="30995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Rectangle 8"/>
          <p:cNvSpPr>
            <a:spLocks noGrp="1" noChangeArrowheads="1"/>
          </p:cNvSpPr>
          <p:nvPr>
            <p:ph type="sldNum" sz="quarter" idx="10"/>
          </p:nvPr>
        </p:nvSpPr>
        <p:spPr/>
        <p:txBody>
          <a:bodyPr/>
          <a:lstStyle>
            <a:lvl1pPr fontAlgn="base">
              <a:spcBef>
                <a:spcPct val="0"/>
              </a:spcBef>
              <a:spcAft>
                <a:spcPct val="0"/>
              </a:spcAft>
              <a:defRPr>
                <a:ea typeface="ＭＳ Ｐゴシック" pitchFamily="34" charset="-128"/>
              </a:defRPr>
            </a:lvl1pPr>
          </a:lstStyle>
          <a:p>
            <a:pPr>
              <a:defRPr/>
            </a:pPr>
            <a:fld id="{81D21BF3-4FDD-46DC-B810-EC12FF81D7C7}" type="slidenum">
              <a:rPr lang="en-US"/>
              <a:pPr>
                <a:defRPr/>
              </a:pPr>
              <a:t>‹#›</a:t>
            </a:fld>
            <a:endParaRPr lang="en-US"/>
          </a:p>
        </p:txBody>
      </p:sp>
    </p:spTree>
    <p:extLst>
      <p:ext uri="{BB962C8B-B14F-4D97-AF65-F5344CB8AC3E}">
        <p14:creationId xmlns:p14="http://schemas.microsoft.com/office/powerpoint/2010/main" val="39361711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fontAlgn="base">
              <a:spcBef>
                <a:spcPct val="0"/>
              </a:spcBef>
              <a:spcAft>
                <a:spcPct val="0"/>
              </a:spcAft>
              <a:defRPr>
                <a:ea typeface="ＭＳ Ｐゴシック" pitchFamily="34" charset="-128"/>
              </a:defRPr>
            </a:lvl1pPr>
          </a:lstStyle>
          <a:p>
            <a:pPr>
              <a:defRPr/>
            </a:pPr>
            <a:fld id="{D41B8FD5-6C77-4262-B527-90ADCF7C4049}" type="slidenum">
              <a:rPr lang="en-US"/>
              <a:pPr>
                <a:defRPr/>
              </a:pPr>
              <a:t>‹#›</a:t>
            </a:fld>
            <a:endParaRPr lang="en-US"/>
          </a:p>
        </p:txBody>
      </p:sp>
    </p:spTree>
    <p:extLst>
      <p:ext uri="{BB962C8B-B14F-4D97-AF65-F5344CB8AC3E}">
        <p14:creationId xmlns:p14="http://schemas.microsoft.com/office/powerpoint/2010/main" val="1826468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1"/>
          </p:nvPr>
        </p:nvSpPr>
        <p:spPr>
          <a:ln/>
        </p:spPr>
        <p:txBody>
          <a:bodyPr/>
          <a:lstStyle>
            <a:lvl1pPr>
              <a:defRPr/>
            </a:lvl1pPr>
          </a:lstStyle>
          <a:p>
            <a:pPr>
              <a:defRPr/>
            </a:pPr>
            <a:fld id="{D1475B93-9E10-4BAD-8DDD-7FCEEDF5E3D1}" type="slidenum">
              <a:rPr lang="en-US"/>
              <a:pPr>
                <a:defRPr/>
              </a:pPr>
              <a:t>‹#›</a:t>
            </a:fld>
            <a:endParaRPr lang="en-US"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9144000" cy="914400"/>
          </a:xfrm>
          <a:prstGeom prst="rect">
            <a:avLst/>
          </a:prstGeom>
          <a:solidFill>
            <a:srgbClr val="003366"/>
          </a:solidFill>
          <a:ln w="9525">
            <a:noFill/>
            <a:miter lim="800000"/>
            <a:headEnd/>
            <a:tailEnd/>
          </a:ln>
          <a:effectLst/>
        </p:spPr>
        <p:txBody>
          <a:bodyPr anchor="ctr"/>
          <a:lstStyle/>
          <a:p>
            <a:pPr eaLnBrk="0" hangingPunct="0">
              <a:defRPr/>
            </a:pPr>
            <a:endParaRPr lang="en-US" sz="2400" dirty="0">
              <a:solidFill>
                <a:srgbClr val="000000"/>
              </a:solidFill>
            </a:endParaRPr>
          </a:p>
        </p:txBody>
      </p:sp>
      <p:sp>
        <p:nvSpPr>
          <p:cNvPr id="266242" name="Rectangle 2"/>
          <p:cNvSpPr>
            <a:spLocks noGrp="1" noChangeArrowheads="1"/>
          </p:cNvSpPr>
          <p:nvPr>
            <p:ph type="subTitle" idx="1"/>
          </p:nvPr>
        </p:nvSpPr>
        <p:spPr>
          <a:xfrm>
            <a:off x="1371600" y="3924300"/>
            <a:ext cx="6400800" cy="1752600"/>
          </a:xfrm>
        </p:spPr>
        <p:txBody>
          <a:bodyPr/>
          <a:lstStyle>
            <a:lvl1pPr marL="0" indent="0" algn="ctr">
              <a:buFontTx/>
              <a:buNone/>
              <a:defRPr sz="3200"/>
            </a:lvl1pPr>
          </a:lstStyle>
          <a:p>
            <a:r>
              <a:rPr lang="en-US"/>
              <a:t>Click to edit Master subtitle style</a:t>
            </a:r>
          </a:p>
        </p:txBody>
      </p:sp>
      <p:sp>
        <p:nvSpPr>
          <p:cNvPr id="266247" name="Rectangle 7"/>
          <p:cNvSpPr>
            <a:spLocks noGrp="1" noChangeArrowheads="1"/>
          </p:cNvSpPr>
          <p:nvPr>
            <p:ph type="ctrTitle" sz="quarter"/>
          </p:nvPr>
        </p:nvSpPr>
        <p:spPr bwMode="auto">
          <a:xfrm>
            <a:off x="685800" y="2130431"/>
            <a:ext cx="7772400" cy="1470025"/>
          </a:xfrm>
          <a:noFill/>
        </p:spPr>
        <p:txBody>
          <a:bodyPr/>
          <a:lstStyle>
            <a:lvl1pPr>
              <a:defRPr/>
            </a:lvl1pPr>
          </a:lstStyle>
          <a:p>
            <a:r>
              <a:rPr lang="en-US"/>
              <a:t>Click to edit Master title style</a:t>
            </a:r>
          </a:p>
        </p:txBody>
      </p:sp>
      <p:sp>
        <p:nvSpPr>
          <p:cNvPr id="6" name="Rectangle 3"/>
          <p:cNvSpPr>
            <a:spLocks noGrp="1" noChangeArrowheads="1"/>
          </p:cNvSpPr>
          <p:nvPr>
            <p:ph type="dt" sz="half" idx="10"/>
          </p:nvPr>
        </p:nvSpPr>
        <p:spPr/>
        <p:txBody>
          <a:bodyPr/>
          <a:lstStyle>
            <a:lvl1pPr>
              <a:defRPr/>
            </a:lvl1pPr>
          </a:lstStyle>
          <a:p>
            <a:pPr>
              <a:defRPr/>
            </a:pPr>
            <a:endParaRPr lang="en-US" dirty="0"/>
          </a:p>
        </p:txBody>
      </p:sp>
      <p:sp>
        <p:nvSpPr>
          <p:cNvPr id="7" name="Rectangle 4"/>
          <p:cNvSpPr>
            <a:spLocks noGrp="1" noChangeArrowheads="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8461719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a:pPr>
                <a:defRPr/>
              </a:pPr>
              <a:t>‹#›</a:t>
            </a:fld>
            <a:endParaRPr lang="en-US" dirty="0"/>
          </a:p>
        </p:txBody>
      </p:sp>
    </p:spTree>
    <p:extLst>
      <p:ext uri="{BB962C8B-B14F-4D97-AF65-F5344CB8AC3E}">
        <p14:creationId xmlns:p14="http://schemas.microsoft.com/office/powerpoint/2010/main" val="112216571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01614540-2354-4F8A-833F-FB027B8B0B55}" type="slidenum">
              <a:rPr lang="en-US"/>
              <a:pPr>
                <a:defRPr/>
              </a:pPr>
              <a:t>‹#›</a:t>
            </a:fld>
            <a:endParaRPr lang="en-US" dirty="0"/>
          </a:p>
        </p:txBody>
      </p:sp>
    </p:spTree>
    <p:extLst>
      <p:ext uri="{BB962C8B-B14F-4D97-AF65-F5344CB8AC3E}">
        <p14:creationId xmlns:p14="http://schemas.microsoft.com/office/powerpoint/2010/main" val="808294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181104"/>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81104"/>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a:pPr>
                <a:defRPr/>
              </a:pPr>
              <a:t>‹#›</a:t>
            </a:fld>
            <a:endParaRPr lang="en-US" dirty="0"/>
          </a:p>
        </p:txBody>
      </p:sp>
    </p:spTree>
    <p:extLst>
      <p:ext uri="{BB962C8B-B14F-4D97-AF65-F5344CB8AC3E}">
        <p14:creationId xmlns:p14="http://schemas.microsoft.com/office/powerpoint/2010/main" val="3187403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8936C8BC-220E-4058-B98F-BAF889EFF269}" type="slidenum">
              <a:rPr lang="en-US"/>
              <a:pPr>
                <a:defRPr/>
              </a:pPr>
              <a:t>‹#›</a:t>
            </a:fld>
            <a:endParaRPr lang="en-US" dirty="0"/>
          </a:p>
        </p:txBody>
      </p:sp>
    </p:spTree>
    <p:extLst>
      <p:ext uri="{BB962C8B-B14F-4D97-AF65-F5344CB8AC3E}">
        <p14:creationId xmlns:p14="http://schemas.microsoft.com/office/powerpoint/2010/main" val="23068206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a:pPr>
                <a:defRPr/>
              </a:pPr>
              <a:t>‹#›</a:t>
            </a:fld>
            <a:endParaRPr lang="en-US" dirty="0"/>
          </a:p>
        </p:txBody>
      </p:sp>
    </p:spTree>
    <p:extLst>
      <p:ext uri="{BB962C8B-B14F-4D97-AF65-F5344CB8AC3E}">
        <p14:creationId xmlns:p14="http://schemas.microsoft.com/office/powerpoint/2010/main" val="79166897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78312024-91F9-4B5C-A5CC-E66C8DAEC0A7}" type="slidenum">
              <a:rPr lang="en-US"/>
              <a:pPr>
                <a:defRPr/>
              </a:pPr>
              <a:t>‹#›</a:t>
            </a:fld>
            <a:endParaRPr lang="en-US" dirty="0"/>
          </a:p>
        </p:txBody>
      </p:sp>
    </p:spTree>
    <p:extLst>
      <p:ext uri="{BB962C8B-B14F-4D97-AF65-F5344CB8AC3E}">
        <p14:creationId xmlns:p14="http://schemas.microsoft.com/office/powerpoint/2010/main" val="114705451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5C63B84D-7167-43A9-893A-83C8B692CB41}" type="slidenum">
              <a:rPr lang="en-US"/>
              <a:pPr>
                <a:defRPr/>
              </a:pPr>
              <a:t>‹#›</a:t>
            </a:fld>
            <a:endParaRPr lang="en-US" dirty="0"/>
          </a:p>
        </p:txBody>
      </p:sp>
    </p:spTree>
    <p:extLst>
      <p:ext uri="{BB962C8B-B14F-4D97-AF65-F5344CB8AC3E}">
        <p14:creationId xmlns:p14="http://schemas.microsoft.com/office/powerpoint/2010/main" val="110412662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011D02BC-BB09-46E2-89ED-6CEC23C06751}" type="slidenum">
              <a:rPr lang="en-US"/>
              <a:pPr>
                <a:defRPr/>
              </a:pPr>
              <a:t>‹#›</a:t>
            </a:fld>
            <a:endParaRPr lang="en-US" dirty="0"/>
          </a:p>
        </p:txBody>
      </p:sp>
    </p:spTree>
    <p:extLst>
      <p:ext uri="{BB962C8B-B14F-4D97-AF65-F5344CB8AC3E}">
        <p14:creationId xmlns:p14="http://schemas.microsoft.com/office/powerpoint/2010/main" val="37393227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968780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Chart Placeholder 2"/>
          <p:cNvSpPr>
            <a:spLocks noGrp="1"/>
          </p:cNvSpPr>
          <p:nvPr>
            <p:ph type="chart" idx="1"/>
          </p:nvPr>
        </p:nvSpPr>
        <p:spPr>
          <a:xfrm>
            <a:off x="685800" y="1981200"/>
            <a:ext cx="7772400" cy="41148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A4C5D64F-F726-4222-9AA5-57F8F65F28B8}" type="slidenum">
              <a:rPr lang="en-US"/>
              <a:pPr>
                <a:defRPr/>
              </a:pPr>
              <a:t>‹#›</a:t>
            </a:fld>
            <a:endParaRPr lang="en-US"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86"/>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75517174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pPr>
              <a:defRPr/>
            </a:pPr>
            <a:fld id="{F291D4E0-2D86-4F76-B315-863102A7728A}" type="slidenum">
              <a:rPr lang="en-US">
                <a:solidFill>
                  <a:prstClr val="black"/>
                </a:solidFill>
              </a:rPr>
              <a:pPr>
                <a:defRPr/>
              </a:pPr>
              <a:t>‹#›</a:t>
            </a:fld>
            <a:endParaRPr lang="en-US" dirty="0">
              <a:solidFill>
                <a:prstClr val="black"/>
              </a:solidFill>
            </a:endParaRPr>
          </a:p>
        </p:txBody>
      </p:sp>
      <p:sp>
        <p:nvSpPr>
          <p:cNvPr id="5"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endParaRPr lang="en-US" dirty="0"/>
          </a:p>
        </p:txBody>
      </p:sp>
      <p:sp>
        <p:nvSpPr>
          <p:cNvPr id="7" name="Rectangle 6"/>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extLst>
      <p:ext uri="{BB962C8B-B14F-4D97-AF65-F5344CB8AC3E}">
        <p14:creationId xmlns:p14="http://schemas.microsoft.com/office/powerpoint/2010/main" val="8747726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9144000" cy="914400"/>
          </a:xfrm>
          <a:prstGeom prst="rect">
            <a:avLst/>
          </a:prstGeom>
          <a:solidFill>
            <a:srgbClr val="003366"/>
          </a:solidFill>
          <a:ln w="9525">
            <a:noFill/>
            <a:miter lim="800000"/>
            <a:headEnd/>
            <a:tailEnd/>
          </a:ln>
          <a:effectLst/>
        </p:spPr>
        <p:txBody>
          <a:bodyPr anchor="ctr"/>
          <a:lstStyle/>
          <a:p>
            <a:pPr eaLnBrk="0" hangingPunct="0">
              <a:defRPr/>
            </a:pPr>
            <a:endParaRPr lang="en-US" sz="2400" dirty="0">
              <a:solidFill>
                <a:srgbClr val="000000"/>
              </a:solidFill>
            </a:endParaRPr>
          </a:p>
        </p:txBody>
      </p:sp>
      <p:sp>
        <p:nvSpPr>
          <p:cNvPr id="266242" name="Rectangle 2"/>
          <p:cNvSpPr>
            <a:spLocks noGrp="1" noChangeArrowheads="1"/>
          </p:cNvSpPr>
          <p:nvPr>
            <p:ph type="subTitle" idx="1"/>
          </p:nvPr>
        </p:nvSpPr>
        <p:spPr>
          <a:xfrm>
            <a:off x="1371600" y="3924300"/>
            <a:ext cx="6400800" cy="1752600"/>
          </a:xfrm>
        </p:spPr>
        <p:txBody>
          <a:bodyPr/>
          <a:lstStyle>
            <a:lvl1pPr marL="0" indent="0" algn="ctr">
              <a:buFontTx/>
              <a:buNone/>
              <a:defRPr sz="3200"/>
            </a:lvl1pPr>
          </a:lstStyle>
          <a:p>
            <a:r>
              <a:rPr lang="en-US"/>
              <a:t>Click to edit Master subtitle style</a:t>
            </a:r>
          </a:p>
        </p:txBody>
      </p:sp>
      <p:sp>
        <p:nvSpPr>
          <p:cNvPr id="266247" name="Rectangle 7"/>
          <p:cNvSpPr>
            <a:spLocks noGrp="1" noChangeArrowheads="1"/>
          </p:cNvSpPr>
          <p:nvPr>
            <p:ph type="ctrTitle" sz="quarter"/>
          </p:nvPr>
        </p:nvSpPr>
        <p:spPr bwMode="auto">
          <a:xfrm>
            <a:off x="685800" y="2130425"/>
            <a:ext cx="7772400" cy="1470025"/>
          </a:xfrm>
          <a:noFill/>
        </p:spPr>
        <p:txBody>
          <a:bodyPr/>
          <a:lstStyle>
            <a:lvl1pPr>
              <a:defRPr/>
            </a:lvl1pPr>
          </a:lstStyle>
          <a:p>
            <a:r>
              <a:rPr lang="en-US"/>
              <a:t>Click to edit Master title style</a:t>
            </a:r>
          </a:p>
        </p:txBody>
      </p:sp>
      <p:sp>
        <p:nvSpPr>
          <p:cNvPr id="6" name="Rectangle 3"/>
          <p:cNvSpPr>
            <a:spLocks noGrp="1" noChangeArrowheads="1"/>
          </p:cNvSpPr>
          <p:nvPr>
            <p:ph type="dt" sz="half" idx="10"/>
          </p:nvPr>
        </p:nvSpPr>
        <p:spPr/>
        <p:txBody>
          <a:bodyPr/>
          <a:lstStyle>
            <a:lvl1pPr>
              <a:defRPr/>
            </a:lvl1pPr>
          </a:lstStyle>
          <a:p>
            <a:pPr>
              <a:defRPr/>
            </a:pPr>
            <a:endParaRPr lang="en-US" dirty="0"/>
          </a:p>
        </p:txBody>
      </p:sp>
      <p:sp>
        <p:nvSpPr>
          <p:cNvPr id="7" name="Rectangle 4"/>
          <p:cNvSpPr>
            <a:spLocks noGrp="1" noChangeArrowheads="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44142041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a:pPr>
                <a:defRPr/>
              </a:pPr>
              <a:t>‹#›</a:t>
            </a:fld>
            <a:endParaRPr lang="en-US" dirty="0"/>
          </a:p>
        </p:txBody>
      </p:sp>
    </p:spTree>
    <p:extLst>
      <p:ext uri="{BB962C8B-B14F-4D97-AF65-F5344CB8AC3E}">
        <p14:creationId xmlns:p14="http://schemas.microsoft.com/office/powerpoint/2010/main" val="33386604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01614540-2354-4F8A-833F-FB027B8B0B55}" type="slidenum">
              <a:rPr lang="en-US"/>
              <a:pPr>
                <a:defRPr/>
              </a:pPr>
              <a:t>‹#›</a:t>
            </a:fld>
            <a:endParaRPr lang="en-US" dirty="0"/>
          </a:p>
        </p:txBody>
      </p:sp>
    </p:spTree>
    <p:extLst>
      <p:ext uri="{BB962C8B-B14F-4D97-AF65-F5344CB8AC3E}">
        <p14:creationId xmlns:p14="http://schemas.microsoft.com/office/powerpoint/2010/main" val="311750716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181100"/>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81100"/>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a:pPr>
                <a:defRPr/>
              </a:pPr>
              <a:t>‹#›</a:t>
            </a:fld>
            <a:endParaRPr lang="en-US" dirty="0"/>
          </a:p>
        </p:txBody>
      </p:sp>
    </p:spTree>
    <p:extLst>
      <p:ext uri="{BB962C8B-B14F-4D97-AF65-F5344CB8AC3E}">
        <p14:creationId xmlns:p14="http://schemas.microsoft.com/office/powerpoint/2010/main" val="20860927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8936C8BC-220E-4058-B98F-BAF889EFF269}" type="slidenum">
              <a:rPr lang="en-US"/>
              <a:pPr>
                <a:defRPr/>
              </a:pPr>
              <a:t>‹#›</a:t>
            </a:fld>
            <a:endParaRPr lang="en-US" dirty="0"/>
          </a:p>
        </p:txBody>
      </p:sp>
    </p:spTree>
    <p:extLst>
      <p:ext uri="{BB962C8B-B14F-4D97-AF65-F5344CB8AC3E}">
        <p14:creationId xmlns:p14="http://schemas.microsoft.com/office/powerpoint/2010/main" val="38846274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a:pPr>
                <a:defRPr/>
              </a:pPr>
              <a:t>‹#›</a:t>
            </a:fld>
            <a:endParaRPr lang="en-US" dirty="0"/>
          </a:p>
        </p:txBody>
      </p:sp>
    </p:spTree>
    <p:extLst>
      <p:ext uri="{BB962C8B-B14F-4D97-AF65-F5344CB8AC3E}">
        <p14:creationId xmlns:p14="http://schemas.microsoft.com/office/powerpoint/2010/main" val="342046792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78312024-91F9-4B5C-A5CC-E66C8DAEC0A7}" type="slidenum">
              <a:rPr lang="en-US"/>
              <a:pPr>
                <a:defRPr/>
              </a:pPr>
              <a:t>‹#›</a:t>
            </a:fld>
            <a:endParaRPr lang="en-US" dirty="0"/>
          </a:p>
        </p:txBody>
      </p:sp>
    </p:spTree>
    <p:extLst>
      <p:ext uri="{BB962C8B-B14F-4D97-AF65-F5344CB8AC3E}">
        <p14:creationId xmlns:p14="http://schemas.microsoft.com/office/powerpoint/2010/main" val="376566711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5C63B84D-7167-43A9-893A-83C8B692CB41}" type="slidenum">
              <a:rPr lang="en-US"/>
              <a:pPr>
                <a:defRPr/>
              </a:pPr>
              <a:t>‹#›</a:t>
            </a:fld>
            <a:endParaRPr lang="en-US" dirty="0"/>
          </a:p>
        </p:txBody>
      </p:sp>
    </p:spTree>
    <p:extLst>
      <p:ext uri="{BB962C8B-B14F-4D97-AF65-F5344CB8AC3E}">
        <p14:creationId xmlns:p14="http://schemas.microsoft.com/office/powerpoint/2010/main" val="17425480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able Placeholder 2"/>
          <p:cNvSpPr>
            <a:spLocks noGrp="1"/>
          </p:cNvSpPr>
          <p:nvPr>
            <p:ph type="tbl" idx="1"/>
          </p:nvPr>
        </p:nvSpPr>
        <p:spPr>
          <a:xfrm>
            <a:off x="685800" y="1981200"/>
            <a:ext cx="7772400" cy="41148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0F47C16B-65B1-4058-B43B-FD919A743FD7}" type="slidenum">
              <a:rPr lang="en-US"/>
              <a:pPr>
                <a:defRPr/>
              </a:pPr>
              <a:t>‹#›</a:t>
            </a:fld>
            <a:endParaRPr lang="en-US"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011D02BC-BB09-46E2-89ED-6CEC23C06751}" type="slidenum">
              <a:rPr lang="en-US"/>
              <a:pPr>
                <a:defRPr/>
              </a:pPr>
              <a:t>‹#›</a:t>
            </a:fld>
            <a:endParaRPr lang="en-US" dirty="0"/>
          </a:p>
        </p:txBody>
      </p:sp>
    </p:spTree>
    <p:extLst>
      <p:ext uri="{BB962C8B-B14F-4D97-AF65-F5344CB8AC3E}">
        <p14:creationId xmlns:p14="http://schemas.microsoft.com/office/powerpoint/2010/main" val="418602710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1"/>
          </p:nvPr>
        </p:nvSpPr>
        <p:spPr>
          <a:ln/>
        </p:spPr>
        <p:txBody>
          <a:bodyPr/>
          <a:lstStyle>
            <a:lvl1pPr>
              <a:defRPr/>
            </a:lvl1pPr>
          </a:lstStyle>
          <a:p>
            <a:pPr>
              <a:defRPr/>
            </a:pPr>
            <a:fld id="{D1475B93-9E10-4BAD-8DDD-7FCEEDF5E3D1}" type="slidenum">
              <a:rPr lang="en-US"/>
              <a:pPr>
                <a:defRPr/>
              </a:pPr>
              <a:t>‹#›</a:t>
            </a:fld>
            <a:endParaRPr lang="en-US" dirty="0"/>
          </a:p>
        </p:txBody>
      </p:sp>
    </p:spTree>
    <p:extLst>
      <p:ext uri="{BB962C8B-B14F-4D97-AF65-F5344CB8AC3E}">
        <p14:creationId xmlns:p14="http://schemas.microsoft.com/office/powerpoint/2010/main" val="162602744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287297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86"/>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5887662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pPr>
              <a:defRPr/>
            </a:pPr>
            <a:fld id="{F291D4E0-2D86-4F76-B315-863102A7728A}" type="slidenum">
              <a:rPr lang="en-US">
                <a:solidFill>
                  <a:prstClr val="black"/>
                </a:solidFill>
              </a:rPr>
              <a:pPr>
                <a:defRPr/>
              </a:pPr>
              <a:t>‹#›</a:t>
            </a:fld>
            <a:endParaRPr lang="en-US" dirty="0">
              <a:solidFill>
                <a:prstClr val="black"/>
              </a:solidFill>
            </a:endParaRPr>
          </a:p>
        </p:txBody>
      </p:sp>
      <p:sp>
        <p:nvSpPr>
          <p:cNvPr id="5"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endParaRPr lang="en-US" dirty="0"/>
          </a:p>
        </p:txBody>
      </p:sp>
      <p:sp>
        <p:nvSpPr>
          <p:cNvPr id="7" name="Rectangle 6"/>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extLst>
      <p:ext uri="{BB962C8B-B14F-4D97-AF65-F5344CB8AC3E}">
        <p14:creationId xmlns:p14="http://schemas.microsoft.com/office/powerpoint/2010/main" val="38029641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37922" name="Rectangle 2"/>
          <p:cNvSpPr>
            <a:spLocks noGrp="1" noChangeArrowheads="1"/>
          </p:cNvSpPr>
          <p:nvPr>
            <p:ph type="subTitle" idx="1"/>
          </p:nvPr>
        </p:nvSpPr>
        <p:spPr>
          <a:xfrm>
            <a:off x="1371600" y="3924300"/>
            <a:ext cx="6400800" cy="1752600"/>
          </a:xfrm>
        </p:spPr>
        <p:txBody>
          <a:bodyPr/>
          <a:lstStyle>
            <a:lvl1pPr marL="0" indent="0" algn="ctr">
              <a:buFontTx/>
              <a:buNone/>
              <a:defRPr sz="3200"/>
            </a:lvl1pPr>
          </a:lstStyle>
          <a:p>
            <a:r>
              <a:rPr lang="en-US"/>
              <a:t>Click to edit Master subtitle style</a:t>
            </a:r>
          </a:p>
        </p:txBody>
      </p:sp>
      <p:sp>
        <p:nvSpPr>
          <p:cNvPr id="337923" name="Rectangle 3"/>
          <p:cNvSpPr>
            <a:spLocks noGrp="1" noChangeArrowheads="1"/>
          </p:cNvSpPr>
          <p:nvPr>
            <p:ph type="dt" sz="half" idx="2"/>
          </p:nvPr>
        </p:nvSpPr>
        <p:spPr/>
        <p:txBody>
          <a:bodyPr/>
          <a:lstStyle>
            <a:lvl1pPr>
              <a:defRPr/>
            </a:lvl1pPr>
          </a:lstStyle>
          <a:p>
            <a:endParaRPr lang="en-US" dirty="0">
              <a:solidFill>
                <a:srgbClr val="000000"/>
              </a:solidFill>
            </a:endParaRPr>
          </a:p>
        </p:txBody>
      </p:sp>
      <p:sp>
        <p:nvSpPr>
          <p:cNvPr id="337924" name="Rectangle 4"/>
          <p:cNvSpPr>
            <a:spLocks noGrp="1" noChangeArrowheads="1"/>
          </p:cNvSpPr>
          <p:nvPr>
            <p:ph type="ftr" sz="quarter" idx="3"/>
          </p:nvPr>
        </p:nvSpPr>
        <p:spPr/>
        <p:txBody>
          <a:bodyPr/>
          <a:lstStyle>
            <a:lvl1pPr>
              <a:defRPr/>
            </a:lvl1pPr>
          </a:lstStyle>
          <a:p>
            <a:endParaRPr lang="en-US" dirty="0">
              <a:solidFill>
                <a:srgbClr val="000000"/>
              </a:solidFill>
            </a:endParaRPr>
          </a:p>
        </p:txBody>
      </p:sp>
      <p:sp>
        <p:nvSpPr>
          <p:cNvPr id="337925" name="Rectangle 5"/>
          <p:cNvSpPr>
            <a:spLocks noChangeArrowheads="1"/>
          </p:cNvSpPr>
          <p:nvPr/>
        </p:nvSpPr>
        <p:spPr bwMode="gray">
          <a:xfrm>
            <a:off x="0" y="0"/>
            <a:ext cx="9144000" cy="914400"/>
          </a:xfrm>
          <a:prstGeom prst="rect">
            <a:avLst/>
          </a:prstGeom>
          <a:solidFill>
            <a:srgbClr val="003366"/>
          </a:solidFill>
          <a:ln w="9525">
            <a:noFill/>
            <a:miter lim="800000"/>
            <a:headEnd/>
            <a:tailEnd/>
          </a:ln>
          <a:effectLst/>
        </p:spPr>
        <p:txBody>
          <a:bodyPr lIns="91376" tIns="45688" rIns="91376" bIns="45688" anchor="ctr"/>
          <a:lstStyle/>
          <a:p>
            <a:pPr defTabSz="913758"/>
            <a:endParaRPr lang="en-US" sz="1800" dirty="0">
              <a:solidFill>
                <a:srgbClr val="000000"/>
              </a:solidFill>
            </a:endParaRPr>
          </a:p>
        </p:txBody>
      </p:sp>
      <p:sp>
        <p:nvSpPr>
          <p:cNvPr id="337927" name="Rectangle 7"/>
          <p:cNvSpPr>
            <a:spLocks noGrp="1" noChangeArrowheads="1"/>
          </p:cNvSpPr>
          <p:nvPr>
            <p:ph type="ctrTitle" sz="quarter"/>
          </p:nvPr>
        </p:nvSpPr>
        <p:spPr bwMode="auto">
          <a:xfrm>
            <a:off x="685800" y="2130425"/>
            <a:ext cx="7772400" cy="1470025"/>
          </a:xfrm>
          <a:noFill/>
          <a:ln/>
        </p:spPr>
        <p:txBody>
          <a:bodyPr/>
          <a:lstStyle>
            <a:lvl1pPr>
              <a:defRPr/>
            </a:lvl1pPr>
          </a:lstStyle>
          <a:p>
            <a:r>
              <a:rPr lang="en-US"/>
              <a:t>Click to edit Master title style</a:t>
            </a:r>
          </a:p>
        </p:txBody>
      </p:sp>
    </p:spTree>
    <p:extLst>
      <p:ext uri="{BB962C8B-B14F-4D97-AF65-F5344CB8AC3E}">
        <p14:creationId xmlns:p14="http://schemas.microsoft.com/office/powerpoint/2010/main" val="18477158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A07028FC-44F7-4E7E-9E5C-658D655D033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4061219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6880" indent="0">
              <a:buNone/>
              <a:defRPr sz="1800"/>
            </a:lvl2pPr>
            <a:lvl3pPr marL="913758" indent="0">
              <a:buNone/>
              <a:defRPr sz="1600"/>
            </a:lvl3pPr>
            <a:lvl4pPr marL="1370639" indent="0">
              <a:buNone/>
              <a:defRPr sz="1400"/>
            </a:lvl4pPr>
            <a:lvl5pPr marL="1827517" indent="0">
              <a:buNone/>
              <a:defRPr sz="1400"/>
            </a:lvl5pPr>
            <a:lvl6pPr marL="2284398" indent="0">
              <a:buNone/>
              <a:defRPr sz="1400"/>
            </a:lvl6pPr>
            <a:lvl7pPr marL="2741275" indent="0">
              <a:buNone/>
              <a:defRPr sz="1400"/>
            </a:lvl7pPr>
            <a:lvl8pPr marL="3198156" indent="0">
              <a:buNone/>
              <a:defRPr sz="1400"/>
            </a:lvl8pPr>
            <a:lvl9pPr marL="3655033"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5DF1C58-3273-41DE-A37C-15966C597392}"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397639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181106"/>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181106"/>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F7D85FF7-A67F-40A6-B474-000680F4436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5336681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6880" indent="0">
              <a:buNone/>
              <a:defRPr sz="2000" b="1"/>
            </a:lvl2pPr>
            <a:lvl3pPr marL="913758" indent="0">
              <a:buNone/>
              <a:defRPr sz="1800" b="1"/>
            </a:lvl3pPr>
            <a:lvl4pPr marL="1370639" indent="0">
              <a:buNone/>
              <a:defRPr sz="1600" b="1"/>
            </a:lvl4pPr>
            <a:lvl5pPr marL="1827517" indent="0">
              <a:buNone/>
              <a:defRPr sz="1600" b="1"/>
            </a:lvl5pPr>
            <a:lvl6pPr marL="2284398" indent="0">
              <a:buNone/>
              <a:defRPr sz="1600" b="1"/>
            </a:lvl6pPr>
            <a:lvl7pPr marL="2741275" indent="0">
              <a:buNone/>
              <a:defRPr sz="1600" b="1"/>
            </a:lvl7pPr>
            <a:lvl8pPr marL="3198156" indent="0">
              <a:buNone/>
              <a:defRPr sz="1600" b="1"/>
            </a:lvl8pPr>
            <a:lvl9pPr marL="3655033"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31" y="1535113"/>
            <a:ext cx="4041775" cy="639762"/>
          </a:xfrm>
        </p:spPr>
        <p:txBody>
          <a:bodyPr anchor="b"/>
          <a:lstStyle>
            <a:lvl1pPr marL="0" indent="0">
              <a:buNone/>
              <a:defRPr sz="2400" b="1"/>
            </a:lvl1pPr>
            <a:lvl2pPr marL="456880" indent="0">
              <a:buNone/>
              <a:defRPr sz="2000" b="1"/>
            </a:lvl2pPr>
            <a:lvl3pPr marL="913758" indent="0">
              <a:buNone/>
              <a:defRPr sz="1800" b="1"/>
            </a:lvl3pPr>
            <a:lvl4pPr marL="1370639" indent="0">
              <a:buNone/>
              <a:defRPr sz="1600" b="1"/>
            </a:lvl4pPr>
            <a:lvl5pPr marL="1827517" indent="0">
              <a:buNone/>
              <a:defRPr sz="1600" b="1"/>
            </a:lvl5pPr>
            <a:lvl6pPr marL="2284398" indent="0">
              <a:buNone/>
              <a:defRPr sz="1600" b="1"/>
            </a:lvl6pPr>
            <a:lvl7pPr marL="2741275" indent="0">
              <a:buNone/>
              <a:defRPr sz="1600" b="1"/>
            </a:lvl7pPr>
            <a:lvl8pPr marL="3198156" indent="0">
              <a:buNone/>
              <a:defRPr sz="1600" b="1"/>
            </a:lvl8pPr>
            <a:lvl9pPr marL="365503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lvl1pPr>
              <a:defRPr/>
            </a:lvl1pPr>
          </a:lstStyle>
          <a:p>
            <a:endParaRPr lang="en-US" dirty="0">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dirty="0">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444DDE38-D9CD-4585-BD25-7DBC7855FD89}"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592325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9144000" cy="914400"/>
          </a:xfrm>
          <a:prstGeom prst="rect">
            <a:avLst/>
          </a:prstGeom>
          <a:solidFill>
            <a:srgbClr val="003366"/>
          </a:solidFill>
          <a:ln w="9525">
            <a:noFill/>
            <a:miter lim="800000"/>
            <a:headEnd/>
            <a:tailEnd/>
          </a:ln>
          <a:effectLst/>
        </p:spPr>
        <p:txBody>
          <a:bodyPr anchor="ctr"/>
          <a:lstStyle/>
          <a:p>
            <a:pPr eaLnBrk="0" hangingPunct="0">
              <a:defRPr/>
            </a:pPr>
            <a:endParaRPr lang="en-US" sz="2400" dirty="0">
              <a:solidFill>
                <a:srgbClr val="000000"/>
              </a:solidFill>
            </a:endParaRPr>
          </a:p>
        </p:txBody>
      </p:sp>
      <p:pic>
        <p:nvPicPr>
          <p:cNvPr id="5" name="Picture 6" descr="Foundation-Logo-1"/>
          <p:cNvPicPr>
            <a:picLocks noChangeAspect="1" noChangeArrowheads="1"/>
          </p:cNvPicPr>
          <p:nvPr/>
        </p:nvPicPr>
        <p:blipFill>
          <a:blip r:embed="rId2" cstate="print"/>
          <a:srcRect/>
          <a:stretch>
            <a:fillRect/>
          </a:stretch>
        </p:blipFill>
        <p:spPr bwMode="auto">
          <a:xfrm>
            <a:off x="6886577" y="5435600"/>
            <a:ext cx="2257425" cy="1422400"/>
          </a:xfrm>
          <a:prstGeom prst="rect">
            <a:avLst/>
          </a:prstGeom>
          <a:noFill/>
          <a:ln w="9525">
            <a:noFill/>
            <a:miter lim="800000"/>
            <a:headEnd/>
            <a:tailEnd/>
          </a:ln>
        </p:spPr>
      </p:pic>
      <p:sp>
        <p:nvSpPr>
          <p:cNvPr id="266242" name="Rectangle 2"/>
          <p:cNvSpPr>
            <a:spLocks noGrp="1" noChangeArrowheads="1"/>
          </p:cNvSpPr>
          <p:nvPr>
            <p:ph type="subTitle" idx="1"/>
          </p:nvPr>
        </p:nvSpPr>
        <p:spPr>
          <a:xfrm>
            <a:off x="1371600" y="3924300"/>
            <a:ext cx="6400800" cy="1752600"/>
          </a:xfrm>
        </p:spPr>
        <p:txBody>
          <a:bodyPr/>
          <a:lstStyle>
            <a:lvl1pPr marL="0" indent="0" algn="ctr">
              <a:buFontTx/>
              <a:buNone/>
              <a:defRPr sz="3200"/>
            </a:lvl1pPr>
          </a:lstStyle>
          <a:p>
            <a:r>
              <a:rPr lang="en-US"/>
              <a:t>Click to edit Master subtitle style</a:t>
            </a:r>
          </a:p>
        </p:txBody>
      </p:sp>
      <p:sp>
        <p:nvSpPr>
          <p:cNvPr id="266247" name="Rectangle 7"/>
          <p:cNvSpPr>
            <a:spLocks noGrp="1" noChangeArrowheads="1"/>
          </p:cNvSpPr>
          <p:nvPr>
            <p:ph type="ctrTitle" sz="quarter"/>
          </p:nvPr>
        </p:nvSpPr>
        <p:spPr bwMode="auto">
          <a:xfrm>
            <a:off x="685800" y="2130433"/>
            <a:ext cx="7772400" cy="1470025"/>
          </a:xfrm>
          <a:noFill/>
        </p:spPr>
        <p:txBody>
          <a:bodyPr/>
          <a:lstStyle>
            <a:lvl1pPr>
              <a:defRPr/>
            </a:lvl1pPr>
          </a:lstStyle>
          <a:p>
            <a:r>
              <a:rPr lang="en-US"/>
              <a:t>Click to edit Master title style</a:t>
            </a:r>
          </a:p>
        </p:txBody>
      </p:sp>
      <p:sp>
        <p:nvSpPr>
          <p:cNvPr id="6" name="Rectangle 3"/>
          <p:cNvSpPr>
            <a:spLocks noGrp="1" noChangeArrowheads="1"/>
          </p:cNvSpPr>
          <p:nvPr>
            <p:ph type="dt" sz="half" idx="10"/>
          </p:nvPr>
        </p:nvSpPr>
        <p:spPr/>
        <p:txBody>
          <a:bodyPr/>
          <a:lstStyle>
            <a:lvl1pPr>
              <a:defRPr/>
            </a:lvl1pPr>
          </a:lstStyle>
          <a:p>
            <a:pPr>
              <a:defRPr/>
            </a:pPr>
            <a:endParaRPr lang="en-US" dirty="0"/>
          </a:p>
        </p:txBody>
      </p:sp>
      <p:sp>
        <p:nvSpPr>
          <p:cNvPr id="7" name="Rectangle 4"/>
          <p:cNvSpPr>
            <a:spLocks noGrp="1" noChangeArrowheads="1"/>
          </p:cNvSpPr>
          <p:nvPr>
            <p:ph type="ftr" sz="quarter" idx="11"/>
          </p:nvPr>
        </p:nvSpPr>
        <p:spPr/>
        <p:txBody>
          <a:bodyPr/>
          <a:lstStyle>
            <a:lvl1pPr>
              <a:defRPr/>
            </a:lvl1pPr>
          </a:lstStyle>
          <a:p>
            <a:pPr>
              <a:defRPr/>
            </a:pPr>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lvl1pPr>
              <a:defRPr/>
            </a:lvl1pPr>
          </a:lstStyle>
          <a:p>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dirty="0">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A17DFDFD-177D-4234-B869-C6F6311B79F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2076050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dirty="0">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BEC402C1-57FC-414B-9D06-AC51F260500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4407098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6880" indent="0">
              <a:buNone/>
              <a:defRPr sz="1200"/>
            </a:lvl2pPr>
            <a:lvl3pPr marL="913758" indent="0">
              <a:buNone/>
              <a:defRPr sz="1000"/>
            </a:lvl3pPr>
            <a:lvl4pPr marL="1370639" indent="0">
              <a:buNone/>
              <a:defRPr sz="900"/>
            </a:lvl4pPr>
            <a:lvl5pPr marL="1827517" indent="0">
              <a:buNone/>
              <a:defRPr sz="900"/>
            </a:lvl5pPr>
            <a:lvl6pPr marL="2284398" indent="0">
              <a:buNone/>
              <a:defRPr sz="900"/>
            </a:lvl6pPr>
            <a:lvl7pPr marL="2741275" indent="0">
              <a:buNone/>
              <a:defRPr sz="900"/>
            </a:lvl7pPr>
            <a:lvl8pPr marL="3198156" indent="0">
              <a:buNone/>
              <a:defRPr sz="900"/>
            </a:lvl8pPr>
            <a:lvl9pPr marL="365503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B8FF8F6-5CBE-46EC-852F-4EA5B68621AF}"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7609862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880" indent="0">
              <a:buNone/>
              <a:defRPr sz="2800"/>
            </a:lvl2pPr>
            <a:lvl3pPr marL="913758" indent="0">
              <a:buNone/>
              <a:defRPr sz="2400"/>
            </a:lvl3pPr>
            <a:lvl4pPr marL="1370639" indent="0">
              <a:buNone/>
              <a:defRPr sz="2000"/>
            </a:lvl4pPr>
            <a:lvl5pPr marL="1827517" indent="0">
              <a:buNone/>
              <a:defRPr sz="2000"/>
            </a:lvl5pPr>
            <a:lvl6pPr marL="2284398" indent="0">
              <a:buNone/>
              <a:defRPr sz="2000"/>
            </a:lvl6pPr>
            <a:lvl7pPr marL="2741275" indent="0">
              <a:buNone/>
              <a:defRPr sz="2000"/>
            </a:lvl7pPr>
            <a:lvl8pPr marL="3198156" indent="0">
              <a:buNone/>
              <a:defRPr sz="2000"/>
            </a:lvl8pPr>
            <a:lvl9pPr marL="3655033"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880" indent="0">
              <a:buNone/>
              <a:defRPr sz="1200"/>
            </a:lvl2pPr>
            <a:lvl3pPr marL="913758" indent="0">
              <a:buNone/>
              <a:defRPr sz="1000"/>
            </a:lvl3pPr>
            <a:lvl4pPr marL="1370639" indent="0">
              <a:buNone/>
              <a:defRPr sz="900"/>
            </a:lvl4pPr>
            <a:lvl5pPr marL="1827517" indent="0">
              <a:buNone/>
              <a:defRPr sz="900"/>
            </a:lvl5pPr>
            <a:lvl6pPr marL="2284398" indent="0">
              <a:buNone/>
              <a:defRPr sz="900"/>
            </a:lvl6pPr>
            <a:lvl7pPr marL="2741275" indent="0">
              <a:buNone/>
              <a:defRPr sz="900"/>
            </a:lvl7pPr>
            <a:lvl8pPr marL="3198156" indent="0">
              <a:buNone/>
              <a:defRPr sz="900"/>
            </a:lvl8pPr>
            <a:lvl9pPr marL="365503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5EDDD48A-8CD6-4E15-9F33-976EBF183A71}"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1533409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25EC61BC-70F5-4DC9-B36C-415BA22791C5}"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409997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6"/>
            <a:ext cx="2286000" cy="6126163"/>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0" y="6"/>
            <a:ext cx="670560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CF9531F1-0866-4BF0-9BD3-CC46D3BAFB2E}"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380483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903288"/>
          </a:xfrm>
        </p:spPr>
        <p:txBody>
          <a:bodyPr/>
          <a:lstStyle/>
          <a:p>
            <a:r>
              <a:rPr lang="en-US"/>
              <a:t>Click to edit Master title style</a:t>
            </a:r>
            <a:endParaRPr lang="en-IN"/>
          </a:p>
        </p:txBody>
      </p:sp>
      <p:sp>
        <p:nvSpPr>
          <p:cNvPr id="3" name="Chart Placeholder 2"/>
          <p:cNvSpPr>
            <a:spLocks noGrp="1"/>
          </p:cNvSpPr>
          <p:nvPr>
            <p:ph type="chart" idx="1"/>
          </p:nvPr>
        </p:nvSpPr>
        <p:spPr>
          <a:xfrm>
            <a:off x="457200" y="1181106"/>
            <a:ext cx="8229600" cy="4945063"/>
          </a:xfrm>
        </p:spPr>
        <p:txBody>
          <a:bodyPr/>
          <a:lstStyle/>
          <a:p>
            <a:endParaRPr lang="en-IN" dirty="0"/>
          </a:p>
        </p:txBody>
      </p:sp>
      <p:sp>
        <p:nvSpPr>
          <p:cNvPr id="4" name="Date Placeholder 3"/>
          <p:cNvSpPr>
            <a:spLocks noGrp="1"/>
          </p:cNvSpPr>
          <p:nvPr>
            <p:ph type="dt" sz="half" idx="10"/>
          </p:nvPr>
        </p:nvSpPr>
        <p:spPr>
          <a:xfrm>
            <a:off x="457200" y="6245225"/>
            <a:ext cx="2133600" cy="476250"/>
          </a:xfrm>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a:xfrm>
            <a:off x="3124200" y="6245225"/>
            <a:ext cx="2895600" cy="476250"/>
          </a:xfrm>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a:xfrm>
            <a:off x="6019800" y="6226175"/>
            <a:ext cx="2133600" cy="476250"/>
          </a:xfrm>
        </p:spPr>
        <p:txBody>
          <a:bodyPr/>
          <a:lstStyle>
            <a:lvl1pPr>
              <a:defRPr/>
            </a:lvl1pPr>
          </a:lstStyle>
          <a:p>
            <a:fld id="{CE5E7FD5-51DF-4E13-9CC8-A403771B86EC}"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4078470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37922" name="Rectangle 2"/>
          <p:cNvSpPr>
            <a:spLocks noGrp="1" noChangeArrowheads="1"/>
          </p:cNvSpPr>
          <p:nvPr>
            <p:ph type="subTitle" idx="1"/>
          </p:nvPr>
        </p:nvSpPr>
        <p:spPr>
          <a:xfrm>
            <a:off x="1371600" y="3924300"/>
            <a:ext cx="6400800" cy="1752600"/>
          </a:xfrm>
        </p:spPr>
        <p:txBody>
          <a:bodyPr/>
          <a:lstStyle>
            <a:lvl1pPr marL="0" indent="0" algn="ctr">
              <a:buFontTx/>
              <a:buNone/>
              <a:defRPr sz="3200"/>
            </a:lvl1pPr>
          </a:lstStyle>
          <a:p>
            <a:r>
              <a:rPr lang="en-US"/>
              <a:t>Click to edit Master subtitle style</a:t>
            </a:r>
          </a:p>
        </p:txBody>
      </p:sp>
      <p:sp>
        <p:nvSpPr>
          <p:cNvPr id="337923" name="Rectangle 3"/>
          <p:cNvSpPr>
            <a:spLocks noGrp="1" noChangeArrowheads="1"/>
          </p:cNvSpPr>
          <p:nvPr>
            <p:ph type="dt" sz="half" idx="2"/>
          </p:nvPr>
        </p:nvSpPr>
        <p:spPr/>
        <p:txBody>
          <a:bodyPr/>
          <a:lstStyle>
            <a:lvl1pPr>
              <a:defRPr/>
            </a:lvl1pPr>
          </a:lstStyle>
          <a:p>
            <a:endParaRPr lang="en-US" dirty="0">
              <a:solidFill>
                <a:srgbClr val="000000"/>
              </a:solidFill>
            </a:endParaRPr>
          </a:p>
        </p:txBody>
      </p:sp>
      <p:sp>
        <p:nvSpPr>
          <p:cNvPr id="337924" name="Rectangle 4"/>
          <p:cNvSpPr>
            <a:spLocks noGrp="1" noChangeArrowheads="1"/>
          </p:cNvSpPr>
          <p:nvPr>
            <p:ph type="ftr" sz="quarter" idx="3"/>
          </p:nvPr>
        </p:nvSpPr>
        <p:spPr/>
        <p:txBody>
          <a:bodyPr/>
          <a:lstStyle>
            <a:lvl1pPr>
              <a:defRPr/>
            </a:lvl1pPr>
          </a:lstStyle>
          <a:p>
            <a:endParaRPr lang="en-US" dirty="0">
              <a:solidFill>
                <a:srgbClr val="000000"/>
              </a:solidFill>
            </a:endParaRPr>
          </a:p>
        </p:txBody>
      </p:sp>
      <p:sp>
        <p:nvSpPr>
          <p:cNvPr id="337925" name="Rectangle 5"/>
          <p:cNvSpPr>
            <a:spLocks noChangeArrowheads="1"/>
          </p:cNvSpPr>
          <p:nvPr/>
        </p:nvSpPr>
        <p:spPr bwMode="gray">
          <a:xfrm>
            <a:off x="0" y="0"/>
            <a:ext cx="9144000" cy="914400"/>
          </a:xfrm>
          <a:prstGeom prst="rect">
            <a:avLst/>
          </a:prstGeom>
          <a:solidFill>
            <a:srgbClr val="003366"/>
          </a:solidFill>
          <a:ln w="9525">
            <a:noFill/>
            <a:miter lim="800000"/>
            <a:headEnd/>
            <a:tailEnd/>
          </a:ln>
          <a:effectLst/>
        </p:spPr>
        <p:txBody>
          <a:bodyPr lIns="91376" tIns="45688" rIns="91376" bIns="45688" anchor="ctr"/>
          <a:lstStyle/>
          <a:p>
            <a:pPr defTabSz="913758"/>
            <a:endParaRPr lang="en-US" sz="1800" dirty="0">
              <a:solidFill>
                <a:srgbClr val="000000"/>
              </a:solidFill>
            </a:endParaRPr>
          </a:p>
        </p:txBody>
      </p:sp>
      <p:sp>
        <p:nvSpPr>
          <p:cNvPr id="337927" name="Rectangle 7"/>
          <p:cNvSpPr>
            <a:spLocks noGrp="1" noChangeArrowheads="1"/>
          </p:cNvSpPr>
          <p:nvPr>
            <p:ph type="ctrTitle" sz="quarter"/>
          </p:nvPr>
        </p:nvSpPr>
        <p:spPr bwMode="auto">
          <a:xfrm>
            <a:off x="685800" y="2130425"/>
            <a:ext cx="7772400" cy="1470025"/>
          </a:xfrm>
          <a:noFill/>
          <a:ln/>
        </p:spPr>
        <p:txBody>
          <a:bodyPr/>
          <a:lstStyle>
            <a:lvl1pPr>
              <a:defRPr/>
            </a:lvl1pPr>
          </a:lstStyle>
          <a:p>
            <a:r>
              <a:rPr lang="en-US"/>
              <a:t>Click to edit Master title style</a:t>
            </a:r>
          </a:p>
        </p:txBody>
      </p:sp>
    </p:spTree>
    <p:extLst>
      <p:ext uri="{BB962C8B-B14F-4D97-AF65-F5344CB8AC3E}">
        <p14:creationId xmlns:p14="http://schemas.microsoft.com/office/powerpoint/2010/main" val="134124161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A07028FC-44F7-4E7E-9E5C-658D655D033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0881078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6880" indent="0">
              <a:buNone/>
              <a:defRPr sz="1800"/>
            </a:lvl2pPr>
            <a:lvl3pPr marL="913758" indent="0">
              <a:buNone/>
              <a:defRPr sz="1600"/>
            </a:lvl3pPr>
            <a:lvl4pPr marL="1370639" indent="0">
              <a:buNone/>
              <a:defRPr sz="1400"/>
            </a:lvl4pPr>
            <a:lvl5pPr marL="1827517" indent="0">
              <a:buNone/>
              <a:defRPr sz="1400"/>
            </a:lvl5pPr>
            <a:lvl6pPr marL="2284398" indent="0">
              <a:buNone/>
              <a:defRPr sz="1400"/>
            </a:lvl6pPr>
            <a:lvl7pPr marL="2741275" indent="0">
              <a:buNone/>
              <a:defRPr sz="1400"/>
            </a:lvl7pPr>
            <a:lvl8pPr marL="3198156" indent="0">
              <a:buNone/>
              <a:defRPr sz="1400"/>
            </a:lvl8pPr>
            <a:lvl9pPr marL="3655033"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5DF1C58-3273-41DE-A37C-15966C597392}"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407206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D1FC17A9-1053-4EE0-8A3E-150254159B86}" type="slidenum">
              <a:rPr lang="en-US"/>
              <a:pPr>
                <a:defRPr/>
              </a:pPr>
              <a:t>‹#›</a:t>
            </a:fld>
            <a:endParaRPr lang="en-US" dirty="0"/>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181106"/>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181106"/>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F7D85FF7-A67F-40A6-B474-000680F4436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8285320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6880" indent="0">
              <a:buNone/>
              <a:defRPr sz="2000" b="1"/>
            </a:lvl2pPr>
            <a:lvl3pPr marL="913758" indent="0">
              <a:buNone/>
              <a:defRPr sz="1800" b="1"/>
            </a:lvl3pPr>
            <a:lvl4pPr marL="1370639" indent="0">
              <a:buNone/>
              <a:defRPr sz="1600" b="1"/>
            </a:lvl4pPr>
            <a:lvl5pPr marL="1827517" indent="0">
              <a:buNone/>
              <a:defRPr sz="1600" b="1"/>
            </a:lvl5pPr>
            <a:lvl6pPr marL="2284398" indent="0">
              <a:buNone/>
              <a:defRPr sz="1600" b="1"/>
            </a:lvl6pPr>
            <a:lvl7pPr marL="2741275" indent="0">
              <a:buNone/>
              <a:defRPr sz="1600" b="1"/>
            </a:lvl7pPr>
            <a:lvl8pPr marL="3198156" indent="0">
              <a:buNone/>
              <a:defRPr sz="1600" b="1"/>
            </a:lvl8pPr>
            <a:lvl9pPr marL="3655033"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31" y="1535113"/>
            <a:ext cx="4041775" cy="639762"/>
          </a:xfrm>
        </p:spPr>
        <p:txBody>
          <a:bodyPr anchor="b"/>
          <a:lstStyle>
            <a:lvl1pPr marL="0" indent="0">
              <a:buNone/>
              <a:defRPr sz="2400" b="1"/>
            </a:lvl1pPr>
            <a:lvl2pPr marL="456880" indent="0">
              <a:buNone/>
              <a:defRPr sz="2000" b="1"/>
            </a:lvl2pPr>
            <a:lvl3pPr marL="913758" indent="0">
              <a:buNone/>
              <a:defRPr sz="1800" b="1"/>
            </a:lvl3pPr>
            <a:lvl4pPr marL="1370639" indent="0">
              <a:buNone/>
              <a:defRPr sz="1600" b="1"/>
            </a:lvl4pPr>
            <a:lvl5pPr marL="1827517" indent="0">
              <a:buNone/>
              <a:defRPr sz="1600" b="1"/>
            </a:lvl5pPr>
            <a:lvl6pPr marL="2284398" indent="0">
              <a:buNone/>
              <a:defRPr sz="1600" b="1"/>
            </a:lvl6pPr>
            <a:lvl7pPr marL="2741275" indent="0">
              <a:buNone/>
              <a:defRPr sz="1600" b="1"/>
            </a:lvl7pPr>
            <a:lvl8pPr marL="3198156" indent="0">
              <a:buNone/>
              <a:defRPr sz="1600" b="1"/>
            </a:lvl8pPr>
            <a:lvl9pPr marL="365503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lvl1pPr>
              <a:defRPr/>
            </a:lvl1pPr>
          </a:lstStyle>
          <a:p>
            <a:endParaRPr lang="en-US" dirty="0">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US" dirty="0">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444DDE38-D9CD-4585-BD25-7DBC7855FD89}"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1377867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lvl1pPr>
              <a:defRPr/>
            </a:lvl1pPr>
          </a:lstStyle>
          <a:p>
            <a:endParaRPr lang="en-US" dirty="0">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US" dirty="0">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A17DFDFD-177D-4234-B869-C6F6311B79FD}"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1818802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dirty="0">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US" dirty="0">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BEC402C1-57FC-414B-9D06-AC51F2605007}"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2657568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6880" indent="0">
              <a:buNone/>
              <a:defRPr sz="1200"/>
            </a:lvl2pPr>
            <a:lvl3pPr marL="913758" indent="0">
              <a:buNone/>
              <a:defRPr sz="1000"/>
            </a:lvl3pPr>
            <a:lvl4pPr marL="1370639" indent="0">
              <a:buNone/>
              <a:defRPr sz="900"/>
            </a:lvl4pPr>
            <a:lvl5pPr marL="1827517" indent="0">
              <a:buNone/>
              <a:defRPr sz="900"/>
            </a:lvl5pPr>
            <a:lvl6pPr marL="2284398" indent="0">
              <a:buNone/>
              <a:defRPr sz="900"/>
            </a:lvl6pPr>
            <a:lvl7pPr marL="2741275" indent="0">
              <a:buNone/>
              <a:defRPr sz="900"/>
            </a:lvl7pPr>
            <a:lvl8pPr marL="3198156" indent="0">
              <a:buNone/>
              <a:defRPr sz="900"/>
            </a:lvl8pPr>
            <a:lvl9pPr marL="365503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2B8FF8F6-5CBE-46EC-852F-4EA5B68621AF}"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67294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880" indent="0">
              <a:buNone/>
              <a:defRPr sz="2800"/>
            </a:lvl2pPr>
            <a:lvl3pPr marL="913758" indent="0">
              <a:buNone/>
              <a:defRPr sz="2400"/>
            </a:lvl3pPr>
            <a:lvl4pPr marL="1370639" indent="0">
              <a:buNone/>
              <a:defRPr sz="2000"/>
            </a:lvl4pPr>
            <a:lvl5pPr marL="1827517" indent="0">
              <a:buNone/>
              <a:defRPr sz="2000"/>
            </a:lvl5pPr>
            <a:lvl6pPr marL="2284398" indent="0">
              <a:buNone/>
              <a:defRPr sz="2000"/>
            </a:lvl6pPr>
            <a:lvl7pPr marL="2741275" indent="0">
              <a:buNone/>
              <a:defRPr sz="2000"/>
            </a:lvl7pPr>
            <a:lvl8pPr marL="3198156" indent="0">
              <a:buNone/>
              <a:defRPr sz="2000"/>
            </a:lvl8pPr>
            <a:lvl9pPr marL="3655033"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880" indent="0">
              <a:buNone/>
              <a:defRPr sz="1200"/>
            </a:lvl2pPr>
            <a:lvl3pPr marL="913758" indent="0">
              <a:buNone/>
              <a:defRPr sz="1000"/>
            </a:lvl3pPr>
            <a:lvl4pPr marL="1370639" indent="0">
              <a:buNone/>
              <a:defRPr sz="900"/>
            </a:lvl4pPr>
            <a:lvl5pPr marL="1827517" indent="0">
              <a:buNone/>
              <a:defRPr sz="900"/>
            </a:lvl5pPr>
            <a:lvl6pPr marL="2284398" indent="0">
              <a:buNone/>
              <a:defRPr sz="900"/>
            </a:lvl6pPr>
            <a:lvl7pPr marL="2741275" indent="0">
              <a:buNone/>
              <a:defRPr sz="900"/>
            </a:lvl7pPr>
            <a:lvl8pPr marL="3198156" indent="0">
              <a:buNone/>
              <a:defRPr sz="900"/>
            </a:lvl8pPr>
            <a:lvl9pPr marL="365503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dirty="0">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US" dirty="0">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5EDDD48A-8CD6-4E15-9F33-976EBF183A71}"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4472596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25EC61BC-70F5-4DC9-B36C-415BA22791C5}"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685943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6"/>
            <a:ext cx="2286000" cy="6126163"/>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0" y="6"/>
            <a:ext cx="670560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CF9531F1-0866-4BF0-9BD3-CC46D3BAFB2E}"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705021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903288"/>
          </a:xfrm>
        </p:spPr>
        <p:txBody>
          <a:bodyPr/>
          <a:lstStyle/>
          <a:p>
            <a:r>
              <a:rPr lang="en-US"/>
              <a:t>Click to edit Master title style</a:t>
            </a:r>
            <a:endParaRPr lang="en-IN"/>
          </a:p>
        </p:txBody>
      </p:sp>
      <p:sp>
        <p:nvSpPr>
          <p:cNvPr id="3" name="Chart Placeholder 2"/>
          <p:cNvSpPr>
            <a:spLocks noGrp="1"/>
          </p:cNvSpPr>
          <p:nvPr>
            <p:ph type="chart" idx="1"/>
          </p:nvPr>
        </p:nvSpPr>
        <p:spPr>
          <a:xfrm>
            <a:off x="457200" y="1181106"/>
            <a:ext cx="8229600" cy="4945063"/>
          </a:xfrm>
        </p:spPr>
        <p:txBody>
          <a:bodyPr/>
          <a:lstStyle/>
          <a:p>
            <a:endParaRPr lang="en-IN" dirty="0"/>
          </a:p>
        </p:txBody>
      </p:sp>
      <p:sp>
        <p:nvSpPr>
          <p:cNvPr id="4" name="Date Placeholder 3"/>
          <p:cNvSpPr>
            <a:spLocks noGrp="1"/>
          </p:cNvSpPr>
          <p:nvPr>
            <p:ph type="dt" sz="half" idx="10"/>
          </p:nvPr>
        </p:nvSpPr>
        <p:spPr>
          <a:xfrm>
            <a:off x="457200" y="6245225"/>
            <a:ext cx="2133600" cy="476250"/>
          </a:xfrm>
        </p:spPr>
        <p:txBody>
          <a:bodyPr/>
          <a:lstStyle>
            <a:lvl1pPr>
              <a:defRPr/>
            </a:lvl1pPr>
          </a:lstStyle>
          <a:p>
            <a:endParaRPr lang="en-US" dirty="0">
              <a:solidFill>
                <a:srgbClr val="000000"/>
              </a:solidFill>
            </a:endParaRPr>
          </a:p>
        </p:txBody>
      </p:sp>
      <p:sp>
        <p:nvSpPr>
          <p:cNvPr id="5" name="Footer Placeholder 4"/>
          <p:cNvSpPr>
            <a:spLocks noGrp="1"/>
          </p:cNvSpPr>
          <p:nvPr>
            <p:ph type="ftr" sz="quarter" idx="11"/>
          </p:nvPr>
        </p:nvSpPr>
        <p:spPr>
          <a:xfrm>
            <a:off x="3124200" y="6245225"/>
            <a:ext cx="2895600" cy="476250"/>
          </a:xfrm>
        </p:spPr>
        <p:txBody>
          <a:bodyPr/>
          <a:lstStyle>
            <a:lvl1pPr>
              <a:defRPr/>
            </a:lvl1pPr>
          </a:lstStyle>
          <a:p>
            <a:endParaRPr lang="en-US" dirty="0">
              <a:solidFill>
                <a:srgbClr val="000000"/>
              </a:solidFill>
            </a:endParaRPr>
          </a:p>
        </p:txBody>
      </p:sp>
      <p:sp>
        <p:nvSpPr>
          <p:cNvPr id="6" name="Slide Number Placeholder 5"/>
          <p:cNvSpPr>
            <a:spLocks noGrp="1"/>
          </p:cNvSpPr>
          <p:nvPr>
            <p:ph type="sldNum" sz="quarter" idx="12"/>
          </p:nvPr>
        </p:nvSpPr>
        <p:spPr>
          <a:xfrm>
            <a:off x="6019800" y="6226175"/>
            <a:ext cx="2133600" cy="476250"/>
          </a:xfrm>
        </p:spPr>
        <p:txBody>
          <a:bodyPr/>
          <a:lstStyle>
            <a:lvl1pPr>
              <a:defRPr/>
            </a:lvl1pPr>
          </a:lstStyle>
          <a:p>
            <a:fld id="{CE5E7FD5-51DF-4E13-9CC8-A403771B86EC}"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6236656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smtClean="0"/>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39557865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01614540-2354-4F8A-833F-FB027B8B0B55}" type="slidenum">
              <a:rPr lang="en-US"/>
              <a:pPr>
                <a:defRPr/>
              </a:pPr>
              <a:t>‹#›</a:t>
            </a:fld>
            <a:endParaRPr lang="en-US" dirty="0"/>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0"/>
            <a:ext cx="8839200" cy="1219199"/>
          </a:xfrm>
        </p:spPr>
        <p:txBody>
          <a:bodyPr>
            <a:normAutofit/>
          </a:bodyPr>
          <a:lstStyle>
            <a:lvl1pPr algn="l">
              <a:defRPr sz="3200" baseline="0">
                <a:solidFill>
                  <a:schemeClr val="bg1"/>
                </a:solidFill>
              </a:defRPr>
            </a:lvl1pPr>
          </a:lstStyle>
          <a:p>
            <a:r>
              <a:rPr lang="en-US" dirty="0" smtClean="0"/>
              <a:t>Click to edit Master title style</a:t>
            </a:r>
            <a:endParaRPr lang="en-US" dirty="0"/>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2"/>
          <p:cNvSpPr>
            <a:spLocks noGrp="1"/>
          </p:cNvSpPr>
          <p:nvPr>
            <p:ph type="sldNum" sz="quarter" idx="12"/>
          </p:nvPr>
        </p:nvSpPr>
        <p:spPr>
          <a:xfrm>
            <a:off x="8305800" y="6356350"/>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72283882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pPr>
              <a:defRPr/>
            </a:pPr>
            <a:fld id="{F291D4E0-2D86-4F76-B315-863102A7728A}" type="slidenum">
              <a:rPr lang="en-US">
                <a:solidFill>
                  <a:prstClr val="black"/>
                </a:solidFill>
              </a:rPr>
              <a:pPr>
                <a:defRPr/>
              </a:pPr>
              <a:t>‹#›</a:t>
            </a:fld>
            <a:endParaRPr lang="en-US" dirty="0">
              <a:solidFill>
                <a:prstClr val="black"/>
              </a:solidFill>
            </a:endParaRPr>
          </a:p>
        </p:txBody>
      </p:sp>
      <p:sp>
        <p:nvSpPr>
          <p:cNvPr id="5" name="Title 1"/>
          <p:cNvSpPr>
            <a:spLocks noGrp="1"/>
          </p:cNvSpPr>
          <p:nvPr>
            <p:ph type="ctrTitle"/>
          </p:nvPr>
        </p:nvSpPr>
        <p:spPr>
          <a:xfrm>
            <a:off x="152400" y="0"/>
            <a:ext cx="8839200" cy="1219199"/>
          </a:xfrm>
        </p:spPr>
        <p:txBody>
          <a:bodyPr>
            <a:normAutofit/>
          </a:bodyPr>
          <a:lstStyle>
            <a:lvl1pPr algn="l">
              <a:defRPr sz="3200" baseline="0">
                <a:solidFill>
                  <a:schemeClr val="bg1"/>
                </a:solidFill>
              </a:defRPr>
            </a:lvl1pPr>
          </a:lstStyle>
          <a:p>
            <a:endParaRPr lang="en-US" dirty="0"/>
          </a:p>
        </p:txBody>
      </p:sp>
      <p:sp>
        <p:nvSpPr>
          <p:cNvPr id="7" name="Rectangle 6"/>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extLst>
      <p:ext uri="{BB962C8B-B14F-4D97-AF65-F5344CB8AC3E}">
        <p14:creationId xmlns:p14="http://schemas.microsoft.com/office/powerpoint/2010/main" val="322094872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A3A4D80-188C-4ADD-9EEC-BFC880D80FCB}" type="datetimeFigureOut">
              <a:rPr lang="en-US" smtClean="0">
                <a:solidFill>
                  <a:prstClr val="black"/>
                </a:solidFill>
              </a:rPr>
              <a:pPr/>
              <a:t>4/9/2017</a:t>
            </a:fld>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722B153F-13BA-4ACD-85F1-4343F6ED9871}"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38142513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F42596AC-6355-46BA-A916-F074AB0CC20A}" type="slidenum">
              <a:rPr lang="en-US">
                <a:solidFill>
                  <a:srgbClr val="000000"/>
                </a:solidFill>
              </a:rPr>
              <a:pPr>
                <a:defRPr/>
              </a:pPr>
              <a:t>‹#›</a:t>
            </a:fld>
            <a:endParaRPr lang="en-US" dirty="0">
              <a:solidFill>
                <a:srgbClr val="000000"/>
              </a:solidFill>
            </a:endParaRPr>
          </a:p>
        </p:txBody>
      </p:sp>
      <p:sp>
        <p:nvSpPr>
          <p:cNvPr id="6" name="Title 1"/>
          <p:cNvSpPr txBox="1">
            <a:spLocks/>
          </p:cNvSpPr>
          <p:nvPr userDrawn="1"/>
        </p:nvSpPr>
        <p:spPr bwMode="auto">
          <a:xfrm>
            <a:off x="0" y="0"/>
            <a:ext cx="9144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gn="ctr" eaLnBrk="0" hangingPunct="0">
              <a:defRPr/>
            </a:pPr>
            <a:r>
              <a:rPr lang="en-US" sz="4400" kern="0" dirty="0">
                <a:solidFill>
                  <a:srgbClr val="000000"/>
                </a:solidFill>
                <a:latin typeface="Arial"/>
                <a:ea typeface="MS PGothic"/>
              </a:rPr>
              <a:t>Click to edit Master title </a:t>
            </a:r>
            <a:r>
              <a:rPr lang="en-US" sz="4400" kern="0" dirty="0" err="1">
                <a:solidFill>
                  <a:srgbClr val="000000"/>
                </a:solidFill>
                <a:latin typeface="Arial"/>
                <a:ea typeface="MS PGothic"/>
              </a:rPr>
              <a:t>stylez</a:t>
            </a:r>
            <a:endParaRPr lang="en-US" sz="4400" kern="0" dirty="0">
              <a:solidFill>
                <a:srgbClr val="000000"/>
              </a:solidFill>
              <a:latin typeface="Arial"/>
              <a:ea typeface="MS PGothic"/>
            </a:endParaRPr>
          </a:p>
        </p:txBody>
      </p:sp>
    </p:spTree>
    <p:extLst>
      <p:ext uri="{BB962C8B-B14F-4D97-AF65-F5344CB8AC3E}">
        <p14:creationId xmlns:p14="http://schemas.microsoft.com/office/powerpoint/2010/main" val="167694699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01F53DC0-425B-48B5-A2A2-5AD609FEE54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7685844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FDE80B78-9919-4E74-9183-9BA92128911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8253966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EC72BF4B-CAE3-4187-8CEE-28D191AD34F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89939236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6"/>
          <p:cNvSpPr>
            <a:spLocks noGrp="1" noChangeArrowheads="1"/>
          </p:cNvSpPr>
          <p:nvPr>
            <p:ph type="sldNum" sz="quarter" idx="11"/>
          </p:nvPr>
        </p:nvSpPr>
        <p:spPr>
          <a:ln/>
        </p:spPr>
        <p:txBody>
          <a:bodyPr/>
          <a:lstStyle>
            <a:lvl1pPr>
              <a:defRPr/>
            </a:lvl1pPr>
          </a:lstStyle>
          <a:p>
            <a:pPr>
              <a:defRPr/>
            </a:pPr>
            <a:fld id="{42710B9F-D37A-4685-8BA7-C9B94D25595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8453087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6F775D97-3E48-450E-9CC5-FB68E80D272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168693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6"/>
          <p:cNvSpPr>
            <a:spLocks noGrp="1" noChangeArrowheads="1"/>
          </p:cNvSpPr>
          <p:nvPr>
            <p:ph type="sldNum" sz="quarter" idx="11"/>
          </p:nvPr>
        </p:nvSpPr>
        <p:spPr>
          <a:ln/>
        </p:spPr>
        <p:txBody>
          <a:bodyPr/>
          <a:lstStyle>
            <a:lvl1pPr>
              <a:defRPr/>
            </a:lvl1pPr>
          </a:lstStyle>
          <a:p>
            <a:pPr>
              <a:defRPr/>
            </a:pPr>
            <a:fld id="{F291D4E0-2D86-4F76-B315-863102A7728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4112290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181104"/>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181104"/>
            <a:ext cx="4038600" cy="49450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62488AE2-2149-41B9-BDAB-86D1134409E9}" type="slidenum">
              <a:rPr lang="en-US"/>
              <a:pPr>
                <a:defRPr/>
              </a:pPr>
              <a:t>‹#›</a:t>
            </a:fld>
            <a:endParaRPr lang="en-US" dirty="0"/>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2"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80E3A83C-8EF8-4FAF-8A06-B81FA4E47BB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015183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1"/>
          </p:nvPr>
        </p:nvSpPr>
        <p:spPr>
          <a:ln/>
        </p:spPr>
        <p:txBody>
          <a:bodyPr/>
          <a:lstStyle>
            <a:lvl1pPr>
              <a:defRPr/>
            </a:lvl1pPr>
          </a:lstStyle>
          <a:p>
            <a:pPr>
              <a:defRPr/>
            </a:pPr>
            <a:fld id="{C3893C33-9756-4DE5-BBAA-EF2DDFC387F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7178753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8921C251-7379-4E52-AF0B-86DB75D797A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9097606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7A04EFDA-57EF-40A1-9921-7F4FF2D6CF4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6426598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D1475B93-9E10-4BAD-8DDD-7FCEEDF5E3D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049220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Chart Placeholder 2"/>
          <p:cNvSpPr>
            <a:spLocks noGrp="1"/>
          </p:cNvSpPr>
          <p:nvPr>
            <p:ph type="chart" idx="1"/>
          </p:nvPr>
        </p:nvSpPr>
        <p:spPr>
          <a:xfrm>
            <a:off x="685800" y="1981200"/>
            <a:ext cx="7772400" cy="41148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A4C5D64F-F726-4222-9AA5-57F8F65F28B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8879438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able Placeholder 2"/>
          <p:cNvSpPr>
            <a:spLocks noGrp="1"/>
          </p:cNvSpPr>
          <p:nvPr>
            <p:ph type="tbl" idx="1"/>
          </p:nvPr>
        </p:nvSpPr>
        <p:spPr>
          <a:xfrm>
            <a:off x="685800" y="1981200"/>
            <a:ext cx="7772400" cy="41148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a:ln/>
        </p:spPr>
        <p:txBody>
          <a:bodyPr/>
          <a:lstStyle>
            <a:lvl1pPr>
              <a:defRPr/>
            </a:lvl1pPr>
          </a:lstStyle>
          <a:p>
            <a:pPr>
              <a:defRPr/>
            </a:pPr>
            <a:fld id="{0F47C16B-65B1-4058-B43B-FD919A743FD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396794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027660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97946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25564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8936C8BC-220E-4058-B98F-BAF889EFF269}" type="slidenum">
              <a:rPr lang="en-US"/>
              <a:pPr>
                <a:defRPr/>
              </a:pPr>
              <a:t>‹#›</a:t>
            </a:fld>
            <a:endParaRPr lang="en-US" dirty="0"/>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0740364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6613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493241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544744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79757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488032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366791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676958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5500893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322808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01F53DC0-425B-48B5-A2A2-5AD609FEE54E}"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A14F054A-1A36-443C-BE9A-7E62A227BE57}" type="slidenum">
              <a:rPr lang="en-US"/>
              <a:pPr>
                <a:defRPr/>
              </a:pPr>
              <a:t>‹#›</a:t>
            </a:fld>
            <a:endParaRPr lang="en-US" dirty="0"/>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0079189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8248825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454823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7820950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0030280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24334251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7654587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8794205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ECA9FF55-2D06-4F08-A278-AEAA0F1FD5B5}"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718213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prstClr val="black">
                  <a:tint val="75000"/>
                </a:prstClr>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D1475B93-9E10-4BAD-8DDD-7FCEEDF5E3D1}"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325792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78312024-91F9-4B5C-A5CC-E66C8DAEC0A7}" type="slidenum">
              <a:rPr lang="en-US"/>
              <a:pPr>
                <a:defRPr/>
              </a:pPr>
              <a:t>‹#›</a:t>
            </a:fld>
            <a:endParaRPr lang="en-US" dirty="0"/>
          </a:p>
        </p:txBody>
      </p:sp>
      <p:sp>
        <p:nvSpPr>
          <p:cNvPr id="5" name="Title 1"/>
          <p:cNvSpPr>
            <a:spLocks noGrp="1"/>
          </p:cNvSpPr>
          <p:nvPr>
            <p:ph type="title"/>
          </p:nvPr>
        </p:nvSpPr>
        <p:spPr>
          <a:xfrm>
            <a:off x="0" y="0"/>
            <a:ext cx="9144000" cy="903288"/>
          </a:xfrm>
        </p:spPr>
        <p:txBody>
          <a:bodyPr/>
          <a:lstStyle/>
          <a:p>
            <a:r>
              <a:rPr lang="en-US"/>
              <a:t>Click to edit Master title style</a:t>
            </a: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80"/>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28818584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600200"/>
            <a:ext cx="9144000" cy="1600200"/>
          </a:xfrm>
          <a:solidFill>
            <a:srgbClr val="003366"/>
          </a:solidFill>
        </p:spPr>
        <p:txBody>
          <a:bodyPr/>
          <a:lstStyle>
            <a:lvl1pPr marL="228600">
              <a:defRPr>
                <a:solidFill>
                  <a:srgbClr val="FFFFFF"/>
                </a:solidFill>
              </a:defRPr>
            </a:lvl1pPr>
          </a:lstStyle>
          <a:p>
            <a:r>
              <a:rPr lang="en-US"/>
              <a:t>Click to edit Master title style</a:t>
            </a:r>
          </a:p>
        </p:txBody>
      </p:sp>
      <p:sp>
        <p:nvSpPr>
          <p:cNvPr id="3" name="Subtitle 2"/>
          <p:cNvSpPr>
            <a:spLocks noGrp="1"/>
          </p:cNvSpPr>
          <p:nvPr>
            <p:ph type="subTitle" idx="1"/>
          </p:nvPr>
        </p:nvSpPr>
        <p:spPr>
          <a:xfrm>
            <a:off x="1371600" y="3428999"/>
            <a:ext cx="6400800" cy="1828800"/>
          </a:xfrm>
        </p:spPr>
        <p:txBody>
          <a:bodyPr/>
          <a:lstStyle>
            <a:lvl1pPr marL="0" indent="0" algn="ctr">
              <a:buNone/>
              <a:defRPr>
                <a:solidFill>
                  <a:srgbClr val="001E4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descr="CHAI-logo-PMS654.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41136" y="5135880"/>
            <a:ext cx="2980525" cy="1600200"/>
          </a:xfrm>
          <a:prstGeom prst="rect">
            <a:avLst/>
          </a:prstGeom>
        </p:spPr>
      </p:pic>
    </p:spTree>
    <p:extLst>
      <p:ext uri="{BB962C8B-B14F-4D97-AF65-F5344CB8AC3E}">
        <p14:creationId xmlns:p14="http://schemas.microsoft.com/office/powerpoint/2010/main" val="74883156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410186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2"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142999"/>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142999"/>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45500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4"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20240"/>
            <a:ext cx="4040188"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143000"/>
            <a:ext cx="4041775"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920240"/>
            <a:ext cx="4041775"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78757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89540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81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134413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22713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600200"/>
            <a:ext cx="9144000" cy="1600200"/>
          </a:xfrm>
          <a:solidFill>
            <a:srgbClr val="003366"/>
          </a:solidFill>
        </p:spPr>
        <p:txBody>
          <a:bodyPr/>
          <a:lstStyle>
            <a:lvl1pPr marL="228600">
              <a:defRPr>
                <a:solidFill>
                  <a:srgbClr val="FFFFFF"/>
                </a:solidFill>
              </a:defRPr>
            </a:lvl1pPr>
          </a:lstStyle>
          <a:p>
            <a:r>
              <a:rPr lang="en-US"/>
              <a:t>Click to edit Master title style</a:t>
            </a:r>
          </a:p>
        </p:txBody>
      </p:sp>
      <p:sp>
        <p:nvSpPr>
          <p:cNvPr id="3" name="Subtitle 2"/>
          <p:cNvSpPr>
            <a:spLocks noGrp="1"/>
          </p:cNvSpPr>
          <p:nvPr>
            <p:ph type="subTitle" idx="1"/>
          </p:nvPr>
        </p:nvSpPr>
        <p:spPr>
          <a:xfrm>
            <a:off x="1371600" y="3428999"/>
            <a:ext cx="6400800" cy="1828800"/>
          </a:xfrm>
        </p:spPr>
        <p:txBody>
          <a:bodyPr/>
          <a:lstStyle>
            <a:lvl1pPr marL="0" indent="0" algn="ctr">
              <a:buNone/>
              <a:defRPr>
                <a:solidFill>
                  <a:srgbClr val="001E4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descr="CHAI-logo-PMS654.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78472" y="5585432"/>
            <a:ext cx="2143189" cy="1150647"/>
          </a:xfrm>
          <a:prstGeom prst="rect">
            <a:avLst/>
          </a:prstGeom>
        </p:spPr>
      </p:pic>
    </p:spTree>
    <p:extLst>
      <p:ext uri="{BB962C8B-B14F-4D97-AF65-F5344CB8AC3E}">
        <p14:creationId xmlns:p14="http://schemas.microsoft.com/office/powerpoint/2010/main" val="32333665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591807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2"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142999"/>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142999"/>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7308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2"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5C63B84D-7167-43A9-893A-83C8B692CB41}" type="slidenum">
              <a:rPr lang="en-US"/>
              <a:pPr>
                <a:defRPr/>
              </a:pPr>
              <a:t>‹#›</a:t>
            </a:fld>
            <a:endParaRPr lang="en-US" dirty="0"/>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4"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20240"/>
            <a:ext cx="4040188"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143000"/>
            <a:ext cx="4041775"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920240"/>
            <a:ext cx="4041775"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36884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0362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01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3861711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15229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600200"/>
            <a:ext cx="9144000" cy="1600200"/>
          </a:xfrm>
          <a:solidFill>
            <a:srgbClr val="003366"/>
          </a:solidFill>
        </p:spPr>
        <p:txBody>
          <a:bodyPr/>
          <a:lstStyle>
            <a:lvl1pPr marL="228600">
              <a:defRPr>
                <a:solidFill>
                  <a:srgbClr val="FFFFFF"/>
                </a:solidFill>
              </a:defRPr>
            </a:lvl1pPr>
          </a:lstStyle>
          <a:p>
            <a:r>
              <a:rPr lang="en-US"/>
              <a:t>Click to edit Master title style</a:t>
            </a:r>
          </a:p>
        </p:txBody>
      </p:sp>
      <p:sp>
        <p:nvSpPr>
          <p:cNvPr id="3" name="Subtitle 2"/>
          <p:cNvSpPr>
            <a:spLocks noGrp="1"/>
          </p:cNvSpPr>
          <p:nvPr>
            <p:ph type="subTitle" idx="1"/>
          </p:nvPr>
        </p:nvSpPr>
        <p:spPr>
          <a:xfrm>
            <a:off x="1371600" y="3428999"/>
            <a:ext cx="6400800" cy="1828800"/>
          </a:xfrm>
        </p:spPr>
        <p:txBody>
          <a:bodyPr/>
          <a:lstStyle>
            <a:lvl1pPr marL="0" indent="0" algn="ctr">
              <a:buNone/>
              <a:defRPr>
                <a:solidFill>
                  <a:srgbClr val="001E4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descr="CHAI-logo-PMS654.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46535" y="5568286"/>
            <a:ext cx="2175126" cy="1167793"/>
          </a:xfrm>
          <a:prstGeom prst="rect">
            <a:avLst/>
          </a:prstGeom>
        </p:spPr>
      </p:pic>
    </p:spTree>
    <p:extLst>
      <p:ext uri="{BB962C8B-B14F-4D97-AF65-F5344CB8AC3E}">
        <p14:creationId xmlns:p14="http://schemas.microsoft.com/office/powerpoint/2010/main" val="317799698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32664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2"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142999"/>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142999"/>
            <a:ext cx="40386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7983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4"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43000"/>
            <a:ext cx="4040188"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920240"/>
            <a:ext cx="4040188"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143000"/>
            <a:ext cx="4041775" cy="68580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920240"/>
            <a:ext cx="4041775" cy="402335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475428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0266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2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394881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Rectangle 7"/>
          <p:cNvSpPr>
            <a:spLocks noChangeArrowheads="1"/>
          </p:cNvSpPr>
          <p:nvPr userDrawn="1"/>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defTabSz="457200"/>
            <a:endParaRPr lang="en-US" sz="4400" dirty="0">
              <a:solidFill>
                <a:srgbClr val="1F497D"/>
              </a:solidFill>
              <a:latin typeface="Arial" pitchFamily="127" charset="0"/>
              <a:ea typeface="ＭＳ Ｐゴシック" pitchFamily="127" charset="-128"/>
            </a:endParaRPr>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03346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Slide Number Placeholder 1"/>
          <p:cNvSpPr>
            <a:spLocks noGrp="1" noChangeArrowheads="1"/>
          </p:cNvSpPr>
          <p:nvPr>
            <p:ph type="sldNum" sz="quarter" idx="10"/>
          </p:nvPr>
        </p:nvSpPr>
        <p:spPr>
          <a:xfrm>
            <a:off x="6748463" y="6211888"/>
            <a:ext cx="2133600" cy="646112"/>
          </a:xfrm>
          <a:prstGeom prst="rect">
            <a:avLst/>
          </a:prstGeom>
          <a:solidFill>
            <a:schemeClr val="bg1"/>
          </a:solidFill>
        </p:spPr>
        <p:txBody>
          <a:bodyPr/>
          <a:lstStyle>
            <a:lvl1pPr algn="r">
              <a:defRPr/>
            </a:lvl1pPr>
          </a:lstStyle>
          <a:p>
            <a:pPr defTabSz="457200">
              <a:defRPr/>
            </a:pPr>
            <a:fld id="{CF8B6E3C-7D3D-42CF-B317-04E19E8A2018}" type="slidenum">
              <a:rPr lang="en-US" sz="2000">
                <a:solidFill>
                  <a:srgbClr val="000000"/>
                </a:solidFill>
                <a:latin typeface="Arial" pitchFamily="127" charset="0"/>
                <a:ea typeface="ＭＳ Ｐゴシック" pitchFamily="127" charset="-128"/>
              </a:rPr>
              <a:pPr defTabSz="457200">
                <a:defRPr/>
              </a:pPr>
              <a:t>‹#›</a:t>
            </a:fld>
            <a:endParaRPr lang="en-US" sz="2000" dirty="0">
              <a:solidFill>
                <a:srgbClr val="000000"/>
              </a:solidFill>
              <a:latin typeface="Arial" pitchFamily="127" charset="0"/>
              <a:ea typeface="ＭＳ Ｐゴシック" pitchFamily="127" charset="-128"/>
            </a:endParaRPr>
          </a:p>
        </p:txBody>
      </p:sp>
    </p:spTree>
    <p:extLst>
      <p:ext uri="{BB962C8B-B14F-4D97-AF65-F5344CB8AC3E}">
        <p14:creationId xmlns:p14="http://schemas.microsoft.com/office/powerpoint/2010/main" val="1761981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3DCC109B-3F50-4323-A4D7-F314B6EA39DA}" type="slidenum">
              <a:rPr lang="en-US"/>
              <a:pPr>
                <a:defRPr/>
              </a:pPr>
              <a:t>‹#›</a:t>
            </a:fld>
            <a:endParaRPr lang="en-US" dirty="0"/>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107424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0" y="0"/>
            <a:ext cx="9144000" cy="6858000"/>
          </a:xfrm>
          <a:prstGeom prst="rect">
            <a:avLst/>
          </a:prstGeom>
          <a:solidFill>
            <a:srgbClr val="B0120E"/>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400" dirty="0" err="1" smtClean="0">
              <a:solidFill>
                <a:srgbClr val="000000"/>
              </a:solidFill>
              <a:cs typeface="Arial" pitchFamily="34" charset="0"/>
            </a:endParaRPr>
          </a:p>
        </p:txBody>
      </p:sp>
      <p:pic>
        <p:nvPicPr>
          <p:cNvPr id="5" name="Picture 3" descr="https://upload.wikimedia.org/wikipedia/commons/thumb/1/1d/Unitaid_Logo.svg/2000px-Unitaid_Logo.svg.png"/>
          <p:cNvPicPr>
            <a:picLocks noChangeAspect="1" noChangeArrowheads="1"/>
          </p:cNvPicPr>
          <p:nvPr userDrawn="1"/>
        </p:nvPicPr>
        <p:blipFill>
          <a:blip r:embed="rId6" cstate="screen">
            <a:duotone>
              <a:schemeClr val="accent6">
                <a:shade val="45000"/>
                <a:satMod val="135000"/>
              </a:schemeClr>
              <a:prstClr val="white"/>
            </a:duotone>
            <a:lum bright="40000"/>
          </a:blip>
          <a:srcRect/>
          <a:stretch>
            <a:fillRect/>
          </a:stretch>
        </p:blipFill>
        <p:spPr bwMode="auto">
          <a:xfrm>
            <a:off x="436685" y="5487714"/>
            <a:ext cx="3056314" cy="1033034"/>
          </a:xfrm>
          <a:prstGeom prst="rect">
            <a:avLst/>
          </a:prstGeom>
          <a:noFill/>
        </p:spPr>
      </p:pic>
      <p:sp>
        <p:nvSpPr>
          <p:cNvPr id="8" name="Title 7"/>
          <p:cNvSpPr>
            <a:spLocks noGrp="1"/>
          </p:cNvSpPr>
          <p:nvPr>
            <p:ph type="title"/>
          </p:nvPr>
        </p:nvSpPr>
        <p:spPr>
          <a:xfrm>
            <a:off x="558381" y="2330146"/>
            <a:ext cx="8018374" cy="584775"/>
          </a:xfrm>
        </p:spPr>
        <p:txBody>
          <a:bodyPr anchor="b" anchorCtr="0">
            <a:spAutoFit/>
          </a:bodyPr>
          <a:lstStyle>
            <a:lvl1pPr algn="ctr">
              <a:defRPr sz="3200"/>
            </a:lvl1pPr>
          </a:lstStyle>
          <a:p>
            <a:r>
              <a:rPr lang="en-US" dirty="0" smtClean="0"/>
              <a:t>Click to edit Master title style</a:t>
            </a:r>
            <a:endParaRPr lang="en-US" dirty="0"/>
          </a:p>
        </p:txBody>
      </p:sp>
      <p:sp>
        <p:nvSpPr>
          <p:cNvPr id="10" name="Text Placeholder 9"/>
          <p:cNvSpPr>
            <a:spLocks noGrp="1"/>
          </p:cNvSpPr>
          <p:nvPr>
            <p:ph type="body" sz="quarter" idx="10"/>
          </p:nvPr>
        </p:nvSpPr>
        <p:spPr>
          <a:xfrm>
            <a:off x="558381" y="3111185"/>
            <a:ext cx="8018374" cy="461665"/>
          </a:xfrm>
        </p:spPr>
        <p:txBody>
          <a:bodyPr>
            <a:spAutoFit/>
          </a:bodyPr>
          <a:lstStyle>
            <a:lvl1pPr algn="ctr">
              <a:defRPr sz="3000" b="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endParaRPr lang="en-US" dirty="0"/>
          </a:p>
        </p:txBody>
      </p:sp>
      <p:sp>
        <p:nvSpPr>
          <p:cNvPr id="11" name="Text Placeholder 9"/>
          <p:cNvSpPr>
            <a:spLocks noGrp="1"/>
          </p:cNvSpPr>
          <p:nvPr>
            <p:ph type="body" sz="quarter" idx="11"/>
          </p:nvPr>
        </p:nvSpPr>
        <p:spPr>
          <a:xfrm>
            <a:off x="558381" y="4468036"/>
            <a:ext cx="8018374" cy="307777"/>
          </a:xfrm>
        </p:spPr>
        <p:txBody>
          <a:bodyPr>
            <a:spAutoFit/>
          </a:bodyPr>
          <a:lstStyle>
            <a:lvl1pPr algn="ctr">
              <a:defRPr sz="2000" b="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343939077"/>
      </p:ext>
    </p:extLst>
  </p:cSld>
  <p:clrMapOvr>
    <a:masterClrMapping/>
  </p:clrMapOvr>
  <p:transition spd="med">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107527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422031" y="1508400"/>
            <a:ext cx="8301046" cy="459000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hidden="1"/>
          <p:cNvSpPr txBox="1">
            <a:spLocks/>
          </p:cNvSpPr>
          <p:nvPr userDrawn="1"/>
        </p:nvSpPr>
        <p:spPr>
          <a:xfrm>
            <a:off x="8687631" y="6826800"/>
            <a:ext cx="176123" cy="133200"/>
          </a:xfrm>
          <a:prstGeom prst="flowChartProcess">
            <a:avLst/>
          </a:prstGeom>
        </p:spPr>
        <p:txBody>
          <a:bodyPr vert="horz" wrap="none" lIns="0" tIns="0" rIns="0" bIns="0" rtlCol="0" anchor="t" anchorCtr="0"/>
          <a:lstStyle/>
          <a:p>
            <a:pPr algn="r" fontAlgn="auto">
              <a:spcBef>
                <a:spcPts val="0"/>
              </a:spcBef>
              <a:spcAft>
                <a:spcPts val="0"/>
              </a:spcAft>
              <a:defRPr/>
            </a:pPr>
            <a:r>
              <a:rPr lang="en-US" sz="900" smtClean="0">
                <a:solidFill>
                  <a:srgbClr val="000000"/>
                </a:solidFill>
                <a:latin typeface="Arial"/>
              </a:rPr>
              <a:t>‹#›</a:t>
            </a:r>
          </a:p>
          <a:p>
            <a:pPr algn="r" fontAlgn="auto">
              <a:spcBef>
                <a:spcPts val="0"/>
              </a:spcBef>
              <a:spcAft>
                <a:spcPts val="0"/>
              </a:spcAft>
              <a:defRPr/>
            </a:pPr>
            <a:endParaRPr lang="en-US" sz="900" dirty="0">
              <a:solidFill>
                <a:srgbClr val="000000"/>
              </a:solidFill>
              <a:latin typeface="Arial"/>
            </a:endParaRPr>
          </a:p>
        </p:txBody>
      </p:sp>
    </p:spTree>
    <p:extLst>
      <p:ext uri="{BB962C8B-B14F-4D97-AF65-F5344CB8AC3E}">
        <p14:creationId xmlns:p14="http://schemas.microsoft.com/office/powerpoint/2010/main" val="828758975"/>
      </p:ext>
    </p:extLst>
  </p:cSld>
  <p:clrMapOvr>
    <a:masterClrMapping/>
  </p:clrMapOvr>
  <p:transition spd="med">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03589864"/>
      </p:ext>
    </p:extLst>
  </p:cSld>
  <p:clrMapOvr>
    <a:masterClrMapping/>
  </p:clrMapOvr>
  <p:transition spd="med">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10762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83150145"/>
      </p:ext>
    </p:extLst>
  </p:cSld>
  <p:clrMapOvr>
    <a:masterClrMapping/>
  </p:clrMapOvr>
  <p:transition spd="med">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080127"/>
      </p:ext>
    </p:extLst>
  </p:cSld>
  <p:clrMapOvr>
    <a:masterClrMapping/>
  </p:clrMapOvr>
  <p:transition spd="med">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107731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1108" y="2303798"/>
            <a:ext cx="9142892"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hidden="1"/>
          <p:cNvSpPr txBox="1">
            <a:spLocks/>
          </p:cNvSpPr>
          <p:nvPr userDrawn="1"/>
        </p:nvSpPr>
        <p:spPr>
          <a:xfrm>
            <a:off x="8687631" y="6826800"/>
            <a:ext cx="176123" cy="133200"/>
          </a:xfrm>
          <a:prstGeom prst="flowChartProcess">
            <a:avLst/>
          </a:prstGeom>
        </p:spPr>
        <p:txBody>
          <a:bodyPr vert="horz" wrap="none" lIns="0" tIns="0" rIns="0" bIns="0" rtlCol="0" anchor="t" anchorCtr="0"/>
          <a:lstStyle/>
          <a:p>
            <a:pPr algn="r" fontAlgn="auto">
              <a:spcBef>
                <a:spcPts val="0"/>
              </a:spcBef>
              <a:spcAft>
                <a:spcPts val="0"/>
              </a:spcAft>
              <a:defRPr/>
            </a:pPr>
            <a:r>
              <a:rPr lang="en-US" sz="900" smtClean="0">
                <a:solidFill>
                  <a:srgbClr val="000000"/>
                </a:solidFill>
                <a:latin typeface="Arial"/>
              </a:rPr>
              <a:t>‹#›</a:t>
            </a:r>
          </a:p>
          <a:p>
            <a:pPr algn="r" fontAlgn="auto">
              <a:spcBef>
                <a:spcPts val="0"/>
              </a:spcBef>
              <a:spcAft>
                <a:spcPts val="0"/>
              </a:spcAft>
              <a:defRPr/>
            </a:pPr>
            <a:endParaRPr lang="en-US" sz="900" dirty="0">
              <a:solidFill>
                <a:srgbClr val="000000"/>
              </a:solidFill>
              <a:latin typeface="Arial"/>
            </a:endParaRPr>
          </a:p>
        </p:txBody>
      </p:sp>
    </p:spTree>
    <p:extLst>
      <p:ext uri="{BB962C8B-B14F-4D97-AF65-F5344CB8AC3E}">
        <p14:creationId xmlns:p14="http://schemas.microsoft.com/office/powerpoint/2010/main" val="633321550"/>
      </p:ext>
    </p:extLst>
  </p:cSld>
  <p:clrMapOvr>
    <a:masterClrMapping/>
  </p:clrMapOvr>
  <p:transition spd="med">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11" y="1590"/>
          <a:ext cx="1511" cy="1587"/>
        </p:xfrm>
        <a:graphic>
          <a:graphicData uri="http://schemas.openxmlformats.org/presentationml/2006/ole">
            <mc:AlternateContent xmlns:mc="http://schemas.openxmlformats.org/markup-compatibility/2006">
              <mc:Choice xmlns:v="urn:schemas-microsoft-com:vml" Requires="v">
                <p:oleObj spid="_x0000_s107834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1" y="1590"/>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nvSpPr>
        <p:spPr>
          <a:xfrm>
            <a:off x="3022" y="0"/>
            <a:ext cx="9140978" cy="6858000"/>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smtClean="0">
              <a:solidFill>
                <a:srgbClr val="000000"/>
              </a:solidFill>
            </a:endParaRPr>
          </a:p>
        </p:txBody>
      </p:sp>
      <p:sp>
        <p:nvSpPr>
          <p:cNvPr id="23" name="Text Placeholder 20"/>
          <p:cNvSpPr>
            <a:spLocks noGrp="1"/>
          </p:cNvSpPr>
          <p:nvPr>
            <p:ph type="body" sz="quarter" idx="10" hasCustomPrompt="1"/>
          </p:nvPr>
        </p:nvSpPr>
        <p:spPr>
          <a:xfrm>
            <a:off x="685801" y="3072087"/>
            <a:ext cx="7772398" cy="1065007"/>
          </a:xfrm>
        </p:spPr>
        <p:txBody>
          <a:bodyPr tIns="18288" bIns="18288" anchor="b">
            <a:noAutofit/>
          </a:bodyPr>
          <a:lstStyle>
            <a:lvl1pPr algn="ctr">
              <a:defRPr sz="4000" b="0">
                <a:latin typeface="+mj-lt"/>
              </a:defRPr>
            </a:lvl1pPr>
          </a:lstStyle>
          <a:p>
            <a:pPr lvl="0"/>
            <a:r>
              <a:rPr lang="en-US" dirty="0" smtClean="0"/>
              <a:t>Subtitle in Title Case (Arial 24pt, Black)</a:t>
            </a:r>
          </a:p>
        </p:txBody>
      </p:sp>
      <p:sp>
        <p:nvSpPr>
          <p:cNvPr id="24" name="Text Placeholder 20"/>
          <p:cNvSpPr>
            <a:spLocks noGrp="1"/>
          </p:cNvSpPr>
          <p:nvPr>
            <p:ph type="body" sz="quarter" idx="11" hasCustomPrompt="1"/>
          </p:nvPr>
        </p:nvSpPr>
        <p:spPr>
          <a:xfrm>
            <a:off x="1371600" y="4138887"/>
            <a:ext cx="6400800" cy="283154"/>
          </a:xfrm>
        </p:spPr>
        <p:txBody>
          <a:bodyPr tIns="18288" bIns="18288">
            <a:noAutofit/>
          </a:bodyPr>
          <a:lstStyle>
            <a:lvl1pPr algn="ctr">
              <a:defRPr sz="2800" b="0">
                <a:latin typeface="+mj-lt"/>
              </a:defRPr>
            </a:lvl1pPr>
          </a:lstStyle>
          <a:p>
            <a:pPr lvl="0"/>
            <a:r>
              <a:rPr lang="en-US" dirty="0" smtClean="0"/>
              <a:t>Date (Arial 16pt, Black)</a:t>
            </a:r>
          </a:p>
        </p:txBody>
      </p:sp>
      <p:sp>
        <p:nvSpPr>
          <p:cNvPr id="26" name="Text Placeholder 20"/>
          <p:cNvSpPr>
            <a:spLocks noGrp="1"/>
          </p:cNvSpPr>
          <p:nvPr>
            <p:ph type="body" sz="quarter" idx="12" hasCustomPrompt="1"/>
          </p:nvPr>
        </p:nvSpPr>
        <p:spPr>
          <a:xfrm>
            <a:off x="0" y="1246462"/>
            <a:ext cx="9144000" cy="1825624"/>
          </a:xfrm>
        </p:spPr>
        <p:txBody>
          <a:bodyPr tIns="18288" bIns="18288" anchor="t" anchorCtr="0">
            <a:noAutofit/>
          </a:bodyPr>
          <a:lstStyle>
            <a:lvl1pPr algn="ctr">
              <a:spcBef>
                <a:spcPts val="0"/>
              </a:spcBef>
              <a:defRPr sz="4800" b="1">
                <a:solidFill>
                  <a:srgbClr val="FFFFFF"/>
                </a:solidFill>
                <a:latin typeface="Arial Black" pitchFamily="34" charset="0"/>
              </a:defRPr>
            </a:lvl1pPr>
          </a:lstStyle>
          <a:p>
            <a:pPr lvl="0"/>
            <a:r>
              <a:rPr lang="en-US" dirty="0" smtClean="0"/>
              <a:t>Title in Title Case</a:t>
            </a:r>
            <a:br>
              <a:rPr lang="en-US" dirty="0" smtClean="0"/>
            </a:br>
            <a:r>
              <a:rPr lang="en-US" dirty="0" smtClean="0"/>
              <a:t>(Arial Bold 32pt, Dark Red)</a:t>
            </a:r>
          </a:p>
        </p:txBody>
      </p:sp>
    </p:spTree>
    <p:extLst>
      <p:ext uri="{BB962C8B-B14F-4D97-AF65-F5344CB8AC3E}">
        <p14:creationId xmlns:p14="http://schemas.microsoft.com/office/powerpoint/2010/main" val="428972278"/>
      </p:ext>
    </p:extLst>
  </p:cSld>
  <p:clrMapOvr>
    <a:masterClrMapping/>
  </p:clrMapOvr>
  <p:transition spd="med">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59008775"/>
      </p:ext>
    </p:extLst>
  </p:cSld>
  <p:clrMapOvr>
    <a:masterClrMapping/>
  </p:clrMapOvr>
  <p:transition spd="med">
    <p:fade/>
  </p:transition>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152400" y="6530079"/>
            <a:ext cx="2133600" cy="184666"/>
          </a:xfrm>
          <a:prstGeom prst="rect">
            <a:avLst/>
          </a:prstGeom>
        </p:spPr>
        <p:txBody>
          <a:bodyPr/>
          <a:lstStyle/>
          <a:p>
            <a:fld id="{CBC9DE1F-1E21-4EEB-84F7-A994DA39AEB3}" type="datetimeFigureOut">
              <a:rPr lang="en-US" sz="1800" smtClean="0">
                <a:solidFill>
                  <a:srgbClr val="000000"/>
                </a:solidFill>
              </a:rPr>
              <a:pPr/>
              <a:t>4/11/2017</a:t>
            </a:fld>
            <a:endParaRPr lang="en-US" sz="1800">
              <a:solidFill>
                <a:srgbClr val="000000"/>
              </a:solidFill>
            </a:endParaRPr>
          </a:p>
        </p:txBody>
      </p:sp>
      <p:sp>
        <p:nvSpPr>
          <p:cNvPr id="5" name="Footer Placeholder 4"/>
          <p:cNvSpPr>
            <a:spLocks noGrp="1"/>
          </p:cNvSpPr>
          <p:nvPr>
            <p:ph type="ftr" sz="quarter" idx="11"/>
          </p:nvPr>
        </p:nvSpPr>
        <p:spPr>
          <a:xfrm>
            <a:off x="3124200" y="6530079"/>
            <a:ext cx="2895600" cy="184666"/>
          </a:xfrm>
          <a:prstGeom prst="rect">
            <a:avLst/>
          </a:prstGeom>
        </p:spPr>
        <p:txBody>
          <a:bodyPr/>
          <a:lstStyle/>
          <a:p>
            <a:endParaRPr lang="en-US" sz="1800">
              <a:solidFill>
                <a:srgbClr val="000000"/>
              </a:solidFill>
            </a:endParaRPr>
          </a:p>
        </p:txBody>
      </p:sp>
      <p:sp>
        <p:nvSpPr>
          <p:cNvPr id="6" name="Slide Number Placeholder 5"/>
          <p:cNvSpPr>
            <a:spLocks noGrp="1"/>
          </p:cNvSpPr>
          <p:nvPr>
            <p:ph type="sldNum" sz="quarter" idx="12"/>
          </p:nvPr>
        </p:nvSpPr>
        <p:spPr>
          <a:xfrm>
            <a:off x="6858000" y="6530079"/>
            <a:ext cx="2133600" cy="184666"/>
          </a:xfrm>
          <a:prstGeom prst="rect">
            <a:avLst/>
          </a:prstGeom>
        </p:spPr>
        <p:txBody>
          <a:bodyPr/>
          <a:lstStyle/>
          <a:p>
            <a:fld id="{59C26B43-8D3B-443D-AA9D-EBC59150F831}" type="slidenum">
              <a:rPr lang="en-US" sz="1800" smtClean="0">
                <a:solidFill>
                  <a:srgbClr val="000000"/>
                </a:solidFill>
              </a:rPr>
              <a:pPr/>
              <a:t>‹#›</a:t>
            </a:fld>
            <a:endParaRPr lang="en-US" sz="1800">
              <a:solidFill>
                <a:srgbClr val="000000"/>
              </a:solidFill>
            </a:endParaRPr>
          </a:p>
        </p:txBody>
      </p:sp>
    </p:spTree>
    <p:extLst>
      <p:ext uri="{BB962C8B-B14F-4D97-AF65-F5344CB8AC3E}">
        <p14:creationId xmlns:p14="http://schemas.microsoft.com/office/powerpoint/2010/main" val="26144745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903288"/>
          </a:xfr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011D02BC-BB09-46E2-89ED-6CEC23C06751}" type="slidenum">
              <a:rPr lang="en-US"/>
              <a:pPr>
                <a:defRPr/>
              </a:pPr>
              <a:t>‹#›</a:t>
            </a:fld>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0"/>
            <a:ext cx="2286000" cy="6126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0"/>
            <a:ext cx="6705600" cy="6126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B0F2C0FF-30AB-4052-9E50-7C2ECB4356C2}" type="slidenum">
              <a:rPr lang="en-US"/>
              <a:pPr>
                <a:defRPr/>
              </a:pPr>
              <a:t>‹#›</a:t>
            </a:fld>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a typeface="+mn-ea"/>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a:t>Click to edit Master text styles</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1"/>
            <a:ext cx="8839200" cy="1143000"/>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56"/>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686800" cy="1066800"/>
          </a:xfrm>
          <a:prstGeom prst="rect">
            <a:avLst/>
          </a:prstGeom>
        </p:spPr>
        <p:txBody>
          <a:bodyPr/>
          <a:lstStyle/>
          <a:p>
            <a:r>
              <a:rPr lang="en-US"/>
              <a:t>Click to edit Master title style</a:t>
            </a:r>
          </a:p>
        </p:txBody>
      </p:sp>
      <p:sp>
        <p:nvSpPr>
          <p:cNvPr id="3" name="Rectangle 8"/>
          <p:cNvSpPr>
            <a:spLocks noGrp="1" noChangeArrowheads="1"/>
          </p:cNvSpPr>
          <p:nvPr>
            <p:ph type="sldNum" sz="quarter" idx="10"/>
          </p:nvPr>
        </p:nvSpPr>
        <p:spPr>
          <a:ln/>
        </p:spPr>
        <p:txBody>
          <a:bodyPr/>
          <a:lstStyle>
            <a:lvl1pPr>
              <a:defRPr/>
            </a:lvl1pPr>
          </a:lstStyle>
          <a:p>
            <a:pPr>
              <a:defRPr/>
            </a:pPr>
            <a:fld id="{32EAB8F8-BF63-4364-B58D-1F403F15E923}" type="slidenum">
              <a:rPr lang="en-US">
                <a:solidFill>
                  <a:srgbClr val="000000"/>
                </a:solidFill>
              </a:rPr>
              <a:pPr>
                <a:defRPr/>
              </a:pPr>
              <a:t>‹#›</a:t>
            </a:fld>
            <a:endParaRPr lang="en-US">
              <a:solidFill>
                <a:srgbClr val="000000"/>
              </a:solidFill>
            </a:endParaRPr>
          </a:p>
        </p:txBody>
      </p:sp>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extLst>
      <p:ext uri="{BB962C8B-B14F-4D97-AF65-F5344CB8AC3E}">
        <p14:creationId xmlns:p14="http://schemas.microsoft.com/office/powerpoint/2010/main" val="11390017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7630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8"/>
          <p:cNvSpPr>
            <a:spLocks noGrp="1" noChangeArrowheads="1"/>
          </p:cNvSpPr>
          <p:nvPr>
            <p:ph type="sldNum" sz="quarter" idx="10"/>
          </p:nvPr>
        </p:nvSpPr>
        <p:spPr>
          <a:ln/>
        </p:spPr>
        <p:txBody>
          <a:bodyPr/>
          <a:lstStyle>
            <a:lvl1pPr>
              <a:defRPr/>
            </a:lvl1pPr>
          </a:lstStyle>
          <a:p>
            <a:pPr>
              <a:defRPr/>
            </a:pPr>
            <a:fld id="{9B3AE925-CEAD-4F1B-833E-5B4B8985789F}" type="slidenum">
              <a:rPr lang="en-US">
                <a:solidFill>
                  <a:srgbClr val="000000"/>
                </a:solidFill>
              </a:rPr>
              <a:pPr>
                <a:defRPr/>
              </a:pPr>
              <a:t>‹#›</a:t>
            </a:fld>
            <a:endParaRPr lang="en-US">
              <a:solidFill>
                <a:srgbClr val="000000"/>
              </a:solidFill>
            </a:endParaRPr>
          </a:p>
        </p:txBody>
      </p:sp>
      <p:sp>
        <p:nvSpPr>
          <p:cNvPr id="8" name="Rectangle 7"/>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extLst>
      <p:ext uri="{BB962C8B-B14F-4D97-AF65-F5344CB8AC3E}">
        <p14:creationId xmlns:p14="http://schemas.microsoft.com/office/powerpoint/2010/main" val="8916860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FDE80B78-9919-4E74-9183-9BA92128911F}" type="slidenum">
              <a:rPr lang="en-US"/>
              <a:pPr>
                <a:defRPr/>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a:t>Click to edit Master text styles</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1"/>
            <a:ext cx="8839200" cy="1143000"/>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56"/>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8686800" cy="1066800"/>
          </a:xfrm>
          <a:prstGeom prst="rect">
            <a:avLst/>
          </a:prstGeom>
        </p:spPr>
        <p:txBody>
          <a:bodyPr/>
          <a:lstStyle/>
          <a:p>
            <a:r>
              <a:rPr lang="en-US"/>
              <a:t>Click to edit Master title style</a:t>
            </a:r>
          </a:p>
        </p:txBody>
      </p:sp>
      <p:sp>
        <p:nvSpPr>
          <p:cNvPr id="3" name="Rectangle 8"/>
          <p:cNvSpPr>
            <a:spLocks noGrp="1" noChangeArrowheads="1"/>
          </p:cNvSpPr>
          <p:nvPr>
            <p:ph type="sldNum" sz="quarter" idx="10"/>
          </p:nvPr>
        </p:nvSpPr>
        <p:spPr>
          <a:ln/>
        </p:spPr>
        <p:txBody>
          <a:bodyPr/>
          <a:lstStyle>
            <a:lvl1pPr>
              <a:defRPr/>
            </a:lvl1pPr>
          </a:lstStyle>
          <a:p>
            <a:pPr>
              <a:defRPr/>
            </a:pPr>
            <a:fld id="{32EAB8F8-BF63-4364-B58D-1F403F15E923}" type="slidenum">
              <a:rPr lang="en-US">
                <a:solidFill>
                  <a:srgbClr val="000000"/>
                </a:solidFill>
              </a:rPr>
              <a:pPr>
                <a:defRPr/>
              </a:pPr>
              <a:t>‹#›</a:t>
            </a:fld>
            <a:endParaRPr lang="en-US">
              <a:solidFill>
                <a:srgbClr val="000000"/>
              </a:solidFill>
            </a:endParaRPr>
          </a:p>
        </p:txBody>
      </p:sp>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extLst>
      <p:ext uri="{BB962C8B-B14F-4D97-AF65-F5344CB8AC3E}">
        <p14:creationId xmlns:p14="http://schemas.microsoft.com/office/powerpoint/2010/main" val="11390017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52400" y="0"/>
            <a:ext cx="87630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8"/>
          <p:cNvSpPr>
            <a:spLocks noGrp="1" noChangeArrowheads="1"/>
          </p:cNvSpPr>
          <p:nvPr>
            <p:ph type="sldNum" sz="quarter" idx="10"/>
          </p:nvPr>
        </p:nvSpPr>
        <p:spPr>
          <a:ln/>
        </p:spPr>
        <p:txBody>
          <a:bodyPr/>
          <a:lstStyle>
            <a:lvl1pPr>
              <a:defRPr/>
            </a:lvl1pPr>
          </a:lstStyle>
          <a:p>
            <a:pPr>
              <a:defRPr/>
            </a:pPr>
            <a:fld id="{9B3AE925-CEAD-4F1B-833E-5B4B8985789F}" type="slidenum">
              <a:rPr lang="en-US">
                <a:solidFill>
                  <a:srgbClr val="000000"/>
                </a:solidFill>
              </a:rPr>
              <a:pPr>
                <a:defRPr/>
              </a:pPr>
              <a:t>‹#›</a:t>
            </a:fld>
            <a:endParaRPr lang="en-US">
              <a:solidFill>
                <a:srgbClr val="000000"/>
              </a:solidFill>
            </a:endParaRPr>
          </a:p>
        </p:txBody>
      </p:sp>
      <p:sp>
        <p:nvSpPr>
          <p:cNvPr id="8" name="Rectangle 7"/>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extLst>
      <p:ext uri="{BB962C8B-B14F-4D97-AF65-F5344CB8AC3E}">
        <p14:creationId xmlns:p14="http://schemas.microsoft.com/office/powerpoint/2010/main" val="8916860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Clinton Foundation"/>
          <p:cNvPicPr>
            <a:picLocks noChangeAspect="1" noChangeArrowheads="1"/>
          </p:cNvPicPr>
          <p:nvPr/>
        </p:nvPicPr>
        <p:blipFill>
          <a:blip r:embed="rId2" cstate="print"/>
          <a:srcRect/>
          <a:stretch>
            <a:fillRect/>
          </a:stretch>
        </p:blipFill>
        <p:spPr bwMode="auto">
          <a:xfrm>
            <a:off x="5897565" y="2203456"/>
            <a:ext cx="2870200" cy="1458913"/>
          </a:xfrm>
          <a:prstGeom prst="rect">
            <a:avLst/>
          </a:prstGeom>
          <a:noFill/>
          <a:ln w="9525">
            <a:noFill/>
            <a:miter lim="800000"/>
            <a:headEnd/>
            <a:tailEnd/>
          </a:ln>
        </p:spPr>
      </p:pic>
      <p:sp>
        <p:nvSpPr>
          <p:cNvPr id="5122" name="Rectangle 2"/>
          <p:cNvSpPr>
            <a:spLocks noGrp="1" noChangeArrowheads="1"/>
          </p:cNvSpPr>
          <p:nvPr>
            <p:ph type="ctrTitle" sz="quarter"/>
          </p:nvPr>
        </p:nvSpPr>
        <p:spPr bwMode="auto">
          <a:xfrm>
            <a:off x="708025" y="3625850"/>
            <a:ext cx="7772400" cy="1282700"/>
          </a:xfrm>
        </p:spPr>
        <p:txBody>
          <a:bodyPr anchor="b"/>
          <a:lstStyle>
            <a:lvl1pPr algn="r">
              <a:defRPr sz="3600">
                <a:solidFill>
                  <a:schemeClr val="tx2"/>
                </a:solidFill>
              </a:defRPr>
            </a:lvl1pPr>
          </a:lstStyle>
          <a:p>
            <a:r>
              <a:rPr lang="en-US"/>
              <a:t>Click to edit Master title style</a:t>
            </a:r>
          </a:p>
        </p:txBody>
      </p:sp>
      <p:sp>
        <p:nvSpPr>
          <p:cNvPr id="5123" name="Rectangle 3"/>
          <p:cNvSpPr>
            <a:spLocks noGrp="1" noChangeArrowheads="1"/>
          </p:cNvSpPr>
          <p:nvPr>
            <p:ph type="subTitle" sz="quarter" idx="1"/>
          </p:nvPr>
        </p:nvSpPr>
        <p:spPr>
          <a:xfrm>
            <a:off x="2089150" y="4975230"/>
            <a:ext cx="6400800" cy="461665"/>
          </a:xfrm>
          <a:ln/>
        </p:spPr>
        <p:txBody>
          <a:bodyPr lIns="91440" tIns="45720" rIns="91440" bIns="45720"/>
          <a:lstStyle>
            <a:lvl1pPr marL="0" indent="0" algn="r">
              <a:buFont typeface="Verdana" pitchFamily="34" charset="0"/>
              <a:buNone/>
              <a:defRPr sz="2400"/>
            </a:lvl1pPr>
          </a:lstStyle>
          <a:p>
            <a:r>
              <a:rPr lang="en-US"/>
              <a:t>Click to edit Master subtitle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2103EFC4-DE5A-4755-8882-A5BDF32A2774}"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a:t>Click to edit Master title style</a:t>
            </a:r>
            <a:endParaRPr lang="fr-CA"/>
          </a:p>
        </p:txBody>
      </p:sp>
      <p:sp>
        <p:nvSpPr>
          <p:cNvPr id="3" name="Text Placeholder 2"/>
          <p:cNvSpPr>
            <a:spLocks noGrp="1"/>
          </p:cNvSpPr>
          <p:nvPr>
            <p:ph type="body" idx="1"/>
          </p:nvPr>
        </p:nvSpPr>
        <p:spPr>
          <a:xfrm>
            <a:off x="722313" y="4004611"/>
            <a:ext cx="7772400" cy="402291"/>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sldNum" sz="quarter" idx="10"/>
          </p:nvPr>
        </p:nvSpPr>
        <p:spPr>
          <a:ln/>
        </p:spPr>
        <p:txBody>
          <a:bodyPr/>
          <a:lstStyle>
            <a:lvl1pPr>
              <a:defRPr/>
            </a:lvl1pPr>
          </a:lstStyle>
          <a:p>
            <a:pPr>
              <a:defRPr/>
            </a:pPr>
            <a:fld id="{BBACF7F0-8638-4470-8B44-04751B5BCBDA}"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Content Placeholder 2"/>
          <p:cNvSpPr>
            <a:spLocks noGrp="1"/>
          </p:cNvSpPr>
          <p:nvPr>
            <p:ph sz="half" idx="1"/>
          </p:nvPr>
        </p:nvSpPr>
        <p:spPr>
          <a:xfrm>
            <a:off x="700088" y="1277938"/>
            <a:ext cx="3816350" cy="24336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Content Placeholder 3"/>
          <p:cNvSpPr>
            <a:spLocks noGrp="1"/>
          </p:cNvSpPr>
          <p:nvPr>
            <p:ph sz="half" idx="2"/>
          </p:nvPr>
        </p:nvSpPr>
        <p:spPr>
          <a:xfrm>
            <a:off x="4668841" y="1277938"/>
            <a:ext cx="3817937" cy="24336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5" name="Rectangle 5"/>
          <p:cNvSpPr>
            <a:spLocks noGrp="1" noChangeArrowheads="1"/>
          </p:cNvSpPr>
          <p:nvPr>
            <p:ph type="sldNum" sz="quarter" idx="10"/>
          </p:nvPr>
        </p:nvSpPr>
        <p:spPr>
          <a:ln/>
        </p:spPr>
        <p:txBody>
          <a:bodyPr/>
          <a:lstStyle>
            <a:lvl1pPr>
              <a:defRPr/>
            </a:lvl1pPr>
          </a:lstStyle>
          <a:p>
            <a:pPr>
              <a:defRPr/>
            </a:pPr>
            <a:fld id="{F0EFED18-8FB6-4378-9F24-941FCC94B167}"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fr-CA"/>
          </a:p>
        </p:txBody>
      </p:sp>
      <p:sp>
        <p:nvSpPr>
          <p:cNvPr id="3" name="Text Placeholder 2"/>
          <p:cNvSpPr>
            <a:spLocks noGrp="1"/>
          </p:cNvSpPr>
          <p:nvPr>
            <p:ph type="body" idx="1"/>
          </p:nvPr>
        </p:nvSpPr>
        <p:spPr>
          <a:xfrm>
            <a:off x="457200" y="1341697"/>
            <a:ext cx="4040188" cy="8331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7"/>
            <a:ext cx="4040188" cy="21258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5" name="Text Placeholder 4"/>
          <p:cNvSpPr>
            <a:spLocks noGrp="1"/>
          </p:cNvSpPr>
          <p:nvPr>
            <p:ph type="body" sz="quarter" idx="3"/>
          </p:nvPr>
        </p:nvSpPr>
        <p:spPr>
          <a:xfrm>
            <a:off x="4645028" y="1341697"/>
            <a:ext cx="4041775" cy="8331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7"/>
            <a:ext cx="4041775" cy="21258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7" name="Rectangle 5"/>
          <p:cNvSpPr>
            <a:spLocks noGrp="1" noChangeArrowheads="1"/>
          </p:cNvSpPr>
          <p:nvPr>
            <p:ph type="sldNum" sz="quarter" idx="10"/>
          </p:nvPr>
        </p:nvSpPr>
        <p:spPr>
          <a:ln/>
        </p:spPr>
        <p:txBody>
          <a:bodyPr/>
          <a:lstStyle>
            <a:lvl1pPr>
              <a:defRPr/>
            </a:lvl1pPr>
          </a:lstStyle>
          <a:p>
            <a:pPr>
              <a:defRPr/>
            </a:pPr>
            <a:fld id="{790B56AF-A2F1-4953-8FE1-56FFFF029675}"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Rectangle 5"/>
          <p:cNvSpPr>
            <a:spLocks noGrp="1" noChangeArrowheads="1"/>
          </p:cNvSpPr>
          <p:nvPr>
            <p:ph type="sldNum" sz="quarter" idx="10"/>
          </p:nvPr>
        </p:nvSpPr>
        <p:spPr>
          <a:ln/>
        </p:spPr>
        <p:txBody>
          <a:bodyPr/>
          <a:lstStyle>
            <a:lvl1pPr>
              <a:defRPr/>
            </a:lvl1pPr>
          </a:lstStyle>
          <a:p>
            <a:pPr>
              <a:defRPr/>
            </a:pPr>
            <a:fld id="{12A26BB6-18E6-4230-AC2F-728357EBA551}"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1"/>
          </p:nvPr>
        </p:nvSpPr>
        <p:spPr>
          <a:ln/>
        </p:spPr>
        <p:txBody>
          <a:bodyPr/>
          <a:lstStyle>
            <a:lvl1pPr>
              <a:defRPr/>
            </a:lvl1pPr>
          </a:lstStyle>
          <a:p>
            <a:pPr>
              <a:defRPr/>
            </a:pPr>
            <a:fld id="{EC72BF4B-CAE3-4187-8CEE-28D191AD34F2}" type="slidenum">
              <a:rPr lang="en-US"/>
              <a:pPr>
                <a:defRPr/>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B305B4A0-75CB-44DC-8162-4988C2155832}"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endParaRPr lang="fr-CA"/>
          </a:p>
        </p:txBody>
      </p:sp>
      <p:sp>
        <p:nvSpPr>
          <p:cNvPr id="3" name="Content Placeholder 2"/>
          <p:cNvSpPr>
            <a:spLocks noGrp="1"/>
          </p:cNvSpPr>
          <p:nvPr>
            <p:ph idx="1"/>
          </p:nvPr>
        </p:nvSpPr>
        <p:spPr>
          <a:xfrm>
            <a:off x="3575050" y="273053"/>
            <a:ext cx="5111750" cy="27783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Text Placeholder 3"/>
          <p:cNvSpPr>
            <a:spLocks noGrp="1"/>
          </p:cNvSpPr>
          <p:nvPr>
            <p:ph type="body" sz="half" idx="2"/>
          </p:nvPr>
        </p:nvSpPr>
        <p:spPr>
          <a:xfrm>
            <a:off x="457202" y="1435101"/>
            <a:ext cx="3008313" cy="309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D68D8B5E-88D4-48FA-88AE-731C9A45796F}"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fr-CA"/>
          </a:p>
        </p:txBody>
      </p:sp>
      <p:sp>
        <p:nvSpPr>
          <p:cNvPr id="3" name="Picture Placeholder 2"/>
          <p:cNvSpPr>
            <a:spLocks noGrp="1"/>
          </p:cNvSpPr>
          <p:nvPr>
            <p:ph type="pic" idx="1"/>
          </p:nvPr>
        </p:nvSpPr>
        <p:spPr>
          <a:xfrm>
            <a:off x="1792288" y="612775"/>
            <a:ext cx="5486400" cy="58695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CA" noProof="0"/>
          </a:p>
        </p:txBody>
      </p:sp>
      <p:sp>
        <p:nvSpPr>
          <p:cNvPr id="4" name="Text Placeholder 3"/>
          <p:cNvSpPr>
            <a:spLocks noGrp="1"/>
          </p:cNvSpPr>
          <p:nvPr>
            <p:ph type="body" sz="half" idx="2"/>
          </p:nvPr>
        </p:nvSpPr>
        <p:spPr>
          <a:xfrm>
            <a:off x="1792288" y="5367338"/>
            <a:ext cx="5486400" cy="309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CD3989C8-929C-4F2F-948A-4D3E6804059D}"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Vertical Text Placeholder 2"/>
          <p:cNvSpPr>
            <a:spLocks noGrp="1"/>
          </p:cNvSpPr>
          <p:nvPr>
            <p:ph type="body" orient="vert" idx="1"/>
          </p:nvPr>
        </p:nvSpPr>
        <p:spPr>
          <a:xfrm>
            <a:off x="353138" y="1277942"/>
            <a:ext cx="8133638" cy="21012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65B1202E-42E7-4540-B7B3-B48184483F88}"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2752" y="52389"/>
            <a:ext cx="2189163" cy="2943225"/>
          </a:xfrm>
        </p:spPr>
        <p:txBody>
          <a:bodyPr vert="eaVert"/>
          <a:lstStyle/>
          <a:p>
            <a:r>
              <a:rPr lang="en-US"/>
              <a:t>Click to edit Master title style</a:t>
            </a:r>
            <a:endParaRPr lang="fr-CA"/>
          </a:p>
        </p:txBody>
      </p:sp>
      <p:sp>
        <p:nvSpPr>
          <p:cNvPr id="3" name="Vertical Text Placeholder 2"/>
          <p:cNvSpPr>
            <a:spLocks noGrp="1"/>
          </p:cNvSpPr>
          <p:nvPr>
            <p:ph type="body" orient="vert" idx="1"/>
          </p:nvPr>
        </p:nvSpPr>
        <p:spPr>
          <a:xfrm>
            <a:off x="3154917" y="52389"/>
            <a:ext cx="3455434" cy="2943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25C52E50-D3C6-4281-961D-8D502338E7A8}"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93675" y="52389"/>
            <a:ext cx="8758238" cy="2101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3" name="Rectangle 5"/>
          <p:cNvSpPr>
            <a:spLocks noGrp="1" noChangeArrowheads="1"/>
          </p:cNvSpPr>
          <p:nvPr>
            <p:ph type="sldNum" sz="quarter" idx="10"/>
          </p:nvPr>
        </p:nvSpPr>
        <p:spPr>
          <a:ln/>
        </p:spPr>
        <p:txBody>
          <a:bodyPr/>
          <a:lstStyle>
            <a:lvl1pPr>
              <a:defRPr/>
            </a:lvl1pPr>
          </a:lstStyle>
          <a:p>
            <a:pPr>
              <a:defRPr/>
            </a:pPr>
            <a:fld id="{F176A75F-6661-445B-9CBB-DF846B816274}"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3675" y="52388"/>
            <a:ext cx="8758238" cy="908050"/>
          </a:xfrm>
        </p:spPr>
        <p:txBody>
          <a:bodyPr/>
          <a:lstStyle/>
          <a:p>
            <a:r>
              <a:rPr lang="en-US"/>
              <a:t>Click to edit Master title style</a:t>
            </a:r>
            <a:endParaRPr lang="fr-CA"/>
          </a:p>
        </p:txBody>
      </p:sp>
      <p:sp>
        <p:nvSpPr>
          <p:cNvPr id="3" name="Table Placeholder 2"/>
          <p:cNvSpPr>
            <a:spLocks noGrp="1"/>
          </p:cNvSpPr>
          <p:nvPr>
            <p:ph type="tbl" idx="1"/>
          </p:nvPr>
        </p:nvSpPr>
        <p:spPr>
          <a:xfrm>
            <a:off x="700091" y="1277943"/>
            <a:ext cx="7786687" cy="402291"/>
          </a:xfrm>
        </p:spPr>
        <p:txBody>
          <a:bodyPr/>
          <a:lstStyle/>
          <a:p>
            <a:pPr lvl="0"/>
            <a:endParaRPr lang="fr-CA" noProof="0"/>
          </a:p>
        </p:txBody>
      </p:sp>
      <p:sp>
        <p:nvSpPr>
          <p:cNvPr id="4" name="Rectangle 5"/>
          <p:cNvSpPr>
            <a:spLocks noGrp="1" noChangeArrowheads="1"/>
          </p:cNvSpPr>
          <p:nvPr>
            <p:ph type="sldNum" sz="quarter" idx="10"/>
          </p:nvPr>
        </p:nvSpPr>
        <p:spPr>
          <a:ln/>
        </p:spPr>
        <p:txBody>
          <a:bodyPr/>
          <a:lstStyle>
            <a:lvl1pPr>
              <a:defRPr/>
            </a:lvl1pPr>
          </a:lstStyle>
          <a:p>
            <a:pPr>
              <a:defRPr/>
            </a:pPr>
            <a:fld id="{83E395DE-F214-43FA-AE11-6CAA5C761A0B}"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a:prstGeom prst="rect">
            <a:avLst/>
          </a:prstGeom>
        </p:spPr>
        <p:txBody>
          <a:bodyPr/>
          <a:lstStyle>
            <a:lvl1pPr algn="l">
              <a:defRPr sz="2800">
                <a:solidFill>
                  <a:schemeClr val="tx1"/>
                </a:solidFill>
                <a:latin typeface="Verdana" pitchFamily="34" charset="0"/>
                <a:ea typeface="Verdana" pitchFamily="34" charset="0"/>
                <a:cs typeface="Verdana" pitchFamily="34" charset="0"/>
              </a:defRPr>
            </a:lvl1pPr>
          </a:lstStyle>
          <a:p>
            <a:r>
              <a:rPr lang="en-US"/>
              <a:t>Click to edit Master title style</a:t>
            </a:r>
            <a:endParaRPr lang="fr-FR" dirty="0"/>
          </a:p>
        </p:txBody>
      </p:sp>
      <p:sp>
        <p:nvSpPr>
          <p:cNvPr id="3" name="Subtitle 2"/>
          <p:cNvSpPr>
            <a:spLocks noGrp="1"/>
          </p:cNvSpPr>
          <p:nvPr>
            <p:ph type="subTitle" idx="1"/>
          </p:nvPr>
        </p:nvSpPr>
        <p:spPr>
          <a:xfrm>
            <a:off x="685800" y="3886204"/>
            <a:ext cx="6400800" cy="371513"/>
          </a:xfrm>
          <a:prstGeom prst="rect">
            <a:avLst/>
          </a:prstGeom>
        </p:spPr>
        <p:txBody>
          <a:bodyPr/>
          <a:lstStyle>
            <a:lvl1pPr marL="0" indent="0" algn="l">
              <a:buNone/>
              <a:defRPr sz="1800">
                <a:latin typeface="Verdana" pitchFamily="34" charset="0"/>
                <a:ea typeface="Verdana" pitchFamily="34" charset="0"/>
                <a:cs typeface="Verdana"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fr-FR"/>
          </a:p>
        </p:txBody>
      </p:sp>
      <p:pic>
        <p:nvPicPr>
          <p:cNvPr id="5" name="Picture 8" descr="CHAI_Interim Logo (Feb 2010)"/>
          <p:cNvPicPr>
            <a:picLocks noChangeAspect="1" noChangeArrowheads="1"/>
          </p:cNvPicPr>
          <p:nvPr/>
        </p:nvPicPr>
        <p:blipFill>
          <a:blip r:embed="rId2" cstate="print"/>
          <a:srcRect/>
          <a:stretch>
            <a:fillRect/>
          </a:stretch>
        </p:blipFill>
        <p:spPr bwMode="auto">
          <a:xfrm>
            <a:off x="6324603" y="5562600"/>
            <a:ext cx="2700337" cy="1143000"/>
          </a:xfrm>
          <a:prstGeom prst="rect">
            <a:avLst/>
          </a:prstGeom>
          <a:noFill/>
          <a:ln w="9525">
            <a:noFill/>
            <a:miter lim="800000"/>
            <a:headEnd/>
            <a:tailEnd/>
          </a:ln>
        </p:spPr>
      </p:pic>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sp>
        <p:nvSpPr>
          <p:cNvPr id="3" name="Picture Placeholder 7"/>
          <p:cNvSpPr>
            <a:spLocks noGrp="1"/>
          </p:cNvSpPr>
          <p:nvPr>
            <p:ph type="pic" sz="quarter" idx="12" hasCustomPrompt="1"/>
          </p:nvPr>
        </p:nvSpPr>
        <p:spPr>
          <a:xfrm>
            <a:off x="353586" y="1292913"/>
            <a:ext cx="8438320"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2" name="Title 1"/>
          <p:cNvSpPr>
            <a:spLocks noGrp="1"/>
          </p:cNvSpPr>
          <p:nvPr>
            <p:ph type="title"/>
          </p:nvPr>
        </p:nvSpPr>
        <p:spPr>
          <a:xfrm>
            <a:off x="280814" y="78592"/>
            <a:ext cx="8834097" cy="835808"/>
          </a:xfrm>
          <a:prstGeom prst="rect">
            <a:avLst/>
          </a:prstGeom>
        </p:spPr>
        <p:txBody>
          <a:bodyPr/>
          <a:lstStyle/>
          <a:p>
            <a:r>
              <a:rPr lang="en-US"/>
              <a:t>Click to edit Master title style</a:t>
            </a:r>
            <a:endParaRPr lang="en-US" dirty="0"/>
          </a:p>
        </p:txBody>
      </p:sp>
      <p:sp>
        <p:nvSpPr>
          <p:cNvPr id="4"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hasCustomPrompt="1"/>
          </p:nvPr>
        </p:nvSpPr>
        <p:spPr>
          <a:xfrm>
            <a:off x="35358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5" name="Picture Placeholder 7"/>
          <p:cNvSpPr>
            <a:spLocks noGrp="1"/>
          </p:cNvSpPr>
          <p:nvPr>
            <p:ph type="pic" sz="quarter" idx="13" hasCustomPrompt="1"/>
          </p:nvPr>
        </p:nvSpPr>
        <p:spPr>
          <a:xfrm>
            <a:off x="478907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latinLnBrk="0" hangingPunct="1">
              <a:spcBef>
                <a:spcPct val="40000"/>
              </a:spcBef>
              <a:spcAft>
                <a:spcPct val="0"/>
              </a:spcAft>
              <a:buClr>
                <a:schemeClr val="tx1"/>
              </a:buClr>
              <a:buSzPct val="100000"/>
              <a:buFont typeface="Verdana" pitchFamily="34" charset="0"/>
              <a:buChar char="•"/>
              <a:defRPr lang="en-US" altLang="zh-CN" sz="2200" kern="1200" noProof="1" dirty="0">
                <a:solidFill>
                  <a:schemeClr val="tx1"/>
                </a:solidFill>
                <a:latin typeface="+mn-lt"/>
                <a:ea typeface="+mn-ea"/>
                <a:cs typeface="+mn-cs"/>
              </a:defRPr>
            </a:lvl1pPr>
          </a:lstStyle>
          <a:p>
            <a:r>
              <a:rPr lang="en-US" dirty="0"/>
              <a:t>Wizard Chart</a:t>
            </a:r>
          </a:p>
        </p:txBody>
      </p:sp>
      <p:sp>
        <p:nvSpPr>
          <p:cNvPr id="6"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6"/>
          <p:cNvSpPr>
            <a:spLocks noGrp="1" noChangeArrowheads="1"/>
          </p:cNvSpPr>
          <p:nvPr>
            <p:ph type="sldNum" sz="quarter" idx="11"/>
          </p:nvPr>
        </p:nvSpPr>
        <p:spPr>
          <a:ln/>
        </p:spPr>
        <p:txBody>
          <a:bodyPr/>
          <a:lstStyle>
            <a:lvl1pPr>
              <a:defRPr/>
            </a:lvl1pPr>
          </a:lstStyle>
          <a:p>
            <a:pPr>
              <a:defRPr/>
            </a:pPr>
            <a:fld id="{42710B9F-D37A-4685-8BA7-C9B94D25595A}" type="slidenum">
              <a:rPr lang="en-US"/>
              <a:pPr>
                <a:defRPr/>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hasCustomPrompt="1"/>
          </p:nvPr>
        </p:nvSpPr>
        <p:spPr>
          <a:xfrm>
            <a:off x="35358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5"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Table Placeholder 3"/>
          <p:cNvSpPr>
            <a:spLocks noGrp="1"/>
          </p:cNvSpPr>
          <p:nvPr>
            <p:ph type="tbl" sz="quarter" idx="10"/>
          </p:nvPr>
        </p:nvSpPr>
        <p:spPr>
          <a:xfrm>
            <a:off x="352605" y="1306077"/>
            <a:ext cx="8438797" cy="5096770"/>
          </a:xfrm>
          <a:prstGeom prst="rect">
            <a:avLst/>
          </a:prstGeom>
        </p:spPr>
        <p:txBody>
          <a:bodyPr>
            <a:normAutofit/>
          </a:bodyPr>
          <a:lstStyle>
            <a:lvl1pPr>
              <a:defRPr lang="en-US" altLang="zh-CN" sz="2200" kern="1200" baseline="0" noProof="1" dirty="0" smtClean="0">
                <a:solidFill>
                  <a:schemeClr val="tx1"/>
                </a:solidFill>
                <a:latin typeface="+mn-lt"/>
                <a:ea typeface="+mn-ea"/>
                <a:cs typeface="+mn-cs"/>
              </a:defRPr>
            </a:lvl1pPr>
          </a:lstStyle>
          <a:p>
            <a:pPr marL="251559" lvl="0" indent="-252922" algn="l" defTabSz="914068" rtl="0" eaLnBrk="1" fontAlgn="base" latinLnBrk="0" hangingPunct="1">
              <a:lnSpc>
                <a:spcPct val="150000"/>
              </a:lnSpc>
              <a:spcBef>
                <a:spcPts val="559"/>
              </a:spcBef>
              <a:spcAft>
                <a:spcPct val="0"/>
              </a:spcAft>
              <a:buClr>
                <a:schemeClr val="tx1"/>
              </a:buClr>
              <a:buSzPct val="100000"/>
              <a:buFont typeface="Verdana" pitchFamily="34" charset="0"/>
              <a:buChar char="•"/>
            </a:pPr>
            <a:r>
              <a:rPr lang="en-US" dirty="0"/>
              <a:t>Click icon to add table</a:t>
            </a:r>
          </a:p>
        </p:txBody>
      </p:sp>
      <p:sp>
        <p:nvSpPr>
          <p:cNvPr id="5" name="Rectangle 8"/>
          <p:cNvSpPr>
            <a:spLocks noGrp="1" noChangeArrowheads="1"/>
          </p:cNvSpPr>
          <p:nvPr>
            <p:ph type="sldNum" sz="quarter" idx="11"/>
          </p:nvPr>
        </p:nvSpPr>
        <p:spPr>
          <a:xfrm>
            <a:off x="6818313" y="6302375"/>
            <a:ext cx="2133600" cy="476250"/>
          </a:xfrm>
          <a:ln/>
        </p:spPr>
        <p:txBody>
          <a:bodyPr/>
          <a:lstStyle>
            <a:lvl1pPr>
              <a:defRPr/>
            </a:lvl1pPr>
          </a:lstStyle>
          <a:p>
            <a:fld id="{FA8C94CF-DC14-409D-A359-9F5E91B971A0}" type="slidenum">
              <a:rPr lang="en-US" smtClean="0"/>
              <a:pPr/>
              <a:t>‹#›</a:t>
            </a:fld>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Half Page Chart and Table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hasCustomPrompt="1"/>
          </p:nvPr>
        </p:nvSpPr>
        <p:spPr>
          <a:xfrm>
            <a:off x="353588" y="1292913"/>
            <a:ext cx="4004323" cy="5095600"/>
          </a:xfrm>
          <a:prstGeom prst="rect">
            <a:avLst/>
          </a:prstGeom>
          <a:blipFill>
            <a:blip r:embed="rId2" cstate="print"/>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6" name="Table Placeholder 5"/>
          <p:cNvSpPr>
            <a:spLocks noGrp="1"/>
          </p:cNvSpPr>
          <p:nvPr>
            <p:ph type="tbl" sz="quarter" idx="13"/>
          </p:nvPr>
        </p:nvSpPr>
        <p:spPr>
          <a:xfrm>
            <a:off x="4740141" y="1292913"/>
            <a:ext cx="4004562" cy="5096770"/>
          </a:xfrm>
          <a:prstGeom prst="rect">
            <a:avLst/>
          </a:prstGeom>
        </p:spPr>
        <p:txBody>
          <a:bodyPr>
            <a:normAutofit/>
          </a:bodyPr>
          <a:lstStyle>
            <a:lvl1pPr marL="252922" indent="-252922" algn="l" defTabSz="914068" rtl="0" eaLnBrk="1" fontAlgn="base" latinLnBrk="0" hangingPunct="1">
              <a:spcBef>
                <a:spcPct val="40000"/>
              </a:spcBef>
              <a:spcAft>
                <a:spcPct val="0"/>
              </a:spcAft>
              <a:buClr>
                <a:schemeClr val="tx1"/>
              </a:buClr>
              <a:buSzPct val="100000"/>
              <a:buFont typeface="Verdana" pitchFamily="34" charset="0"/>
              <a:buChar char="•"/>
              <a:defRPr lang="en-US" altLang="zh-CN" sz="2200" kern="1200" noProof="1" dirty="0" smtClean="0">
                <a:solidFill>
                  <a:schemeClr val="tx1"/>
                </a:solidFill>
                <a:latin typeface="+mn-lt"/>
                <a:ea typeface="+mn-ea"/>
                <a:cs typeface="+mn-cs"/>
              </a:defRPr>
            </a:lvl1pPr>
          </a:lstStyle>
          <a:p>
            <a:r>
              <a:rPr lang="en-US" dirty="0"/>
              <a:t>Click icon to add table</a:t>
            </a:r>
          </a:p>
        </p:txBody>
      </p:sp>
      <p:sp>
        <p:nvSpPr>
          <p:cNvPr id="5"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sp>
        <p:nvSpPr>
          <p:cNvPr id="6"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7" name="Text Placeholder 6"/>
          <p:cNvSpPr>
            <a:spLocks noGrp="1"/>
          </p:cNvSpPr>
          <p:nvPr>
            <p:ph type="body" sz="quarter" idx="10" hasCustomPrompt="1"/>
          </p:nvPr>
        </p:nvSpPr>
        <p:spPr>
          <a:xfrm>
            <a:off x="2257207" y="2541733"/>
            <a:ext cx="4624916" cy="1725730"/>
          </a:xfrm>
        </p:spPr>
        <p:txBody>
          <a:bodyPr/>
          <a:lstStyle>
            <a:lvl1pPr>
              <a:lnSpc>
                <a:spcPct val="150000"/>
              </a:lnSpc>
              <a:defRPr sz="2000" baseline="0">
                <a:latin typeface="+mj-lt"/>
              </a:defRPr>
            </a:lvl1pPr>
          </a:lstStyle>
          <a:p>
            <a:pPr lvl="0"/>
            <a:r>
              <a:rPr lang="en-US" dirty="0"/>
              <a:t>First level bullet</a:t>
            </a:r>
          </a:p>
          <a:p>
            <a:pPr lvl="0"/>
            <a:r>
              <a:rPr lang="en-US" dirty="0"/>
              <a:t>First level bullet</a:t>
            </a:r>
          </a:p>
          <a:p>
            <a:pPr lvl="0"/>
            <a:r>
              <a:rPr lang="en-US" dirty="0"/>
              <a:t>First level bullet</a:t>
            </a:r>
            <a:endParaRPr lang="it-IT" dirty="0"/>
          </a:p>
        </p:txBody>
      </p:sp>
      <p:sp>
        <p:nvSpPr>
          <p:cNvPr id="4" name="Rectangle 8"/>
          <p:cNvSpPr>
            <a:spLocks noGrp="1" noChangeArrowheads="1"/>
          </p:cNvSpPr>
          <p:nvPr>
            <p:ph type="sldNum" sz="quarter" idx="11"/>
          </p:nvPr>
        </p:nvSpPr>
        <p:spPr>
          <a:xfrm>
            <a:off x="6818313" y="6302375"/>
            <a:ext cx="2133600" cy="476250"/>
          </a:xfrm>
          <a:ln/>
        </p:spPr>
        <p:txBody>
          <a:bodyPr/>
          <a:lstStyle>
            <a:lvl1pPr>
              <a:defRPr/>
            </a:lvl1pPr>
          </a:lstStyle>
          <a:p>
            <a:fld id="{FA8C94CF-DC14-409D-A359-9F5E91B971A0}" type="slidenum">
              <a:rPr lang="en-US" smtClean="0"/>
              <a:pPr/>
              <a:t>‹#›</a:t>
            </a:fld>
            <a:endParaRPr 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fld id="{FA8C94CF-DC14-409D-A359-9F5E91B971A0}" type="slidenum">
              <a:rPr lang="en-US" smtClean="0"/>
              <a:pPr/>
              <a:t>‹#›</a:t>
            </a:fld>
            <a:endParaRPr lang="en-US" dirty="0"/>
          </a:p>
        </p:txBody>
      </p:sp>
      <p:sp>
        <p:nvSpPr>
          <p:cNvPr id="4"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4"/>
            <a:ext cx="8229600" cy="152259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Rectangle 8"/>
          <p:cNvSpPr>
            <a:spLocks noGrp="1" noChangeArrowheads="1"/>
          </p:cNvSpPr>
          <p:nvPr>
            <p:ph type="sldNum" sz="quarter" idx="10"/>
          </p:nvPr>
        </p:nvSpPr>
        <p:spPr>
          <a:ln/>
        </p:spPr>
        <p:txBody>
          <a:bodyPr/>
          <a:lstStyle>
            <a:lvl1pPr>
              <a:defRPr/>
            </a:lvl1pPr>
          </a:lstStyle>
          <a:p>
            <a:fld id="{FA8C94CF-DC14-409D-A359-9F5E91B971A0}" type="slidenum">
              <a:rPr lang="en-US" smtClean="0"/>
              <a:pPr/>
              <a:t>‹#›</a:t>
            </a:fld>
            <a:endParaRPr lang="en-US" dirty="0"/>
          </a:p>
        </p:txBody>
      </p:sp>
      <p:sp>
        <p:nvSpPr>
          <p:cNvPr id="5"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4"/>
            <a:ext cx="4038600" cy="1522597"/>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4648200" y="1600204"/>
            <a:ext cx="4038600" cy="1522597"/>
          </a:xfrm>
          <a:prstGeom prst="rect">
            <a:avLst/>
          </a:prstGeom>
        </p:spPr>
        <p:txBody>
          <a:bodyPr/>
          <a:lstStyle>
            <a:lvl1pPr>
              <a:defRPr sz="1600">
                <a:latin typeface="Arial" pitchFamily="34" charset="0"/>
                <a:cs typeface="Arial" pitchFamily="34" charset="0"/>
              </a:defRPr>
            </a:lvl1pPr>
            <a:lvl2pPr>
              <a:defRPr sz="16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Rectangle 8"/>
          <p:cNvSpPr>
            <a:spLocks noGrp="1" noChangeArrowheads="1"/>
          </p:cNvSpPr>
          <p:nvPr>
            <p:ph type="sldNum" sz="quarter" idx="10"/>
          </p:nvPr>
        </p:nvSpPr>
        <p:spPr>
          <a:ln/>
        </p:spPr>
        <p:txBody>
          <a:bodyPr/>
          <a:lstStyle>
            <a:lvl1pPr>
              <a:defRPr/>
            </a:lvl1pPr>
          </a:lstStyle>
          <a:p>
            <a:fld id="{FA8C94CF-DC14-409D-A359-9F5E91B971A0}" type="slidenum">
              <a:rPr lang="en-US" smtClean="0"/>
              <a:pPr/>
              <a:t>‹#›</a:t>
            </a:fld>
            <a:endParaRPr lang="en-US" dirty="0"/>
          </a:p>
        </p:txBody>
      </p:sp>
      <p:sp>
        <p:nvSpPr>
          <p:cNvPr id="6"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1219204"/>
            <a:ext cx="5486400" cy="58695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endParaRPr lang="fr-FR" noProof="0" dirty="0"/>
          </a:p>
        </p:txBody>
      </p:sp>
      <p:sp>
        <p:nvSpPr>
          <p:cNvPr id="4" name="Text Placeholder 3"/>
          <p:cNvSpPr>
            <a:spLocks noGrp="1"/>
          </p:cNvSpPr>
          <p:nvPr>
            <p:ph type="body" sz="half" idx="2"/>
          </p:nvPr>
        </p:nvSpPr>
        <p:spPr>
          <a:xfrm>
            <a:off x="1792288" y="5367338"/>
            <a:ext cx="5486400" cy="309958"/>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fld id="{FA8C94CF-DC14-409D-A359-9F5E91B971A0}" type="slidenum">
              <a:rPr lang="en-US" smtClean="0"/>
              <a:pPr/>
              <a:t>‹#›</a:t>
            </a:fld>
            <a:endParaRPr lang="en-US" dirty="0"/>
          </a:p>
        </p:txBody>
      </p:sp>
      <p:sp>
        <p:nvSpPr>
          <p:cNvPr id="6" name="Title 1"/>
          <p:cNvSpPr txBox="1">
            <a:spLocks/>
          </p:cNvSpPr>
          <p:nvPr/>
        </p:nvSpPr>
        <p:spPr bwMode="white">
          <a:xfrm>
            <a:off x="280814" y="76200"/>
            <a:ext cx="8834097" cy="83580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eaLnBrk="0" hangingPunct="0">
              <a:defRPr/>
            </a:pPr>
            <a:r>
              <a:rPr lang="en-US" sz="1700" kern="0" dirty="0">
                <a:solidFill>
                  <a:srgbClr val="FFFFFF"/>
                </a:solidFill>
                <a:latin typeface="Verdana"/>
                <a:cs typeface="MS PGothic" pitchFamily="34" charset="-128"/>
              </a:rPr>
              <a:t>Click to edit Master title style</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FA8C94CF-DC14-409D-A359-9F5E91B971A0}" type="slidenum">
              <a:rPr lang="en-US" smtClean="0"/>
              <a:pPr/>
              <a:t>‹#›</a:t>
            </a:fld>
            <a:endParaRPr lang="en-US" dirty="0"/>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ctrTitle" sz="quarter"/>
          </p:nvPr>
        </p:nvSpPr>
        <p:spPr bwMode="auto">
          <a:xfrm>
            <a:off x="708025" y="3625850"/>
            <a:ext cx="7772400" cy="1282700"/>
          </a:xfrm>
        </p:spPr>
        <p:txBody>
          <a:bodyPr anchor="b"/>
          <a:lstStyle>
            <a:lvl1pPr algn="r">
              <a:defRPr sz="3600">
                <a:solidFill>
                  <a:schemeClr val="tx2"/>
                </a:solidFill>
              </a:defRPr>
            </a:lvl1pPr>
          </a:lstStyle>
          <a:p>
            <a:r>
              <a:rPr lang="en-US"/>
              <a:t>Click to edit Master title style</a:t>
            </a:r>
          </a:p>
        </p:txBody>
      </p:sp>
      <p:sp>
        <p:nvSpPr>
          <p:cNvPr id="5123" name="Rectangle 3"/>
          <p:cNvSpPr>
            <a:spLocks noGrp="1" noChangeArrowheads="1"/>
          </p:cNvSpPr>
          <p:nvPr>
            <p:ph type="subTitle" sz="quarter" idx="1"/>
          </p:nvPr>
        </p:nvSpPr>
        <p:spPr>
          <a:xfrm>
            <a:off x="2089150" y="4975230"/>
            <a:ext cx="6400800" cy="461665"/>
          </a:xfrm>
          <a:ln/>
        </p:spPr>
        <p:txBody>
          <a:bodyPr lIns="91440" tIns="45720" rIns="91440" bIns="45720"/>
          <a:lstStyle>
            <a:lvl1pPr marL="0" indent="0" algn="r">
              <a:buFont typeface="Verdana" pitchFamily="34" charset="0"/>
              <a:buNone/>
              <a:defRPr sz="2400"/>
            </a:lvl1pPr>
          </a:lstStyle>
          <a:p>
            <a:r>
              <a:rPr lang="en-US"/>
              <a:t>Click to edit Master sub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1"/>
          </p:nvPr>
        </p:nvSpPr>
        <p:spPr>
          <a:ln/>
        </p:spPr>
        <p:txBody>
          <a:bodyPr/>
          <a:lstStyle>
            <a:lvl1pPr>
              <a:defRPr/>
            </a:lvl1pPr>
          </a:lstStyle>
          <a:p>
            <a:pPr>
              <a:defRPr/>
            </a:pPr>
            <a:fld id="{6F775D97-3E48-450E-9CC5-FB68E80D272A}" type="slidenum">
              <a:rPr lang="en-US"/>
              <a:pPr>
                <a:defRPr/>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5BAF72B8-E346-4B70-980E-83753397BEEA}"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a:t>Click to edit Master title style</a:t>
            </a:r>
            <a:endParaRPr lang="fr-CA"/>
          </a:p>
        </p:txBody>
      </p:sp>
      <p:sp>
        <p:nvSpPr>
          <p:cNvPr id="3" name="Text Placeholder 2"/>
          <p:cNvSpPr>
            <a:spLocks noGrp="1"/>
          </p:cNvSpPr>
          <p:nvPr>
            <p:ph type="body" idx="1"/>
          </p:nvPr>
        </p:nvSpPr>
        <p:spPr>
          <a:xfrm>
            <a:off x="722313" y="4004611"/>
            <a:ext cx="7772400" cy="402291"/>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sldNum" sz="quarter" idx="10"/>
          </p:nvPr>
        </p:nvSpPr>
        <p:spPr>
          <a:ln/>
        </p:spPr>
        <p:txBody>
          <a:bodyPr/>
          <a:lstStyle>
            <a:lvl1pPr>
              <a:defRPr/>
            </a:lvl1pPr>
          </a:lstStyle>
          <a:p>
            <a:pPr>
              <a:defRPr/>
            </a:pPr>
            <a:fld id="{E2808FB0-DA33-4714-AEE5-B94F496215B3}"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Content Placeholder 2"/>
          <p:cNvSpPr>
            <a:spLocks noGrp="1"/>
          </p:cNvSpPr>
          <p:nvPr>
            <p:ph sz="half" idx="1"/>
          </p:nvPr>
        </p:nvSpPr>
        <p:spPr>
          <a:xfrm>
            <a:off x="700088" y="1277938"/>
            <a:ext cx="3816350" cy="24336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Content Placeholder 3"/>
          <p:cNvSpPr>
            <a:spLocks noGrp="1"/>
          </p:cNvSpPr>
          <p:nvPr>
            <p:ph sz="half" idx="2"/>
          </p:nvPr>
        </p:nvSpPr>
        <p:spPr>
          <a:xfrm>
            <a:off x="4668841" y="1277938"/>
            <a:ext cx="3817937" cy="24336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5" name="Rectangle 5"/>
          <p:cNvSpPr>
            <a:spLocks noGrp="1" noChangeArrowheads="1"/>
          </p:cNvSpPr>
          <p:nvPr>
            <p:ph type="sldNum" sz="quarter" idx="10"/>
          </p:nvPr>
        </p:nvSpPr>
        <p:spPr>
          <a:ln/>
        </p:spPr>
        <p:txBody>
          <a:bodyPr/>
          <a:lstStyle>
            <a:lvl1pPr>
              <a:defRPr/>
            </a:lvl1pPr>
          </a:lstStyle>
          <a:p>
            <a:pPr>
              <a:defRPr/>
            </a:pPr>
            <a:fld id="{84CB4C25-E849-426F-9102-2F132DB89CA4}"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fr-CA"/>
          </a:p>
        </p:txBody>
      </p:sp>
      <p:sp>
        <p:nvSpPr>
          <p:cNvPr id="3" name="Text Placeholder 2"/>
          <p:cNvSpPr>
            <a:spLocks noGrp="1"/>
          </p:cNvSpPr>
          <p:nvPr>
            <p:ph type="body" idx="1"/>
          </p:nvPr>
        </p:nvSpPr>
        <p:spPr>
          <a:xfrm>
            <a:off x="457200" y="1341697"/>
            <a:ext cx="4040188" cy="8331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7"/>
            <a:ext cx="4040188" cy="21258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5" name="Text Placeholder 4"/>
          <p:cNvSpPr>
            <a:spLocks noGrp="1"/>
          </p:cNvSpPr>
          <p:nvPr>
            <p:ph type="body" sz="quarter" idx="3"/>
          </p:nvPr>
        </p:nvSpPr>
        <p:spPr>
          <a:xfrm>
            <a:off x="4645028" y="1341697"/>
            <a:ext cx="4041775" cy="8331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7"/>
            <a:ext cx="4041775" cy="21258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7" name="Rectangle 5"/>
          <p:cNvSpPr>
            <a:spLocks noGrp="1" noChangeArrowheads="1"/>
          </p:cNvSpPr>
          <p:nvPr>
            <p:ph type="sldNum" sz="quarter" idx="10"/>
          </p:nvPr>
        </p:nvSpPr>
        <p:spPr>
          <a:ln/>
        </p:spPr>
        <p:txBody>
          <a:bodyPr/>
          <a:lstStyle>
            <a:lvl1pPr>
              <a:defRPr/>
            </a:lvl1pPr>
          </a:lstStyle>
          <a:p>
            <a:pPr>
              <a:defRPr/>
            </a:pPr>
            <a:fld id="{3746C081-F356-4B9C-98C9-6B3BCDEA7597}"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Rectangle 5"/>
          <p:cNvSpPr>
            <a:spLocks noGrp="1" noChangeArrowheads="1"/>
          </p:cNvSpPr>
          <p:nvPr>
            <p:ph type="sldNum" sz="quarter" idx="10"/>
          </p:nvPr>
        </p:nvSpPr>
        <p:spPr>
          <a:ln/>
        </p:spPr>
        <p:txBody>
          <a:bodyPr/>
          <a:lstStyle>
            <a:lvl1pPr>
              <a:defRPr/>
            </a:lvl1pPr>
          </a:lstStyle>
          <a:p>
            <a:pPr>
              <a:defRPr/>
            </a:pPr>
            <a:fld id="{77AA8B24-17F7-43EE-A21C-628F225A49E2}"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C6B80708-CC35-46A9-833C-90C52F7642AF}"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endParaRPr lang="fr-CA"/>
          </a:p>
        </p:txBody>
      </p:sp>
      <p:sp>
        <p:nvSpPr>
          <p:cNvPr id="3" name="Content Placeholder 2"/>
          <p:cNvSpPr>
            <a:spLocks noGrp="1"/>
          </p:cNvSpPr>
          <p:nvPr>
            <p:ph idx="1"/>
          </p:nvPr>
        </p:nvSpPr>
        <p:spPr>
          <a:xfrm>
            <a:off x="3575050" y="273053"/>
            <a:ext cx="5111750" cy="27783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Text Placeholder 3"/>
          <p:cNvSpPr>
            <a:spLocks noGrp="1"/>
          </p:cNvSpPr>
          <p:nvPr>
            <p:ph type="body" sz="half" idx="2"/>
          </p:nvPr>
        </p:nvSpPr>
        <p:spPr>
          <a:xfrm>
            <a:off x="457202" y="1435101"/>
            <a:ext cx="3008313" cy="309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49D0D913-6875-4E54-96EE-4A981B227319}"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fr-CA"/>
          </a:p>
        </p:txBody>
      </p:sp>
      <p:sp>
        <p:nvSpPr>
          <p:cNvPr id="3" name="Picture Placeholder 2"/>
          <p:cNvSpPr>
            <a:spLocks noGrp="1"/>
          </p:cNvSpPr>
          <p:nvPr>
            <p:ph type="pic" idx="1"/>
          </p:nvPr>
        </p:nvSpPr>
        <p:spPr>
          <a:xfrm>
            <a:off x="1792288" y="612775"/>
            <a:ext cx="5486400" cy="58695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CA" noProof="0"/>
          </a:p>
        </p:txBody>
      </p:sp>
      <p:sp>
        <p:nvSpPr>
          <p:cNvPr id="4" name="Text Placeholder 3"/>
          <p:cNvSpPr>
            <a:spLocks noGrp="1"/>
          </p:cNvSpPr>
          <p:nvPr>
            <p:ph type="body" sz="half" idx="2"/>
          </p:nvPr>
        </p:nvSpPr>
        <p:spPr>
          <a:xfrm>
            <a:off x="1792288" y="5367338"/>
            <a:ext cx="5486400" cy="309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67D85325-C75B-4D05-BE47-3C139C4A3A0A}"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Vertical Text Placeholder 2"/>
          <p:cNvSpPr>
            <a:spLocks noGrp="1"/>
          </p:cNvSpPr>
          <p:nvPr>
            <p:ph type="body" orient="vert" idx="1"/>
          </p:nvPr>
        </p:nvSpPr>
        <p:spPr>
          <a:xfrm>
            <a:off x="353138" y="1277942"/>
            <a:ext cx="8133638" cy="21012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92947061-432B-4A7F-8C2F-5E544693AC18}"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2752" y="52389"/>
            <a:ext cx="2189163" cy="2943225"/>
          </a:xfrm>
        </p:spPr>
        <p:txBody>
          <a:bodyPr vert="eaVert"/>
          <a:lstStyle/>
          <a:p>
            <a:r>
              <a:rPr lang="en-US"/>
              <a:t>Click to edit Master title style</a:t>
            </a:r>
            <a:endParaRPr lang="fr-CA"/>
          </a:p>
        </p:txBody>
      </p:sp>
      <p:sp>
        <p:nvSpPr>
          <p:cNvPr id="3" name="Vertical Text Placeholder 2"/>
          <p:cNvSpPr>
            <a:spLocks noGrp="1"/>
          </p:cNvSpPr>
          <p:nvPr>
            <p:ph type="body" orient="vert" idx="1"/>
          </p:nvPr>
        </p:nvSpPr>
        <p:spPr>
          <a:xfrm>
            <a:off x="3154917" y="52389"/>
            <a:ext cx="3455434" cy="2943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87D1137B-F6B5-4B4A-87CD-216B9FB67DDD}"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6"/>
          <p:cNvSpPr>
            <a:spLocks noGrp="1" noChangeArrowheads="1"/>
          </p:cNvSpPr>
          <p:nvPr>
            <p:ph type="sldNum" sz="quarter" idx="11"/>
          </p:nvPr>
        </p:nvSpPr>
        <p:spPr>
          <a:ln/>
        </p:spPr>
        <p:txBody>
          <a:bodyPr/>
          <a:lstStyle>
            <a:lvl1pPr>
              <a:defRPr/>
            </a:lvl1pPr>
          </a:lstStyle>
          <a:p>
            <a:pPr>
              <a:defRPr/>
            </a:pPr>
            <a:fld id="{F291D4E0-2D86-4F76-B315-863102A7728A}" type="slidenum">
              <a:rPr lang="en-US"/>
              <a:pPr>
                <a:defRPr/>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93675" y="52389"/>
            <a:ext cx="8758238" cy="2101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3" name="Rectangle 5"/>
          <p:cNvSpPr>
            <a:spLocks noGrp="1" noChangeArrowheads="1"/>
          </p:cNvSpPr>
          <p:nvPr>
            <p:ph type="sldNum" sz="quarter" idx="10"/>
          </p:nvPr>
        </p:nvSpPr>
        <p:spPr>
          <a:ln/>
        </p:spPr>
        <p:txBody>
          <a:bodyPr/>
          <a:lstStyle>
            <a:lvl1pPr>
              <a:defRPr/>
            </a:lvl1pPr>
          </a:lstStyle>
          <a:p>
            <a:pPr>
              <a:defRPr/>
            </a:pPr>
            <a:fld id="{084F57C6-7CB7-4FAF-A38D-B165C19199A2}"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3675" y="52388"/>
            <a:ext cx="8758238" cy="908050"/>
          </a:xfrm>
        </p:spPr>
        <p:txBody>
          <a:bodyPr/>
          <a:lstStyle/>
          <a:p>
            <a:r>
              <a:rPr lang="en-US"/>
              <a:t>Click to edit Master title style</a:t>
            </a:r>
            <a:endParaRPr lang="fr-CA"/>
          </a:p>
        </p:txBody>
      </p:sp>
      <p:sp>
        <p:nvSpPr>
          <p:cNvPr id="3" name="Table Placeholder 2"/>
          <p:cNvSpPr>
            <a:spLocks noGrp="1"/>
          </p:cNvSpPr>
          <p:nvPr>
            <p:ph type="tbl" idx="1"/>
          </p:nvPr>
        </p:nvSpPr>
        <p:spPr>
          <a:xfrm>
            <a:off x="700091" y="1277943"/>
            <a:ext cx="7786687" cy="402291"/>
          </a:xfrm>
        </p:spPr>
        <p:txBody>
          <a:bodyPr/>
          <a:lstStyle/>
          <a:p>
            <a:pPr lvl="0"/>
            <a:endParaRPr lang="fr-CA" noProof="0"/>
          </a:p>
        </p:txBody>
      </p:sp>
      <p:sp>
        <p:nvSpPr>
          <p:cNvPr id="4" name="Rectangle 5"/>
          <p:cNvSpPr>
            <a:spLocks noGrp="1" noChangeArrowheads="1"/>
          </p:cNvSpPr>
          <p:nvPr>
            <p:ph type="sldNum" sz="quarter" idx="10"/>
          </p:nvPr>
        </p:nvSpPr>
        <p:spPr>
          <a:ln/>
        </p:spPr>
        <p:txBody>
          <a:bodyPr/>
          <a:lstStyle>
            <a:lvl1pPr>
              <a:defRPr/>
            </a:lvl1pPr>
          </a:lstStyle>
          <a:p>
            <a:pPr>
              <a:defRPr/>
            </a:pPr>
            <a:fld id="{0DAD9C45-6D65-4929-97D3-57D83B26DD6B}" type="slidenum">
              <a:rPr lang="en-US">
                <a:solidFill>
                  <a:srgbClr val="000000"/>
                </a:solidFill>
              </a:rPr>
              <a:pPr>
                <a:defRPr/>
              </a:pPr>
              <a:t>‹#›</a:t>
            </a:fld>
            <a:endParaRPr lang="en-US">
              <a:solidFill>
                <a:srgbClr val="000000"/>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a typeface="+mn-ea"/>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a:t>Click to edit Master text styles</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56"/>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pPr>
              <a:defRPr/>
            </a:pPr>
            <a:fld id="{F291D4E0-2D86-4F76-B315-863102A7728A}" type="slidenum">
              <a:rPr lang="en-US">
                <a:solidFill>
                  <a:prstClr val="black"/>
                </a:solidFill>
              </a:rPr>
              <a:pPr>
                <a:defRPr/>
              </a:pPr>
              <a:t>‹#›</a:t>
            </a:fld>
            <a:endParaRPr lang="en-US" dirty="0">
              <a:solidFill>
                <a:prstClr val="black"/>
              </a:solidFill>
            </a:endParaRPr>
          </a:p>
        </p:txBody>
      </p:sp>
      <p:sp>
        <p:nvSpPr>
          <p:cNvPr id="5"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endParaRPr lang="en-US" dirty="0"/>
          </a:p>
        </p:txBody>
      </p:sp>
      <p:sp>
        <p:nvSpPr>
          <p:cNvPr id="7" name="Rectangle 6"/>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a:t>Click to edit Master text styles</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56"/>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pPr>
              <a:defRPr/>
            </a:pPr>
            <a:fld id="{F291D4E0-2D86-4F76-B315-863102A7728A}" type="slidenum">
              <a:rPr lang="en-US">
                <a:solidFill>
                  <a:prstClr val="black"/>
                </a:solidFill>
              </a:rPr>
              <a:pPr>
                <a:defRPr/>
              </a:pPr>
              <a:t>‹#›</a:t>
            </a:fld>
            <a:endParaRPr lang="en-US" dirty="0">
              <a:solidFill>
                <a:prstClr val="black"/>
              </a:solidFill>
            </a:endParaRPr>
          </a:p>
        </p:txBody>
      </p:sp>
      <p:sp>
        <p:nvSpPr>
          <p:cNvPr id="5"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endParaRPr lang="en-US" dirty="0"/>
          </a:p>
        </p:txBody>
      </p:sp>
      <p:sp>
        <p:nvSpPr>
          <p:cNvPr id="7" name="Rectangle 6"/>
          <p:cNvSpPr/>
          <p:nvPr userDrawn="1"/>
        </p:nvSpPr>
        <p:spPr>
          <a:xfrm>
            <a:off x="0" y="0"/>
            <a:ext cx="9144000"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fld id="{1CFA7100-0A9D-439F-9EFA-C2E9657F6782}"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700238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xfrm>
            <a:off x="685800" y="6248400"/>
            <a:ext cx="1905000" cy="457200"/>
          </a:xfrm>
          <a:prstGeom prst="rect">
            <a:avLst/>
          </a:prstGeom>
          <a:ln/>
        </p:spPr>
        <p:txBody>
          <a:bodyPr/>
          <a:lstStyle>
            <a:lvl1pPr>
              <a:defRPr/>
            </a:lvl1pPr>
          </a:lstStyle>
          <a:p>
            <a:pPr>
              <a:defRPr/>
            </a:pPr>
            <a:endParaRPr lang="en-US" dirty="0">
              <a:solidFill>
                <a:prstClr val="black"/>
              </a:solidFill>
            </a:endParaRPr>
          </a:p>
        </p:txBody>
      </p:sp>
      <p:sp>
        <p:nvSpPr>
          <p:cNvPr id="4" name="Rectangle 6"/>
          <p:cNvSpPr>
            <a:spLocks noGrp="1" noChangeArrowheads="1"/>
          </p:cNvSpPr>
          <p:nvPr>
            <p:ph type="sldNum" sz="quarter" idx="11"/>
          </p:nvPr>
        </p:nvSpPr>
        <p:spPr>
          <a:ln/>
        </p:spPr>
        <p:txBody>
          <a:bodyPr/>
          <a:lstStyle>
            <a:lvl1pPr>
              <a:defRPr/>
            </a:lvl1pPr>
          </a:lstStyle>
          <a:p>
            <a:pPr>
              <a:defRPr/>
            </a:pPr>
            <a:fld id="{D1475B93-9E10-4BAD-8DDD-7FCEEDF5E3D1}" type="slidenum">
              <a:rPr lang="en-US">
                <a:solidFill>
                  <a:prstClr val="black"/>
                </a:solidFill>
              </a:rPr>
              <a:pPr>
                <a:defRPr/>
              </a:pPr>
              <a:t>‹#›</a:t>
            </a:fld>
            <a:endParaRPr lang="en-US" dirty="0">
              <a:solidFill>
                <a:prstClr val="black"/>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2"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1"/>
          </p:nvPr>
        </p:nvSpPr>
        <p:spPr>
          <a:ln/>
        </p:spPr>
        <p:txBody>
          <a:bodyPr/>
          <a:lstStyle>
            <a:lvl1pPr>
              <a:defRPr/>
            </a:lvl1pPr>
          </a:lstStyle>
          <a:p>
            <a:pPr>
              <a:defRPr/>
            </a:pPr>
            <a:fld id="{80E3A83C-8EF8-4FAF-8A06-B81FA4E47BBA}" type="slidenum">
              <a:rPr lang="en-US"/>
              <a:pPr>
                <a:defRPr/>
              </a:pPr>
              <a:t>‹#›</a:t>
            </a:fld>
            <a:endParaRPr lang="en-US"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Clinton Foundation"/>
          <p:cNvPicPr>
            <a:picLocks noChangeAspect="1" noChangeArrowheads="1"/>
          </p:cNvPicPr>
          <p:nvPr/>
        </p:nvPicPr>
        <p:blipFill>
          <a:blip r:embed="rId2" cstate="print"/>
          <a:srcRect/>
          <a:stretch>
            <a:fillRect/>
          </a:stretch>
        </p:blipFill>
        <p:spPr bwMode="auto">
          <a:xfrm>
            <a:off x="5897565" y="2203456"/>
            <a:ext cx="2870200" cy="1458913"/>
          </a:xfrm>
          <a:prstGeom prst="rect">
            <a:avLst/>
          </a:prstGeom>
          <a:noFill/>
          <a:ln w="9525">
            <a:noFill/>
            <a:miter lim="800000"/>
            <a:headEnd/>
            <a:tailEnd/>
          </a:ln>
        </p:spPr>
      </p:pic>
      <p:sp>
        <p:nvSpPr>
          <p:cNvPr id="5122" name="Rectangle 2"/>
          <p:cNvSpPr>
            <a:spLocks noGrp="1" noChangeArrowheads="1"/>
          </p:cNvSpPr>
          <p:nvPr>
            <p:ph type="ctrTitle" sz="quarter"/>
          </p:nvPr>
        </p:nvSpPr>
        <p:spPr bwMode="auto">
          <a:xfrm>
            <a:off x="708025" y="3625850"/>
            <a:ext cx="7772400" cy="1282700"/>
          </a:xfrm>
        </p:spPr>
        <p:txBody>
          <a:bodyPr anchor="b"/>
          <a:lstStyle>
            <a:lvl1pPr algn="r">
              <a:defRPr sz="3600">
                <a:solidFill>
                  <a:schemeClr val="tx2"/>
                </a:solidFill>
              </a:defRPr>
            </a:lvl1pPr>
          </a:lstStyle>
          <a:p>
            <a:r>
              <a:rPr lang="en-US"/>
              <a:t>Click to edit Master title style</a:t>
            </a:r>
          </a:p>
        </p:txBody>
      </p:sp>
      <p:sp>
        <p:nvSpPr>
          <p:cNvPr id="5123" name="Rectangle 3"/>
          <p:cNvSpPr>
            <a:spLocks noGrp="1" noChangeArrowheads="1"/>
          </p:cNvSpPr>
          <p:nvPr>
            <p:ph type="subTitle" sz="quarter" idx="1"/>
          </p:nvPr>
        </p:nvSpPr>
        <p:spPr>
          <a:xfrm>
            <a:off x="2089150" y="4975230"/>
            <a:ext cx="6400800" cy="461665"/>
          </a:xfrm>
          <a:ln/>
        </p:spPr>
        <p:txBody>
          <a:bodyPr lIns="91440" tIns="45720" rIns="91440" bIns="45720"/>
          <a:lstStyle>
            <a:lvl1pPr marL="0" indent="0" algn="r">
              <a:buFont typeface="Verdana" pitchFamily="34" charset="0"/>
              <a:buNone/>
              <a:defRPr sz="2400"/>
            </a:lvl1pPr>
          </a:lstStyle>
          <a:p>
            <a:r>
              <a:rPr lang="en-US"/>
              <a:t>Click to edit Master subtitle style</a:t>
            </a:r>
          </a:p>
        </p:txBody>
      </p:sp>
    </p:spTree>
    <p:extLst>
      <p:ext uri="{BB962C8B-B14F-4D97-AF65-F5344CB8AC3E}">
        <p14:creationId xmlns:p14="http://schemas.microsoft.com/office/powerpoint/2010/main" val="1651593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5BAF72B8-E346-4B70-980E-83753397BEE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632412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a:t>Click to edit Master title style</a:t>
            </a:r>
            <a:endParaRPr lang="fr-CA"/>
          </a:p>
        </p:txBody>
      </p:sp>
      <p:sp>
        <p:nvSpPr>
          <p:cNvPr id="3" name="Text Placeholder 2"/>
          <p:cNvSpPr>
            <a:spLocks noGrp="1"/>
          </p:cNvSpPr>
          <p:nvPr>
            <p:ph type="body" idx="1"/>
          </p:nvPr>
        </p:nvSpPr>
        <p:spPr>
          <a:xfrm>
            <a:off x="722313" y="4004611"/>
            <a:ext cx="7772400" cy="402291"/>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sldNum" sz="quarter" idx="10"/>
          </p:nvPr>
        </p:nvSpPr>
        <p:spPr>
          <a:ln/>
        </p:spPr>
        <p:txBody>
          <a:bodyPr/>
          <a:lstStyle>
            <a:lvl1pPr>
              <a:defRPr/>
            </a:lvl1pPr>
          </a:lstStyle>
          <a:p>
            <a:pPr>
              <a:defRPr/>
            </a:pPr>
            <a:fld id="{E2808FB0-DA33-4714-AEE5-B94F496215B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099737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Content Placeholder 2"/>
          <p:cNvSpPr>
            <a:spLocks noGrp="1"/>
          </p:cNvSpPr>
          <p:nvPr>
            <p:ph sz="half" idx="1"/>
          </p:nvPr>
        </p:nvSpPr>
        <p:spPr>
          <a:xfrm>
            <a:off x="700088" y="1277938"/>
            <a:ext cx="3816350" cy="24336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Content Placeholder 3"/>
          <p:cNvSpPr>
            <a:spLocks noGrp="1"/>
          </p:cNvSpPr>
          <p:nvPr>
            <p:ph sz="half" idx="2"/>
          </p:nvPr>
        </p:nvSpPr>
        <p:spPr>
          <a:xfrm>
            <a:off x="4668841" y="1277938"/>
            <a:ext cx="3817937" cy="243361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5" name="Rectangle 5"/>
          <p:cNvSpPr>
            <a:spLocks noGrp="1" noChangeArrowheads="1"/>
          </p:cNvSpPr>
          <p:nvPr>
            <p:ph type="sldNum" sz="quarter" idx="10"/>
          </p:nvPr>
        </p:nvSpPr>
        <p:spPr>
          <a:ln/>
        </p:spPr>
        <p:txBody>
          <a:bodyPr/>
          <a:lstStyle>
            <a:lvl1pPr>
              <a:defRPr/>
            </a:lvl1pPr>
          </a:lstStyle>
          <a:p>
            <a:pPr>
              <a:defRPr/>
            </a:pPr>
            <a:fld id="{84CB4C25-E849-426F-9102-2F132DB89CA4}"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7164542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fr-CA"/>
          </a:p>
        </p:txBody>
      </p:sp>
      <p:sp>
        <p:nvSpPr>
          <p:cNvPr id="3" name="Text Placeholder 2"/>
          <p:cNvSpPr>
            <a:spLocks noGrp="1"/>
          </p:cNvSpPr>
          <p:nvPr>
            <p:ph type="body" idx="1"/>
          </p:nvPr>
        </p:nvSpPr>
        <p:spPr>
          <a:xfrm>
            <a:off x="457200" y="1341697"/>
            <a:ext cx="4040188" cy="8331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7"/>
            <a:ext cx="4040188" cy="21258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5" name="Text Placeholder 4"/>
          <p:cNvSpPr>
            <a:spLocks noGrp="1"/>
          </p:cNvSpPr>
          <p:nvPr>
            <p:ph type="body" sz="quarter" idx="3"/>
          </p:nvPr>
        </p:nvSpPr>
        <p:spPr>
          <a:xfrm>
            <a:off x="4645028" y="1341697"/>
            <a:ext cx="4041775" cy="83317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7"/>
            <a:ext cx="4041775" cy="212583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7" name="Rectangle 5"/>
          <p:cNvSpPr>
            <a:spLocks noGrp="1" noChangeArrowheads="1"/>
          </p:cNvSpPr>
          <p:nvPr>
            <p:ph type="sldNum" sz="quarter" idx="10"/>
          </p:nvPr>
        </p:nvSpPr>
        <p:spPr>
          <a:ln/>
        </p:spPr>
        <p:txBody>
          <a:bodyPr/>
          <a:lstStyle>
            <a:lvl1pPr>
              <a:defRPr/>
            </a:lvl1pPr>
          </a:lstStyle>
          <a:p>
            <a:pPr>
              <a:defRPr/>
            </a:pPr>
            <a:fld id="{3746C081-F356-4B9C-98C9-6B3BCDEA75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7202082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Rectangle 5"/>
          <p:cNvSpPr>
            <a:spLocks noGrp="1" noChangeArrowheads="1"/>
          </p:cNvSpPr>
          <p:nvPr>
            <p:ph type="sldNum" sz="quarter" idx="10"/>
          </p:nvPr>
        </p:nvSpPr>
        <p:spPr>
          <a:ln/>
        </p:spPr>
        <p:txBody>
          <a:bodyPr/>
          <a:lstStyle>
            <a:lvl1pPr>
              <a:defRPr/>
            </a:lvl1pPr>
          </a:lstStyle>
          <a:p>
            <a:pPr>
              <a:defRPr/>
            </a:pPr>
            <a:fld id="{77AA8B24-17F7-43EE-A21C-628F225A49E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043949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C6B80708-CC35-46A9-833C-90C52F7642A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593628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endParaRPr lang="fr-CA"/>
          </a:p>
        </p:txBody>
      </p:sp>
      <p:sp>
        <p:nvSpPr>
          <p:cNvPr id="3" name="Content Placeholder 2"/>
          <p:cNvSpPr>
            <a:spLocks noGrp="1"/>
          </p:cNvSpPr>
          <p:nvPr>
            <p:ph idx="1"/>
          </p:nvPr>
        </p:nvSpPr>
        <p:spPr>
          <a:xfrm>
            <a:off x="3575050" y="273053"/>
            <a:ext cx="5111750" cy="277832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Text Placeholder 3"/>
          <p:cNvSpPr>
            <a:spLocks noGrp="1"/>
          </p:cNvSpPr>
          <p:nvPr>
            <p:ph type="body" sz="half" idx="2"/>
          </p:nvPr>
        </p:nvSpPr>
        <p:spPr>
          <a:xfrm>
            <a:off x="457202" y="1435101"/>
            <a:ext cx="3008313" cy="309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49D0D913-6875-4E54-96EE-4A981B22731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784623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fr-CA"/>
          </a:p>
        </p:txBody>
      </p:sp>
      <p:sp>
        <p:nvSpPr>
          <p:cNvPr id="3" name="Picture Placeholder 2"/>
          <p:cNvSpPr>
            <a:spLocks noGrp="1"/>
          </p:cNvSpPr>
          <p:nvPr>
            <p:ph type="pic" idx="1"/>
          </p:nvPr>
        </p:nvSpPr>
        <p:spPr>
          <a:xfrm>
            <a:off x="1792288" y="612775"/>
            <a:ext cx="5486400" cy="58695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CA" noProof="0"/>
          </a:p>
        </p:txBody>
      </p:sp>
      <p:sp>
        <p:nvSpPr>
          <p:cNvPr id="4" name="Text Placeholder 3"/>
          <p:cNvSpPr>
            <a:spLocks noGrp="1"/>
          </p:cNvSpPr>
          <p:nvPr>
            <p:ph type="body" sz="half" idx="2"/>
          </p:nvPr>
        </p:nvSpPr>
        <p:spPr>
          <a:xfrm>
            <a:off x="1792288" y="5367338"/>
            <a:ext cx="5486400" cy="30995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pPr>
              <a:defRPr/>
            </a:pPr>
            <a:fld id="{67D85325-C75B-4D05-BE47-3C139C4A3A0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614617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CA"/>
          </a:p>
        </p:txBody>
      </p:sp>
      <p:sp>
        <p:nvSpPr>
          <p:cNvPr id="3" name="Vertical Text Placeholder 2"/>
          <p:cNvSpPr>
            <a:spLocks noGrp="1"/>
          </p:cNvSpPr>
          <p:nvPr>
            <p:ph type="body" orient="vert" idx="1"/>
          </p:nvPr>
        </p:nvSpPr>
        <p:spPr>
          <a:xfrm>
            <a:off x="353138" y="1277942"/>
            <a:ext cx="8133638" cy="21012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92947061-432B-4A7F-8C2F-5E544693AC1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793526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1"/>
          </p:nvPr>
        </p:nvSpPr>
        <p:spPr>
          <a:ln/>
        </p:spPr>
        <p:txBody>
          <a:bodyPr/>
          <a:lstStyle>
            <a:lvl1pPr>
              <a:defRPr/>
            </a:lvl1pPr>
          </a:lstStyle>
          <a:p>
            <a:pPr>
              <a:defRPr/>
            </a:pPr>
            <a:fld id="{C3893C33-9756-4DE5-BBAA-EF2DDFC387F6}" type="slidenum">
              <a:rPr lang="en-US"/>
              <a:pPr>
                <a:defRPr/>
              </a:pPr>
              <a:t>‹#›</a:t>
            </a:fld>
            <a:endParaRPr lang="en-US"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2752" y="52389"/>
            <a:ext cx="2189163" cy="2943225"/>
          </a:xfrm>
        </p:spPr>
        <p:txBody>
          <a:bodyPr vert="eaVert"/>
          <a:lstStyle/>
          <a:p>
            <a:r>
              <a:rPr lang="en-US"/>
              <a:t>Click to edit Master title style</a:t>
            </a:r>
            <a:endParaRPr lang="fr-CA"/>
          </a:p>
        </p:txBody>
      </p:sp>
      <p:sp>
        <p:nvSpPr>
          <p:cNvPr id="3" name="Vertical Text Placeholder 2"/>
          <p:cNvSpPr>
            <a:spLocks noGrp="1"/>
          </p:cNvSpPr>
          <p:nvPr>
            <p:ph type="body" orient="vert" idx="1"/>
          </p:nvPr>
        </p:nvSpPr>
        <p:spPr>
          <a:xfrm>
            <a:off x="3154917" y="52389"/>
            <a:ext cx="3455434" cy="2943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4" name="Rectangle 5"/>
          <p:cNvSpPr>
            <a:spLocks noGrp="1" noChangeArrowheads="1"/>
          </p:cNvSpPr>
          <p:nvPr>
            <p:ph type="sldNum" sz="quarter" idx="10"/>
          </p:nvPr>
        </p:nvSpPr>
        <p:spPr>
          <a:ln/>
        </p:spPr>
        <p:txBody>
          <a:bodyPr/>
          <a:lstStyle>
            <a:lvl1pPr>
              <a:defRPr/>
            </a:lvl1pPr>
          </a:lstStyle>
          <a:p>
            <a:pPr>
              <a:defRPr/>
            </a:pPr>
            <a:fld id="{87D1137B-F6B5-4B4A-87CD-216B9FB67DD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67623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93675" y="52389"/>
            <a:ext cx="8758238" cy="21012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A"/>
          </a:p>
        </p:txBody>
      </p:sp>
      <p:sp>
        <p:nvSpPr>
          <p:cNvPr id="3" name="Rectangle 5"/>
          <p:cNvSpPr>
            <a:spLocks noGrp="1" noChangeArrowheads="1"/>
          </p:cNvSpPr>
          <p:nvPr>
            <p:ph type="sldNum" sz="quarter" idx="10"/>
          </p:nvPr>
        </p:nvSpPr>
        <p:spPr>
          <a:ln/>
        </p:spPr>
        <p:txBody>
          <a:bodyPr/>
          <a:lstStyle>
            <a:lvl1pPr>
              <a:defRPr/>
            </a:lvl1pPr>
          </a:lstStyle>
          <a:p>
            <a:pPr>
              <a:defRPr/>
            </a:pPr>
            <a:fld id="{084F57C6-7CB7-4FAF-A38D-B165C19199A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7966586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3675" y="52388"/>
            <a:ext cx="8758238" cy="908050"/>
          </a:xfrm>
        </p:spPr>
        <p:txBody>
          <a:bodyPr/>
          <a:lstStyle/>
          <a:p>
            <a:r>
              <a:rPr lang="en-US"/>
              <a:t>Click to edit Master title style</a:t>
            </a:r>
            <a:endParaRPr lang="fr-CA"/>
          </a:p>
        </p:txBody>
      </p:sp>
      <p:sp>
        <p:nvSpPr>
          <p:cNvPr id="3" name="Table Placeholder 2"/>
          <p:cNvSpPr>
            <a:spLocks noGrp="1"/>
          </p:cNvSpPr>
          <p:nvPr>
            <p:ph type="tbl" idx="1"/>
          </p:nvPr>
        </p:nvSpPr>
        <p:spPr>
          <a:xfrm>
            <a:off x="700091" y="1277943"/>
            <a:ext cx="7786687" cy="402291"/>
          </a:xfrm>
        </p:spPr>
        <p:txBody>
          <a:bodyPr/>
          <a:lstStyle/>
          <a:p>
            <a:pPr lvl="0"/>
            <a:endParaRPr lang="fr-CA" noProof="0"/>
          </a:p>
        </p:txBody>
      </p:sp>
      <p:sp>
        <p:nvSpPr>
          <p:cNvPr id="4" name="Rectangle 5"/>
          <p:cNvSpPr>
            <a:spLocks noGrp="1" noChangeArrowheads="1"/>
          </p:cNvSpPr>
          <p:nvPr>
            <p:ph type="sldNum" sz="quarter" idx="10"/>
          </p:nvPr>
        </p:nvSpPr>
        <p:spPr>
          <a:ln/>
        </p:spPr>
        <p:txBody>
          <a:bodyPr/>
          <a:lstStyle>
            <a:lvl1pPr>
              <a:defRPr/>
            </a:lvl1pPr>
          </a:lstStyle>
          <a:p>
            <a:pPr>
              <a:defRPr/>
            </a:pPr>
            <a:fld id="{0DAD9C45-6D65-4929-97D3-57D83B26DD6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0165363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4" name="Rectangle 3"/>
          <p:cNvSpPr/>
          <p:nvPr userDrawn="1"/>
        </p:nvSpPr>
        <p:spPr>
          <a:xfrm>
            <a:off x="0" y="0"/>
            <a:ext cx="9144000" cy="533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5" name="Title 1"/>
          <p:cNvSpPr txBox="1">
            <a:spLocks/>
          </p:cNvSpPr>
          <p:nvPr userDrawn="1"/>
        </p:nvSpPr>
        <p:spPr>
          <a:xfrm>
            <a:off x="457200" y="3657600"/>
            <a:ext cx="8229600" cy="1143000"/>
          </a:xfrm>
          <a:prstGeom prst="rect">
            <a:avLst/>
          </a:prstGeom>
        </p:spPr>
        <p:txBody>
          <a:bodyPr anchor="ctr">
            <a:normAutofit/>
          </a:bodyPr>
          <a:lstStyle>
            <a:lvl1pPr algn="l">
              <a:defRPr>
                <a:solidFill>
                  <a:schemeClr val="bg1"/>
                </a:solidFill>
              </a:defRPr>
            </a:lvl1pPr>
          </a:lstStyle>
          <a:p>
            <a:pPr fontAlgn="auto">
              <a:spcAft>
                <a:spcPts val="0"/>
              </a:spcAft>
              <a:defRPr/>
            </a:pPr>
            <a:endParaRPr lang="en-US" sz="4400" dirty="0">
              <a:solidFill>
                <a:prstClr val="white"/>
              </a:solidFill>
              <a:latin typeface="Calibri"/>
              <a:ea typeface="+mn-ea"/>
            </a:endParaRPr>
          </a:p>
        </p:txBody>
      </p:sp>
      <p:sp>
        <p:nvSpPr>
          <p:cNvPr id="20" name="Title 19"/>
          <p:cNvSpPr>
            <a:spLocks noGrp="1"/>
          </p:cNvSpPr>
          <p:nvPr>
            <p:ph type="title"/>
          </p:nvPr>
        </p:nvSpPr>
        <p:spPr>
          <a:xfrm>
            <a:off x="457200" y="2057400"/>
            <a:ext cx="8229600" cy="1143000"/>
          </a:xfrm>
          <a:ln>
            <a:noFill/>
          </a:ln>
        </p:spPr>
        <p:txBody>
          <a:bodyPr>
            <a:noAutofit/>
          </a:bodyPr>
          <a:lstStyle>
            <a:lvl1pPr algn="l">
              <a:defRPr sz="4400" b="0" baseline="0">
                <a:solidFill>
                  <a:schemeClr val="bg1"/>
                </a:solidFill>
              </a:defRPr>
            </a:lvl1pPr>
          </a:lstStyle>
          <a:p>
            <a:r>
              <a:rPr lang="en-US"/>
              <a:t>Click to edit Master title style</a:t>
            </a:r>
            <a:endParaRPr lang="en-US" dirty="0"/>
          </a:p>
        </p:txBody>
      </p:sp>
      <p:sp>
        <p:nvSpPr>
          <p:cNvPr id="15" name="Text Placeholder 14"/>
          <p:cNvSpPr>
            <a:spLocks noGrp="1"/>
          </p:cNvSpPr>
          <p:nvPr>
            <p:ph type="body" sz="quarter" idx="10"/>
          </p:nvPr>
        </p:nvSpPr>
        <p:spPr>
          <a:xfrm>
            <a:off x="457200" y="3657600"/>
            <a:ext cx="8229600" cy="685800"/>
          </a:xfrm>
        </p:spPr>
        <p:txBody>
          <a:bodyPr>
            <a:normAutofit/>
          </a:bodyPr>
          <a:lstStyle>
            <a:lvl1pPr>
              <a:buNone/>
              <a:defRPr sz="3600" i="1" baseline="0">
                <a:solidFill>
                  <a:schemeClr val="bg1"/>
                </a:solidFill>
              </a:defRPr>
            </a:lvl1pPr>
          </a:lstStyle>
          <a:p>
            <a:pPr lvl="0"/>
            <a:r>
              <a:rPr lang="en-US"/>
              <a:t>Click to edit Master text styles</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9144000" cy="1219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sz="1800" dirty="0">
              <a:solidFill>
                <a:prstClr val="white"/>
              </a:solidFill>
            </a:endParaRPr>
          </a:p>
        </p:txBody>
      </p:sp>
      <p:sp>
        <p:nvSpPr>
          <p:cNvPr id="2" name="Title 1"/>
          <p:cNvSpPr>
            <a:spLocks noGrp="1"/>
          </p:cNvSpPr>
          <p:nvPr>
            <p:ph type="ctrTitle"/>
          </p:nvPr>
        </p:nvSpPr>
        <p:spPr>
          <a:xfrm>
            <a:off x="152400" y="2"/>
            <a:ext cx="8839200" cy="1219199"/>
          </a:xfrm>
        </p:spPr>
        <p:txBody>
          <a:bodyPr>
            <a:normAutofit/>
          </a:bodyPr>
          <a:lstStyle>
            <a:lvl1pPr algn="l">
              <a:defRPr sz="3200" baseline="0">
                <a:solidFill>
                  <a:schemeClr val="bg1"/>
                </a:solidFill>
              </a:defRPr>
            </a:lvl1pPr>
          </a:lstStyle>
          <a:p>
            <a:r>
              <a:rPr lang="en-US"/>
              <a:t>Click to edit Master title style</a:t>
            </a:r>
            <a:endParaRPr lang="en-US" dirty="0"/>
          </a:p>
        </p:txBody>
      </p:sp>
      <p:sp>
        <p:nvSpPr>
          <p:cNvPr id="8" name="Content Placeholder 8"/>
          <p:cNvSpPr>
            <a:spLocks noGrp="1"/>
          </p:cNvSpPr>
          <p:nvPr>
            <p:ph sz="quarter" idx="11"/>
          </p:nvPr>
        </p:nvSpPr>
        <p:spPr>
          <a:xfrm>
            <a:off x="685800" y="1676400"/>
            <a:ext cx="8229600"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8305800" y="6356356"/>
            <a:ext cx="685800"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a:prstGeom prst="rect">
            <a:avLst/>
          </a:prstGeom>
        </p:spPr>
        <p:txBody>
          <a:bodyPr/>
          <a:lstStyle>
            <a:lvl1pPr algn="l">
              <a:defRPr sz="2800">
                <a:solidFill>
                  <a:schemeClr val="tx1"/>
                </a:solidFill>
                <a:latin typeface="Verdana" pitchFamily="34" charset="0"/>
                <a:ea typeface="Verdana" pitchFamily="34" charset="0"/>
                <a:cs typeface="Verdana" pitchFamily="34" charset="0"/>
              </a:defRPr>
            </a:lvl1pPr>
          </a:lstStyle>
          <a:p>
            <a:r>
              <a:rPr lang="en-US"/>
              <a:t>Click to edit Master title style</a:t>
            </a:r>
            <a:endParaRPr lang="fr-FR" dirty="0"/>
          </a:p>
        </p:txBody>
      </p:sp>
      <p:sp>
        <p:nvSpPr>
          <p:cNvPr id="3" name="Subtitle 2"/>
          <p:cNvSpPr>
            <a:spLocks noGrp="1"/>
          </p:cNvSpPr>
          <p:nvPr>
            <p:ph type="subTitle" idx="1"/>
          </p:nvPr>
        </p:nvSpPr>
        <p:spPr>
          <a:xfrm>
            <a:off x="685800" y="3886204"/>
            <a:ext cx="6400800" cy="371513"/>
          </a:xfrm>
          <a:prstGeom prst="rect">
            <a:avLst/>
          </a:prstGeom>
        </p:spPr>
        <p:txBody>
          <a:bodyPr/>
          <a:lstStyle>
            <a:lvl1pPr marL="0" indent="0" algn="l">
              <a:buNone/>
              <a:defRPr sz="1800">
                <a:latin typeface="Verdana" pitchFamily="34" charset="0"/>
                <a:ea typeface="Verdana" pitchFamily="34" charset="0"/>
                <a:cs typeface="Verdana"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fr-FR"/>
          </a:p>
        </p:txBody>
      </p:sp>
      <p:pic>
        <p:nvPicPr>
          <p:cNvPr id="5" name="Picture 8" descr="CHAI_Interim Logo (Feb 2010)"/>
          <p:cNvPicPr>
            <a:picLocks noChangeAspect="1" noChangeArrowheads="1"/>
          </p:cNvPicPr>
          <p:nvPr/>
        </p:nvPicPr>
        <p:blipFill>
          <a:blip r:embed="rId2" cstate="screen"/>
          <a:srcRect/>
          <a:stretch>
            <a:fillRect/>
          </a:stretch>
        </p:blipFill>
        <p:spPr bwMode="auto">
          <a:xfrm>
            <a:off x="6324603" y="5562600"/>
            <a:ext cx="2700337" cy="1143000"/>
          </a:xfrm>
          <a:prstGeom prst="rect">
            <a:avLst/>
          </a:prstGeom>
          <a:noFill/>
          <a:ln w="9525">
            <a:noFill/>
            <a:miter lim="800000"/>
            <a:headEnd/>
            <a:tailEnd/>
          </a:ln>
        </p:spPr>
      </p:pic>
    </p:spTree>
    <p:extLst>
      <p:ext uri="{BB962C8B-B14F-4D97-AF65-F5344CB8AC3E}">
        <p14:creationId xmlns:p14="http://schemas.microsoft.com/office/powerpoint/2010/main" val="29798162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sp>
        <p:nvSpPr>
          <p:cNvPr id="3" name="Picture Placeholder 7"/>
          <p:cNvSpPr>
            <a:spLocks noGrp="1"/>
          </p:cNvSpPr>
          <p:nvPr>
            <p:ph type="pic" sz="quarter" idx="12" hasCustomPrompt="1"/>
          </p:nvPr>
        </p:nvSpPr>
        <p:spPr>
          <a:xfrm>
            <a:off x="353586" y="1292913"/>
            <a:ext cx="8438320" cy="5095600"/>
          </a:xfrm>
          <a:prstGeom prst="rect">
            <a:avLst/>
          </a:prstGeom>
          <a:blipFill>
            <a:blip r:embed="rId2" cstate="screen"/>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2" name="Title 1"/>
          <p:cNvSpPr>
            <a:spLocks noGrp="1"/>
          </p:cNvSpPr>
          <p:nvPr>
            <p:ph type="title"/>
          </p:nvPr>
        </p:nvSpPr>
        <p:spPr>
          <a:xfrm>
            <a:off x="280814" y="78592"/>
            <a:ext cx="8834097" cy="835808"/>
          </a:xfrm>
          <a:prstGeom prst="rect">
            <a:avLst/>
          </a:prstGeom>
        </p:spPr>
        <p:txBody>
          <a:bodyPr/>
          <a:lstStyle/>
          <a:p>
            <a:r>
              <a:rPr lang="en-US"/>
              <a:t>Click to edit Master title style</a:t>
            </a:r>
            <a:endParaRPr lang="en-US" dirty="0"/>
          </a:p>
        </p:txBody>
      </p:sp>
      <p:sp>
        <p:nvSpPr>
          <p:cNvPr id="4"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a:p>
        </p:txBody>
      </p:sp>
    </p:spTree>
    <p:extLst>
      <p:ext uri="{BB962C8B-B14F-4D97-AF65-F5344CB8AC3E}">
        <p14:creationId xmlns:p14="http://schemas.microsoft.com/office/powerpoint/2010/main" val="35714210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hasCustomPrompt="1"/>
          </p:nvPr>
        </p:nvSpPr>
        <p:spPr>
          <a:xfrm>
            <a:off x="353588" y="1292913"/>
            <a:ext cx="4004323" cy="5095600"/>
          </a:xfrm>
          <a:prstGeom prst="rect">
            <a:avLst/>
          </a:prstGeom>
          <a:blipFill>
            <a:blip r:embed="rId2" cstate="screen"/>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5" name="Picture Placeholder 7"/>
          <p:cNvSpPr>
            <a:spLocks noGrp="1"/>
          </p:cNvSpPr>
          <p:nvPr>
            <p:ph type="pic" sz="quarter" idx="13" hasCustomPrompt="1"/>
          </p:nvPr>
        </p:nvSpPr>
        <p:spPr>
          <a:xfrm>
            <a:off x="4789078" y="1292913"/>
            <a:ext cx="4004323" cy="5095600"/>
          </a:xfrm>
          <a:prstGeom prst="rect">
            <a:avLst/>
          </a:prstGeom>
          <a:blipFill>
            <a:blip r:embed="rId2" cstate="screen"/>
            <a:stretch>
              <a:fillRect/>
            </a:stretch>
          </a:blipFill>
        </p:spPr>
        <p:txBody>
          <a:bodyPr>
            <a:normAutofit/>
          </a:bodyPr>
          <a:lstStyle>
            <a:lvl1pPr marL="252922" indent="-252922" algn="l" defTabSz="914068" rtl="0" eaLnBrk="1" fontAlgn="base" latinLnBrk="0" hangingPunct="1">
              <a:spcBef>
                <a:spcPct val="40000"/>
              </a:spcBef>
              <a:spcAft>
                <a:spcPct val="0"/>
              </a:spcAft>
              <a:buClr>
                <a:schemeClr val="tx1"/>
              </a:buClr>
              <a:buSzPct val="100000"/>
              <a:buFont typeface="Verdana" pitchFamily="34" charset="0"/>
              <a:buChar char="•"/>
              <a:defRPr lang="en-US" altLang="zh-CN" sz="2200" kern="1200" noProof="1" dirty="0">
                <a:solidFill>
                  <a:schemeClr val="tx1"/>
                </a:solidFill>
                <a:latin typeface="+mn-lt"/>
                <a:ea typeface="+mn-ea"/>
                <a:cs typeface="+mn-cs"/>
              </a:defRPr>
            </a:lvl1pPr>
          </a:lstStyle>
          <a:p>
            <a:r>
              <a:rPr lang="en-US" dirty="0"/>
              <a:t>Wizard Chart</a:t>
            </a:r>
          </a:p>
        </p:txBody>
      </p:sp>
      <p:sp>
        <p:nvSpPr>
          <p:cNvPr id="6"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a:p>
        </p:txBody>
      </p:sp>
    </p:spTree>
    <p:extLst>
      <p:ext uri="{BB962C8B-B14F-4D97-AF65-F5344CB8AC3E}">
        <p14:creationId xmlns:p14="http://schemas.microsoft.com/office/powerpoint/2010/main" val="14416775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Picture Placeholder 7"/>
          <p:cNvSpPr>
            <a:spLocks noGrp="1"/>
          </p:cNvSpPr>
          <p:nvPr>
            <p:ph type="pic" sz="quarter" idx="12" hasCustomPrompt="1"/>
          </p:nvPr>
        </p:nvSpPr>
        <p:spPr>
          <a:xfrm>
            <a:off x="353588" y="1292913"/>
            <a:ext cx="4004323" cy="5095600"/>
          </a:xfrm>
          <a:prstGeom prst="rect">
            <a:avLst/>
          </a:prstGeom>
          <a:blipFill>
            <a:blip r:embed="rId2" cstate="screen"/>
            <a:stretch>
              <a:fillRect/>
            </a:stretch>
          </a:blipFill>
        </p:spPr>
        <p:txBody>
          <a:bodyPr>
            <a:normAutofit/>
          </a:bodyPr>
          <a:lstStyle>
            <a:lvl1pPr marL="252922" indent="-252922" algn="l" defTabSz="914068" rtl="0" eaLnBrk="1" fontAlgn="base" hangingPunct="1">
              <a:spcBef>
                <a:spcPct val="40000"/>
              </a:spcBef>
              <a:spcAft>
                <a:spcPct val="0"/>
              </a:spcAft>
              <a:buClr>
                <a:schemeClr val="tx1"/>
              </a:buClr>
              <a:buSzPct val="100000"/>
              <a:buFont typeface="Verdana" pitchFamily="34" charset="0"/>
              <a:buChar char="•"/>
              <a:defRPr lang="en-US" sz="2200" dirty="0">
                <a:solidFill>
                  <a:schemeClr val="tx1"/>
                </a:solidFill>
                <a:latin typeface="+mn-lt"/>
                <a:ea typeface="+mn-ea"/>
                <a:cs typeface="+mn-cs"/>
              </a:defRPr>
            </a:lvl1pPr>
          </a:lstStyle>
          <a:p>
            <a:r>
              <a:rPr lang="en-US" dirty="0"/>
              <a:t>Wizard Chart</a:t>
            </a:r>
          </a:p>
        </p:txBody>
      </p:sp>
      <p:sp>
        <p:nvSpPr>
          <p:cNvPr id="5" name="Rectangle 8"/>
          <p:cNvSpPr>
            <a:spLocks noGrp="1" noChangeArrowheads="1"/>
          </p:cNvSpPr>
          <p:nvPr>
            <p:ph type="sldNum" sz="quarter" idx="10"/>
          </p:nvPr>
        </p:nvSpPr>
        <p:spPr>
          <a:xfrm>
            <a:off x="6818313" y="6302375"/>
            <a:ext cx="2133600" cy="476250"/>
          </a:xfrm>
          <a:ln/>
        </p:spPr>
        <p:txBody>
          <a:bodyPr/>
          <a:lstStyle>
            <a:lvl1pPr>
              <a:defRPr/>
            </a:lvl1pPr>
          </a:lstStyle>
          <a:p>
            <a:fld id="{FA8C94CF-DC14-409D-A359-9F5E91B971A0}" type="slidenum">
              <a:rPr lang="en-US" smtClean="0"/>
              <a:pPr/>
              <a:t>‹#›</a:t>
            </a:fld>
            <a:endParaRPr lang="en-US"/>
          </a:p>
        </p:txBody>
      </p:sp>
    </p:spTree>
    <p:extLst>
      <p:ext uri="{BB962C8B-B14F-4D97-AF65-F5344CB8AC3E}">
        <p14:creationId xmlns:p14="http://schemas.microsoft.com/office/powerpoint/2010/main" val="25707747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p:cNvSpPr>
            <a:spLocks noGrp="1"/>
          </p:cNvSpPr>
          <p:nvPr>
            <p:ph type="title"/>
          </p:nvPr>
        </p:nvSpPr>
        <p:spPr>
          <a:xfrm>
            <a:off x="280814" y="76200"/>
            <a:ext cx="8834097" cy="835808"/>
          </a:xfrm>
          <a:prstGeom prst="rect">
            <a:avLst/>
          </a:prstGeom>
        </p:spPr>
        <p:txBody>
          <a:bodyPr/>
          <a:lstStyle/>
          <a:p>
            <a:r>
              <a:rPr lang="en-US"/>
              <a:t>Click to edit Master title style</a:t>
            </a:r>
            <a:endParaRPr lang="en-US" dirty="0"/>
          </a:p>
        </p:txBody>
      </p:sp>
      <p:sp>
        <p:nvSpPr>
          <p:cNvPr id="4" name="Table Placeholder 3"/>
          <p:cNvSpPr>
            <a:spLocks noGrp="1"/>
          </p:cNvSpPr>
          <p:nvPr>
            <p:ph type="tbl" sz="quarter" idx="10"/>
          </p:nvPr>
        </p:nvSpPr>
        <p:spPr>
          <a:xfrm>
            <a:off x="352605" y="1306077"/>
            <a:ext cx="8438797" cy="5096770"/>
          </a:xfrm>
          <a:prstGeom prst="rect">
            <a:avLst/>
          </a:prstGeom>
        </p:spPr>
        <p:txBody>
          <a:bodyPr>
            <a:normAutofit/>
          </a:bodyPr>
          <a:lstStyle>
            <a:lvl1pPr>
              <a:defRPr lang="en-US" altLang="zh-CN" sz="2200" kern="1200" baseline="0" noProof="1" dirty="0" smtClean="0">
                <a:solidFill>
                  <a:schemeClr val="tx1"/>
                </a:solidFill>
                <a:latin typeface="+mn-lt"/>
                <a:ea typeface="+mn-ea"/>
                <a:cs typeface="+mn-cs"/>
              </a:defRPr>
            </a:lvl1pPr>
          </a:lstStyle>
          <a:p>
            <a:pPr marL="251559" lvl="0" indent="-252922" algn="l" defTabSz="914068" rtl="0" eaLnBrk="1" fontAlgn="base" latinLnBrk="0" hangingPunct="1">
              <a:lnSpc>
                <a:spcPct val="150000"/>
              </a:lnSpc>
              <a:spcBef>
                <a:spcPts val="559"/>
              </a:spcBef>
              <a:spcAft>
                <a:spcPct val="0"/>
              </a:spcAft>
              <a:buClr>
                <a:schemeClr val="tx1"/>
              </a:buClr>
              <a:buSzPct val="100000"/>
              <a:buFont typeface="Verdana" pitchFamily="34" charset="0"/>
              <a:buChar char="•"/>
            </a:pPr>
            <a:r>
              <a:rPr lang="en-US"/>
              <a:t>Click icon to add table</a:t>
            </a:r>
            <a:endParaRPr lang="en-US" dirty="0"/>
          </a:p>
        </p:txBody>
      </p:sp>
      <p:sp>
        <p:nvSpPr>
          <p:cNvPr id="5" name="Rectangle 8"/>
          <p:cNvSpPr>
            <a:spLocks noGrp="1" noChangeArrowheads="1"/>
          </p:cNvSpPr>
          <p:nvPr>
            <p:ph type="sldNum" sz="quarter" idx="11"/>
          </p:nvPr>
        </p:nvSpPr>
        <p:spPr>
          <a:xfrm>
            <a:off x="6818313" y="6302375"/>
            <a:ext cx="2133600" cy="476250"/>
          </a:xfrm>
          <a:ln/>
        </p:spPr>
        <p:txBody>
          <a:bodyPr/>
          <a:lstStyle>
            <a:lvl1pPr>
              <a:defRPr/>
            </a:lvl1pPr>
          </a:lstStyle>
          <a:p>
            <a:fld id="{FA8C94CF-DC14-409D-A359-9F5E91B971A0}" type="slidenum">
              <a:rPr lang="en-US" smtClean="0"/>
              <a:pPr/>
              <a:t>‹#›</a:t>
            </a:fld>
            <a:endParaRPr lang="en-US"/>
          </a:p>
        </p:txBody>
      </p:sp>
    </p:spTree>
    <p:extLst>
      <p:ext uri="{BB962C8B-B14F-4D97-AF65-F5344CB8AC3E}">
        <p14:creationId xmlns:p14="http://schemas.microsoft.com/office/powerpoint/2010/main" val="3913791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94.xml"/><Relationship Id="rId1" Type="http://schemas.openxmlformats.org/officeDocument/2006/relationships/slideLayout" Target="../slideLayouts/slideLayout9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heme" Target="../theme/theme13.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5" Type="http://schemas.openxmlformats.org/officeDocument/2006/relationships/slideLayout" Target="../slideLayouts/slideLayout124.xml"/><Relationship Id="rId10" Type="http://schemas.openxmlformats.org/officeDocument/2006/relationships/theme" Target="../theme/theme14.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31.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3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theme" Target="../theme/theme16.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44.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theme" Target="../theme/theme18.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image" Target="../media/image6.emf"/><Relationship Id="rId2" Type="http://schemas.openxmlformats.org/officeDocument/2006/relationships/slideLayout" Target="../slideLayouts/slideLayout146.xml"/><Relationship Id="rId16" Type="http://schemas.openxmlformats.org/officeDocument/2006/relationships/oleObject" Target="../embeddings/oleObject1.bin"/><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tags" Target="../tags/tag2.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vmlDrawing" Target="../drawings/vmlDrawing1.v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heme" Target="../theme/theme19.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image" Target="../media/image6.emf"/><Relationship Id="rId2" Type="http://schemas.openxmlformats.org/officeDocument/2006/relationships/slideLayout" Target="../slideLayouts/slideLayout158.xml"/><Relationship Id="rId16" Type="http://schemas.openxmlformats.org/officeDocument/2006/relationships/oleObject" Target="../embeddings/oleObject2.bin"/><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tags" Target="../tags/tag3.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vmlDrawing" Target="../drawings/vmlDrawing2.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5" Type="http://schemas.openxmlformats.org/officeDocument/2006/relationships/theme" Target="../theme/theme20.xml"/><Relationship Id="rId4" Type="http://schemas.openxmlformats.org/officeDocument/2006/relationships/slideLayout" Target="../slideLayouts/slideLayout17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theme" Target="../theme/theme21.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22.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image" Target="../media/image6.emf"/><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oleObject" Target="../embeddings/oleObject3.bin"/><Relationship Id="rId2" Type="http://schemas.openxmlformats.org/officeDocument/2006/relationships/slideLayout" Target="../slideLayouts/slideLayout199.xml"/><Relationship Id="rId16" Type="http://schemas.openxmlformats.org/officeDocument/2006/relationships/tags" Target="../tags/tag4.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5" Type="http://schemas.openxmlformats.org/officeDocument/2006/relationships/vmlDrawing" Target="../drawings/vmlDrawing3.v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213.xml"/><Relationship Id="rId7" Type="http://schemas.openxmlformats.org/officeDocument/2006/relationships/theme" Target="../theme/theme24.xml"/><Relationship Id="rId2" Type="http://schemas.openxmlformats.org/officeDocument/2006/relationships/slideLayout" Target="../slideLayouts/slideLayout212.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image" Target="../media/image6.emf"/><Relationship Id="rId5" Type="http://schemas.openxmlformats.org/officeDocument/2006/relationships/slideLayout" Target="../slideLayouts/slideLayout215.xml"/><Relationship Id="rId10" Type="http://schemas.openxmlformats.org/officeDocument/2006/relationships/oleObject" Target="../embeddings/oleObject4.bin"/><Relationship Id="rId4" Type="http://schemas.openxmlformats.org/officeDocument/2006/relationships/slideLayout" Target="../slideLayouts/slideLayout214.xml"/><Relationship Id="rId9" Type="http://schemas.openxmlformats.org/officeDocument/2006/relationships/tags" Target="../tags/tag5.xml"/></Relationships>
</file>

<file path=ppt/slideMasters/_rels/slideMaster25.xml.rels><?xml version="1.0" encoding="UTF-8" standalone="yes"?>
<Relationships xmlns="http://schemas.openxmlformats.org/package/2006/relationships"><Relationship Id="rId8" Type="http://schemas.openxmlformats.org/officeDocument/2006/relationships/vmlDrawing" Target="../drawings/vmlDrawing6.vml"/><Relationship Id="rId3" Type="http://schemas.openxmlformats.org/officeDocument/2006/relationships/slideLayout" Target="../slideLayouts/slideLayout219.xml"/><Relationship Id="rId7" Type="http://schemas.openxmlformats.org/officeDocument/2006/relationships/theme" Target="../theme/theme25.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image" Target="../media/image6.emf"/><Relationship Id="rId5" Type="http://schemas.openxmlformats.org/officeDocument/2006/relationships/slideLayout" Target="../slideLayouts/slideLayout221.xml"/><Relationship Id="rId10" Type="http://schemas.openxmlformats.org/officeDocument/2006/relationships/oleObject" Target="../embeddings/oleObject6.bin"/><Relationship Id="rId4" Type="http://schemas.openxmlformats.org/officeDocument/2006/relationships/slideLayout" Target="../slideLayouts/slideLayout220.xml"/><Relationship Id="rId9" Type="http://schemas.openxmlformats.org/officeDocument/2006/relationships/tags" Target="../tags/tag7.xml"/></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image" Target="../media/image6.emf"/><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oleObject" Target="../embeddings/oleObject8.bin"/><Relationship Id="rId5" Type="http://schemas.openxmlformats.org/officeDocument/2006/relationships/slideLayout" Target="../slideLayouts/slideLayout227.xml"/><Relationship Id="rId10" Type="http://schemas.openxmlformats.org/officeDocument/2006/relationships/tags" Target="../tags/tag9.xml"/><Relationship Id="rId4" Type="http://schemas.openxmlformats.org/officeDocument/2006/relationships/slideLayout" Target="../slideLayouts/slideLayout226.xml"/><Relationship Id="rId9" Type="http://schemas.openxmlformats.org/officeDocument/2006/relationships/vmlDrawing" Target="../drawings/vmlDrawing8.v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oleObject" Target="../embeddings/oleObject10.bin"/><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ags" Target="../tags/tag11.xml"/><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vmlDrawing" Target="../drawings/vmlDrawing10.vml"/><Relationship Id="rId5" Type="http://schemas.openxmlformats.org/officeDocument/2006/relationships/slideLayout" Target="../slideLayouts/slideLayout234.xml"/><Relationship Id="rId10" Type="http://schemas.openxmlformats.org/officeDocument/2006/relationships/theme" Target="../theme/theme27.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theme" Target="../theme/theme3.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5" Type="http://schemas.openxmlformats.org/officeDocument/2006/relationships/theme" Target="../theme/theme4.xml"/><Relationship Id="rId4"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6.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7.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heme" Target="../theme/theme9.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eaLnBrk="0" hangingPunct="0">
              <a:defRPr sz="1400"/>
            </a:lvl1pPr>
          </a:lstStyle>
          <a:p>
            <a:pPr>
              <a:defRPr/>
            </a:pPr>
            <a:endParaRPr lang="en-US" dirty="0"/>
          </a:p>
        </p:txBody>
      </p:sp>
      <p:sp>
        <p:nvSpPr>
          <p:cNvPr id="1030" name="Rectangle 6"/>
          <p:cNvSpPr>
            <a:spLocks noGrp="1" noChangeArrowheads="1"/>
          </p:cNvSpPr>
          <p:nvPr>
            <p:ph type="sldNum" sz="quarter" idx="4"/>
          </p:nvPr>
        </p:nvSpPr>
        <p:spPr bwMode="auto">
          <a:xfrm>
            <a:off x="7010400" y="64770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400"/>
            </a:lvl1pPr>
          </a:lstStyle>
          <a:p>
            <a:pPr>
              <a:defRPr/>
            </a:pPr>
            <a:fld id="{91454E91-B135-4AF5-B4C0-77FC49BB30AB}"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78" r:id="rId1"/>
    <p:sldLayoutId id="2147483677" r:id="rId2"/>
    <p:sldLayoutId id="2147483676" r:id="rId3"/>
    <p:sldLayoutId id="2147483675" r:id="rId4"/>
    <p:sldLayoutId id="2147483674" r:id="rId5"/>
    <p:sldLayoutId id="2147483673" r:id="rId6"/>
    <p:sldLayoutId id="2147483672" r:id="rId7"/>
    <p:sldLayoutId id="2147483671" r:id="rId8"/>
    <p:sldLayoutId id="2147483670" r:id="rId9"/>
    <p:sldLayoutId id="2147483669" r:id="rId10"/>
    <p:sldLayoutId id="2147483668" r:id="rId11"/>
    <p:sldLayoutId id="2147483667" r:id="rId12"/>
    <p:sldLayoutId id="2147483666" r:id="rId13"/>
    <p:sldLayoutId id="2147483665" r:id="rId14"/>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MS PGothic" pitchFamily="34" charset="-128"/>
        </a:defRPr>
      </a:lvl2pPr>
      <a:lvl3pPr algn="ctr" rtl="0" eaLnBrk="0" fontAlgn="base" hangingPunct="0">
        <a:spcBef>
          <a:spcPct val="0"/>
        </a:spcBef>
        <a:spcAft>
          <a:spcPct val="0"/>
        </a:spcAft>
        <a:defRPr sz="4400">
          <a:solidFill>
            <a:schemeClr val="tx2"/>
          </a:solidFill>
          <a:latin typeface="Arial" charset="0"/>
          <a:ea typeface="MS PGothic" pitchFamily="34" charset="-128"/>
        </a:defRPr>
      </a:lvl3pPr>
      <a:lvl4pPr algn="ctr" rtl="0" eaLnBrk="0" fontAlgn="base" hangingPunct="0">
        <a:spcBef>
          <a:spcPct val="0"/>
        </a:spcBef>
        <a:spcAft>
          <a:spcPct val="0"/>
        </a:spcAft>
        <a:defRPr sz="4400">
          <a:solidFill>
            <a:schemeClr val="tx2"/>
          </a:solidFill>
          <a:latin typeface="Arial" charset="0"/>
          <a:ea typeface="MS PGothic" pitchFamily="34" charset="-128"/>
        </a:defRPr>
      </a:lvl4pPr>
      <a:lvl5pPr algn="ctr" rtl="0" eaLnBrk="0" fontAlgn="base" hangingPunct="0">
        <a:spcBef>
          <a:spcPct val="0"/>
        </a:spcBef>
        <a:spcAft>
          <a:spcPct val="0"/>
        </a:spcAft>
        <a:defRPr sz="4400">
          <a:solidFill>
            <a:schemeClr val="tx2"/>
          </a:solidFill>
          <a:latin typeface="Arial" charset="0"/>
          <a:ea typeface="MS PGothic" pitchFamily="34" charset="-128"/>
        </a:defRPr>
      </a:lvl5pPr>
      <a:lvl6pPr marL="457200" algn="ctr" rtl="0" fontAlgn="base">
        <a:spcBef>
          <a:spcPct val="0"/>
        </a:spcBef>
        <a:spcAft>
          <a:spcPct val="0"/>
        </a:spcAft>
        <a:defRPr sz="4400">
          <a:solidFill>
            <a:schemeClr val="tx2"/>
          </a:solidFill>
          <a:latin typeface="Arial" charset="0"/>
          <a:ea typeface="MS PGothic" pitchFamily="34" charset="-128"/>
        </a:defRPr>
      </a:lvl6pPr>
      <a:lvl7pPr marL="914400" algn="ctr" rtl="0" fontAlgn="base">
        <a:spcBef>
          <a:spcPct val="0"/>
        </a:spcBef>
        <a:spcAft>
          <a:spcPct val="0"/>
        </a:spcAft>
        <a:defRPr sz="4400">
          <a:solidFill>
            <a:schemeClr val="tx2"/>
          </a:solidFill>
          <a:latin typeface="Arial" charset="0"/>
          <a:ea typeface="MS PGothic" pitchFamily="34" charset="-128"/>
        </a:defRPr>
      </a:lvl7pPr>
      <a:lvl8pPr marL="1371600" algn="ctr" rtl="0" fontAlgn="base">
        <a:spcBef>
          <a:spcPct val="0"/>
        </a:spcBef>
        <a:spcAft>
          <a:spcPct val="0"/>
        </a:spcAft>
        <a:defRPr sz="4400">
          <a:solidFill>
            <a:schemeClr val="tx2"/>
          </a:solidFill>
          <a:latin typeface="Arial" charset="0"/>
          <a:ea typeface="MS PGothic" pitchFamily="34" charset="-128"/>
        </a:defRPr>
      </a:lvl8pPr>
      <a:lvl9pPr marL="1828800" algn="ctr" rtl="0" fontAlgn="base">
        <a:spcBef>
          <a:spcPct val="0"/>
        </a:spcBef>
        <a:spcAft>
          <a:spcPct val="0"/>
        </a:spcAft>
        <a:defRPr sz="4400">
          <a:solidFill>
            <a:schemeClr val="tx2"/>
          </a:solidFill>
          <a:latin typeface="Arial" charset="0"/>
          <a:ea typeface="MS PGothic" pitchFamily="34"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1022350"/>
          </a:xfrm>
          <a:prstGeom prst="rect">
            <a:avLst/>
          </a:prstGeom>
          <a:solidFill>
            <a:schemeClr val="tx2"/>
          </a:solidFill>
          <a:ln w="9525">
            <a:noFill/>
            <a:miter lim="800000"/>
            <a:headEnd/>
            <a:tailEnd/>
          </a:ln>
          <a:effectLst/>
        </p:spPr>
        <p:txBody>
          <a:bodyPr wrap="none" anchor="ctr"/>
          <a:lstStyle/>
          <a:p>
            <a:pPr eaLnBrk="0" hangingPunct="0">
              <a:defRPr/>
            </a:pPr>
            <a:endParaRPr lang="fr-CA" sz="2400">
              <a:solidFill>
                <a:srgbClr val="000000"/>
              </a:solidFill>
              <a:latin typeface="Verdana" pitchFamily="34" charset="0"/>
              <a:ea typeface="+mn-ea"/>
            </a:endParaRPr>
          </a:p>
        </p:txBody>
      </p:sp>
      <p:sp>
        <p:nvSpPr>
          <p:cNvPr id="2051" name="Rectangle 3"/>
          <p:cNvSpPr>
            <a:spLocks noGrp="1" noChangeArrowheads="1"/>
          </p:cNvSpPr>
          <p:nvPr>
            <p:ph type="title"/>
          </p:nvPr>
        </p:nvSpPr>
        <p:spPr bwMode="white">
          <a:xfrm>
            <a:off x="193675" y="52388"/>
            <a:ext cx="8758238" cy="9080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2" name="Rectangle 4"/>
          <p:cNvSpPr>
            <a:spLocks noGrp="1" noChangeArrowheads="1"/>
          </p:cNvSpPr>
          <p:nvPr>
            <p:ph type="body" idx="1"/>
          </p:nvPr>
        </p:nvSpPr>
        <p:spPr bwMode="auto">
          <a:xfrm>
            <a:off x="700091" y="1277942"/>
            <a:ext cx="7786687" cy="2101217"/>
          </a:xfrm>
          <a:prstGeom prst="rect">
            <a:avLst/>
          </a:prstGeom>
          <a:noFill/>
          <a:ln w="9525" algn="ctr">
            <a:noFill/>
            <a:miter lim="800000"/>
            <a:headEnd/>
            <a:tailEnd/>
          </a:ln>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sldNum" sz="quarter" idx="4"/>
          </p:nvPr>
        </p:nvSpPr>
        <p:spPr bwMode="auto">
          <a:xfrm>
            <a:off x="6818313" y="63023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eaLnBrk="0" hangingPunct="0">
              <a:defRPr/>
            </a:pPr>
            <a:fld id="{73F81474-2D64-47DF-A7BC-341E3C8DD5DA}" type="slidenum">
              <a:rPr lang="en-US">
                <a:solidFill>
                  <a:srgbClr val="000000"/>
                </a:solidFill>
                <a:latin typeface="Verdana" pitchFamily="34" charset="0"/>
                <a:ea typeface="+mn-ea"/>
              </a:rPr>
              <a:pPr eaLnBrk="0" hangingPunct="0">
                <a:defRPr/>
              </a:pPr>
              <a:t>‹#›</a:t>
            </a:fld>
            <a:endParaRPr lang="en-US">
              <a:solidFill>
                <a:srgbClr val="000000"/>
              </a:solidFill>
              <a:latin typeface="Verdana" pitchFamily="34" charset="0"/>
              <a:ea typeface="+mn-ea"/>
            </a:endParaRPr>
          </a:p>
        </p:txBody>
      </p:sp>
    </p:spTree>
    <p:extLst>
      <p:ext uri="{BB962C8B-B14F-4D97-AF65-F5344CB8AC3E}">
        <p14:creationId xmlns:p14="http://schemas.microsoft.com/office/powerpoint/2010/main" val="2395809941"/>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 id="2147483916" r:id="rId13"/>
  </p:sldLayoutIdLst>
  <p:hf hdr="0" ftr="0" dt="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Verdana" pitchFamily="34" charset="0"/>
        </a:defRPr>
      </a:lvl2pPr>
      <a:lvl3pPr algn="l" rtl="0" eaLnBrk="0" fontAlgn="base" hangingPunct="0">
        <a:spcBef>
          <a:spcPct val="0"/>
        </a:spcBef>
        <a:spcAft>
          <a:spcPct val="0"/>
        </a:spcAft>
        <a:defRPr sz="2400">
          <a:solidFill>
            <a:schemeClr val="bg1"/>
          </a:solidFill>
          <a:latin typeface="Verdana" pitchFamily="34" charset="0"/>
        </a:defRPr>
      </a:lvl3pPr>
      <a:lvl4pPr algn="l" rtl="0" eaLnBrk="0" fontAlgn="base" hangingPunct="0">
        <a:spcBef>
          <a:spcPct val="0"/>
        </a:spcBef>
        <a:spcAft>
          <a:spcPct val="0"/>
        </a:spcAft>
        <a:defRPr sz="2400">
          <a:solidFill>
            <a:schemeClr val="bg1"/>
          </a:solidFill>
          <a:latin typeface="Verdana" pitchFamily="34" charset="0"/>
        </a:defRPr>
      </a:lvl4pPr>
      <a:lvl5pPr algn="l" rtl="0" eaLnBrk="0" fontAlgn="base" hangingPunct="0">
        <a:spcBef>
          <a:spcPct val="0"/>
        </a:spcBef>
        <a:spcAft>
          <a:spcPct val="0"/>
        </a:spcAft>
        <a:defRPr sz="2400">
          <a:solidFill>
            <a:schemeClr val="bg1"/>
          </a:solidFill>
          <a:latin typeface="Verdana" pitchFamily="34" charset="0"/>
        </a:defRPr>
      </a:lvl5pPr>
      <a:lvl6pPr marL="457200" algn="l" rtl="0" fontAlgn="base">
        <a:spcBef>
          <a:spcPct val="0"/>
        </a:spcBef>
        <a:spcAft>
          <a:spcPct val="0"/>
        </a:spcAft>
        <a:defRPr sz="2400">
          <a:solidFill>
            <a:schemeClr val="bg1"/>
          </a:solidFill>
          <a:latin typeface="Verdana" pitchFamily="34" charset="0"/>
        </a:defRPr>
      </a:lvl6pPr>
      <a:lvl7pPr marL="914400" algn="l" rtl="0" fontAlgn="base">
        <a:spcBef>
          <a:spcPct val="0"/>
        </a:spcBef>
        <a:spcAft>
          <a:spcPct val="0"/>
        </a:spcAft>
        <a:defRPr sz="2400">
          <a:solidFill>
            <a:schemeClr val="bg1"/>
          </a:solidFill>
          <a:latin typeface="Verdana" pitchFamily="34" charset="0"/>
        </a:defRPr>
      </a:lvl7pPr>
      <a:lvl8pPr marL="1371600" algn="l" rtl="0" fontAlgn="base">
        <a:spcBef>
          <a:spcPct val="0"/>
        </a:spcBef>
        <a:spcAft>
          <a:spcPct val="0"/>
        </a:spcAft>
        <a:defRPr sz="2400">
          <a:solidFill>
            <a:schemeClr val="bg1"/>
          </a:solidFill>
          <a:latin typeface="Verdana" pitchFamily="34" charset="0"/>
        </a:defRPr>
      </a:lvl8pPr>
      <a:lvl9pPr marL="1828800" algn="l" rtl="0" fontAlgn="base">
        <a:spcBef>
          <a:spcPct val="0"/>
        </a:spcBef>
        <a:spcAft>
          <a:spcPct val="0"/>
        </a:spcAft>
        <a:defRPr sz="2400">
          <a:solidFill>
            <a:schemeClr val="bg1"/>
          </a:solidFill>
          <a:latin typeface="Verdana" pitchFamily="34" charset="0"/>
        </a:defRPr>
      </a:lvl9pPr>
    </p:titleStyle>
    <p:bodyStyle>
      <a:lvl1pPr marL="271463" indent="-271463" algn="l" defTabSz="981075" rtl="0" eaLnBrk="0" fontAlgn="base" hangingPunct="0">
        <a:spcBef>
          <a:spcPct val="40000"/>
        </a:spcBef>
        <a:spcAft>
          <a:spcPct val="0"/>
        </a:spcAft>
        <a:buClr>
          <a:schemeClr val="tx1"/>
        </a:buClr>
        <a:buFont typeface="Verdana" pitchFamily="34" charset="0"/>
        <a:buChar char="•"/>
        <a:defRPr sz="2000">
          <a:solidFill>
            <a:schemeClr val="tx1"/>
          </a:solidFill>
          <a:latin typeface="+mn-lt"/>
          <a:ea typeface="+mn-ea"/>
          <a:cs typeface="+mn-cs"/>
        </a:defRPr>
      </a:lvl1pPr>
      <a:lvl2pPr marL="574675" indent="-119063" algn="l" defTabSz="981075" rtl="0" eaLnBrk="0" fontAlgn="base" hangingPunct="0">
        <a:spcBef>
          <a:spcPct val="20000"/>
        </a:spcBef>
        <a:spcAft>
          <a:spcPct val="0"/>
        </a:spcAft>
        <a:buClr>
          <a:schemeClr val="tx1"/>
        </a:buClr>
        <a:buChar char="-"/>
        <a:defRPr sz="2800">
          <a:solidFill>
            <a:schemeClr val="tx1"/>
          </a:solidFill>
          <a:latin typeface="+mn-lt"/>
        </a:defRPr>
      </a:lvl2pPr>
      <a:lvl3pPr marL="1052513" indent="-287338" algn="l" defTabSz="981075" rtl="0" eaLnBrk="0" fontAlgn="base" hangingPunct="0">
        <a:spcBef>
          <a:spcPct val="20000"/>
        </a:spcBef>
        <a:spcAft>
          <a:spcPct val="0"/>
        </a:spcAft>
        <a:buClr>
          <a:schemeClr val="tx1"/>
        </a:buClr>
        <a:buFont typeface="Marlett" pitchFamily="2" charset="2"/>
        <a:buChar char="8"/>
        <a:defRPr sz="2400">
          <a:solidFill>
            <a:schemeClr val="tx1"/>
          </a:solidFill>
          <a:latin typeface="+mn-lt"/>
        </a:defRPr>
      </a:lvl3pPr>
      <a:lvl4pPr marL="1639888" indent="-206375"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4pPr>
      <a:lvl5pPr marL="2116138" indent="-339725"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5pPr>
      <a:lvl6pPr marL="25733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001000" y="6356356"/>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ea typeface="+mn-ea"/>
              </a:rPr>
              <a:pPr>
                <a:defRPr/>
              </a:pPr>
              <a:t>‹#›</a:t>
            </a:fld>
            <a:endParaRPr lang="en-US">
              <a:solidFill>
                <a:prstClr val="black"/>
              </a:solidFill>
              <a:ea typeface="+mn-ea"/>
            </a:endParaRPr>
          </a:p>
        </p:txBody>
      </p:sp>
    </p:spTree>
  </p:cSld>
  <p:clrMap bg1="lt1" tx1="dk1" bg2="lt2" tx2="dk2" accent1="accent1" accent2="accent2" accent3="accent3" accent4="accent4" accent5="accent5" accent6="accent6" hlink="hlink" folHlink="folHlink"/>
  <p:sldLayoutIdLst>
    <p:sldLayoutId id="2147483925" r:id="rId1"/>
    <p:sldLayoutId id="2147483926" r:id="rId2"/>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8" name="Rectangle 4"/>
          <p:cNvSpPr>
            <a:spLocks noGrp="1" noChangeArrowheads="1"/>
          </p:cNvSpPr>
          <p:nvPr>
            <p:ph type="body" idx="1"/>
          </p:nvPr>
        </p:nvSpPr>
        <p:spPr bwMode="auto">
          <a:xfrm>
            <a:off x="700091" y="1277938"/>
            <a:ext cx="7786687" cy="1522597"/>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sldNum" sz="quarter" idx="4"/>
          </p:nvPr>
        </p:nvSpPr>
        <p:spPr bwMode="auto">
          <a:xfrm>
            <a:off x="6818313" y="63023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000" b="0" i="0">
                <a:solidFill>
                  <a:srgbClr val="000000"/>
                </a:solidFill>
                <a:latin typeface="Verdana" pitchFamily="34" charset="0"/>
              </a:defRPr>
            </a:lvl1pPr>
          </a:lstStyle>
          <a:p>
            <a:pPr fontAlgn="auto">
              <a:spcBef>
                <a:spcPts val="0"/>
              </a:spcBef>
              <a:spcAft>
                <a:spcPts val="0"/>
              </a:spcAft>
            </a:pPr>
            <a:fld id="{FA8C94CF-DC14-409D-A359-9F5E91B971A0}" type="slidenum">
              <a:rPr lang="en-US" smtClean="0">
                <a:ea typeface="+mn-ea"/>
              </a:rPr>
              <a:pPr fontAlgn="auto">
                <a:spcBef>
                  <a:spcPts val="0"/>
                </a:spcBef>
                <a:spcAft>
                  <a:spcPts val="0"/>
                </a:spcAft>
              </a:pPr>
              <a:t>‹#›</a:t>
            </a:fld>
            <a:endParaRPr lang="en-US" dirty="0">
              <a:ea typeface="+mn-ea"/>
            </a:endParaRPr>
          </a:p>
        </p:txBody>
      </p:sp>
      <p:sp>
        <p:nvSpPr>
          <p:cNvPr id="6" name="Rectangle 7"/>
          <p:cNvSpPr>
            <a:spLocks noChangeArrowheads="1"/>
          </p:cNvSpPr>
          <p:nvPr/>
        </p:nvSpPr>
        <p:spPr bwMode="gray">
          <a:xfrm>
            <a:off x="0" y="0"/>
            <a:ext cx="9144000" cy="914400"/>
          </a:xfrm>
          <a:prstGeom prst="rect">
            <a:avLst/>
          </a:prstGeom>
          <a:solidFill>
            <a:srgbClr val="003366"/>
          </a:solidFill>
          <a:ln w="9525">
            <a:noFill/>
            <a:miter lim="800000"/>
            <a:headEnd/>
            <a:tailEnd/>
          </a:ln>
          <a:effectLst/>
        </p:spPr>
        <p:txBody>
          <a:bodyPr vert="horz" wrap="square" lIns="91440" tIns="45720" rIns="91440" bIns="45720" anchor="ctr" anchorCtr="0"/>
          <a:lstStyle/>
          <a:p>
            <a:pPr marL="231775" fontAlgn="auto">
              <a:spcBef>
                <a:spcPts val="0"/>
              </a:spcBef>
              <a:spcAft>
                <a:spcPts val="0"/>
              </a:spcAft>
              <a:defRPr/>
            </a:pPr>
            <a:endParaRPr lang="en-US" sz="1700">
              <a:solidFill>
                <a:srgbClr val="284A8C"/>
              </a:solidFill>
              <a:latin typeface="Verdana"/>
              <a:ea typeface="+mn-ea"/>
            </a:endParaRPr>
          </a:p>
        </p:txBody>
      </p:sp>
      <p:sp>
        <p:nvSpPr>
          <p:cNvPr id="16387" name="Rectangle 3"/>
          <p:cNvSpPr>
            <a:spLocks noGrp="1" noChangeArrowheads="1"/>
          </p:cNvSpPr>
          <p:nvPr>
            <p:ph type="title"/>
          </p:nvPr>
        </p:nvSpPr>
        <p:spPr bwMode="white">
          <a:xfrm>
            <a:off x="228600" y="0"/>
            <a:ext cx="89154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114268990"/>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Lst>
  <p:hf hdr="0" ftr="0" dt="0"/>
  <p:txStyles>
    <p:titleStyle>
      <a:lvl1pPr algn="l" rtl="0" eaLnBrk="1" fontAlgn="base" hangingPunct="1">
        <a:spcBef>
          <a:spcPct val="0"/>
        </a:spcBef>
        <a:spcAft>
          <a:spcPct val="0"/>
        </a:spcAft>
        <a:defRPr sz="1700">
          <a:solidFill>
            <a:schemeClr val="bg1"/>
          </a:solidFill>
          <a:latin typeface="+mj-lt"/>
          <a:ea typeface="MS PGothic" pitchFamily="34" charset="-128"/>
          <a:cs typeface="MS PGothic" pitchFamily="34" charset="-128"/>
        </a:defRPr>
      </a:lvl1pPr>
      <a:lvl2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457200" algn="l" rtl="0" eaLnBrk="1" fontAlgn="base" hangingPunct="1">
        <a:spcBef>
          <a:spcPct val="0"/>
        </a:spcBef>
        <a:spcAft>
          <a:spcPct val="0"/>
        </a:spcAft>
        <a:defRPr sz="2400">
          <a:solidFill>
            <a:schemeClr val="bg1"/>
          </a:solidFill>
          <a:latin typeface="Verdana" pitchFamily="34" charset="0"/>
        </a:defRPr>
      </a:lvl6pPr>
      <a:lvl7pPr marL="914400" algn="l" rtl="0" eaLnBrk="1" fontAlgn="base" hangingPunct="1">
        <a:spcBef>
          <a:spcPct val="0"/>
        </a:spcBef>
        <a:spcAft>
          <a:spcPct val="0"/>
        </a:spcAft>
        <a:defRPr sz="2400">
          <a:solidFill>
            <a:schemeClr val="bg1"/>
          </a:solidFill>
          <a:latin typeface="Verdana" pitchFamily="34" charset="0"/>
        </a:defRPr>
      </a:lvl7pPr>
      <a:lvl8pPr marL="1371600" algn="l" rtl="0" eaLnBrk="1" fontAlgn="base" hangingPunct="1">
        <a:spcBef>
          <a:spcPct val="0"/>
        </a:spcBef>
        <a:spcAft>
          <a:spcPct val="0"/>
        </a:spcAft>
        <a:defRPr sz="2400">
          <a:solidFill>
            <a:schemeClr val="bg1"/>
          </a:solidFill>
          <a:latin typeface="Verdana" pitchFamily="34" charset="0"/>
        </a:defRPr>
      </a:lvl8pPr>
      <a:lvl9pPr marL="1828800" algn="l" rtl="0" eaLnBrk="1" fontAlgn="base" hangingPunct="1">
        <a:spcBef>
          <a:spcPct val="0"/>
        </a:spcBef>
        <a:spcAft>
          <a:spcPct val="0"/>
        </a:spcAft>
        <a:defRPr sz="2400">
          <a:solidFill>
            <a:schemeClr val="bg1"/>
          </a:solidFill>
          <a:latin typeface="Verdana" pitchFamily="34" charset="0"/>
        </a:defRPr>
      </a:lvl9pPr>
    </p:titleStyle>
    <p:bodyStyle>
      <a:lvl1pPr marL="271463" indent="-271463" algn="l" defTabSz="981075" rtl="0" eaLnBrk="1" fontAlgn="base" hangingPunct="1">
        <a:spcBef>
          <a:spcPct val="40000"/>
        </a:spcBef>
        <a:spcAft>
          <a:spcPct val="0"/>
        </a:spcAft>
        <a:buClr>
          <a:schemeClr val="tx1"/>
        </a:buClr>
        <a:buFont typeface="Verdana" pitchFamily="34" charset="0"/>
        <a:buChar char="•"/>
        <a:defRPr sz="1600">
          <a:solidFill>
            <a:schemeClr val="tx1"/>
          </a:solidFill>
          <a:latin typeface="Arial" pitchFamily="34" charset="0"/>
          <a:ea typeface="MS PGothic" pitchFamily="34" charset="-128"/>
          <a:cs typeface="Arial" pitchFamily="34" charset="0"/>
        </a:defRPr>
      </a:lvl1pPr>
      <a:lvl2pPr marL="574675" indent="-119063" algn="l" defTabSz="981075" rtl="0" eaLnBrk="1" fontAlgn="base" hangingPunct="1">
        <a:spcBef>
          <a:spcPct val="20000"/>
        </a:spcBef>
        <a:spcAft>
          <a:spcPct val="0"/>
        </a:spcAft>
        <a:buClr>
          <a:schemeClr val="tx1"/>
        </a:buClr>
        <a:buChar char="-"/>
        <a:defRPr sz="1600">
          <a:solidFill>
            <a:schemeClr val="tx1"/>
          </a:solidFill>
          <a:latin typeface="Arial" pitchFamily="34" charset="0"/>
          <a:ea typeface="MS PGothic" pitchFamily="34" charset="-128"/>
          <a:cs typeface="Arial" pitchFamily="34" charset="0"/>
        </a:defRPr>
      </a:lvl2pPr>
      <a:lvl3pPr marL="1052513" indent="-287338" algn="l" defTabSz="981075" rtl="0" eaLnBrk="1" fontAlgn="base" hangingPunct="1">
        <a:spcBef>
          <a:spcPct val="20000"/>
        </a:spcBef>
        <a:spcAft>
          <a:spcPct val="0"/>
        </a:spcAft>
        <a:buClr>
          <a:schemeClr val="tx1"/>
        </a:buClr>
        <a:buFont typeface="Marlett" pitchFamily="2" charset="2"/>
        <a:buChar char="8"/>
        <a:defRPr sz="1600">
          <a:solidFill>
            <a:schemeClr val="tx1"/>
          </a:solidFill>
          <a:latin typeface="Arial" pitchFamily="34" charset="0"/>
          <a:ea typeface="MS PGothic" pitchFamily="34" charset="-128"/>
          <a:cs typeface="Arial" pitchFamily="34" charset="0"/>
        </a:defRPr>
      </a:lvl3pPr>
      <a:lvl4pPr marL="1639888" indent="-206375" algn="l" defTabSz="981075" rtl="0" eaLnBrk="1" fontAlgn="base" hangingPunct="1">
        <a:spcBef>
          <a:spcPct val="20000"/>
        </a:spcBef>
        <a:spcAft>
          <a:spcPct val="0"/>
        </a:spcAft>
        <a:buClr>
          <a:schemeClr val="tx1"/>
        </a:buClr>
        <a:buFont typeface="Marlett" pitchFamily="2" charset="2"/>
        <a:buChar char="8"/>
        <a:defRPr sz="1600">
          <a:solidFill>
            <a:schemeClr val="tx1"/>
          </a:solidFill>
          <a:latin typeface="Arial" pitchFamily="34" charset="0"/>
          <a:ea typeface="MS PGothic" pitchFamily="34" charset="-128"/>
          <a:cs typeface="Arial" pitchFamily="34" charset="0"/>
        </a:defRPr>
      </a:lvl4pPr>
      <a:lvl5pPr marL="2116138" indent="-339725" algn="l" defTabSz="981075" rtl="0" eaLnBrk="1" fontAlgn="base" hangingPunct="1">
        <a:spcBef>
          <a:spcPct val="20000"/>
        </a:spcBef>
        <a:spcAft>
          <a:spcPct val="0"/>
        </a:spcAft>
        <a:buClr>
          <a:schemeClr val="tx1"/>
        </a:buClr>
        <a:buFont typeface="Marlett" pitchFamily="2" charset="2"/>
        <a:buChar char="8"/>
        <a:defRPr sz="1600">
          <a:solidFill>
            <a:schemeClr val="tx1"/>
          </a:solidFill>
          <a:latin typeface="Arial" pitchFamily="34" charset="0"/>
          <a:ea typeface="MS PGothic" pitchFamily="34" charset="-128"/>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Rectangle 4"/>
          <p:cNvSpPr>
            <a:spLocks noGrp="1" noChangeArrowheads="1"/>
          </p:cNvSpPr>
          <p:nvPr>
            <p:ph type="body" idx="1"/>
          </p:nvPr>
        </p:nvSpPr>
        <p:spPr bwMode="auto">
          <a:xfrm>
            <a:off x="700091" y="1277938"/>
            <a:ext cx="7786687" cy="152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sldNum" sz="quarter" idx="4"/>
          </p:nvPr>
        </p:nvSpPr>
        <p:spPr bwMode="auto">
          <a:xfrm>
            <a:off x="6818313" y="63023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fontAlgn="auto" hangingPunct="0">
              <a:spcBef>
                <a:spcPts val="0"/>
              </a:spcBef>
              <a:spcAft>
                <a:spcPts val="0"/>
              </a:spcAft>
              <a:defRPr sz="1000" b="0" i="0">
                <a:solidFill>
                  <a:srgbClr val="000000"/>
                </a:solidFill>
                <a:latin typeface="Verdana" pitchFamily="34" charset="0"/>
                <a:ea typeface="+mn-ea"/>
              </a:defRPr>
            </a:lvl1pPr>
          </a:lstStyle>
          <a:p>
            <a:pPr>
              <a:defRPr/>
            </a:pPr>
            <a:fld id="{7B70831C-E404-4C4E-93AA-192793175E79}" type="slidenum">
              <a:rPr lang="en-US"/>
              <a:pPr>
                <a:defRPr/>
              </a:pPr>
              <a:t>‹#›</a:t>
            </a:fld>
            <a:endParaRPr lang="en-US" dirty="0"/>
          </a:p>
        </p:txBody>
      </p:sp>
      <p:sp>
        <p:nvSpPr>
          <p:cNvPr id="8196" name="Rectangle 7"/>
          <p:cNvSpPr>
            <a:spLocks noChangeArrowheads="1"/>
          </p:cNvSpPr>
          <p:nvPr/>
        </p:nvSpPr>
        <p:spPr bwMode="gray">
          <a:xfrm>
            <a:off x="0" y="0"/>
            <a:ext cx="9144000" cy="914400"/>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231775"/>
            <a:endParaRPr lang="en-US" sz="1700">
              <a:solidFill>
                <a:srgbClr val="284A8C"/>
              </a:solidFill>
              <a:latin typeface="Verdana"/>
              <a:ea typeface="ＭＳ Ｐゴシック" pitchFamily="34" charset="-128"/>
            </a:endParaRPr>
          </a:p>
        </p:txBody>
      </p:sp>
      <p:sp>
        <p:nvSpPr>
          <p:cNvPr id="8197" name="Rectangle 3"/>
          <p:cNvSpPr>
            <a:spLocks noGrp="1" noChangeArrowheads="1"/>
          </p:cNvSpPr>
          <p:nvPr>
            <p:ph type="title"/>
          </p:nvPr>
        </p:nvSpPr>
        <p:spPr bwMode="white">
          <a:xfrm>
            <a:off x="228600" y="0"/>
            <a:ext cx="8915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2707532284"/>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Lst>
  <p:hf hdr="0" ftr="0" dt="0"/>
  <p:txStyles>
    <p:titleStyle>
      <a:lvl1pPr algn="l" rtl="0" eaLnBrk="0" fontAlgn="base" hangingPunct="0">
        <a:spcBef>
          <a:spcPct val="0"/>
        </a:spcBef>
        <a:spcAft>
          <a:spcPct val="0"/>
        </a:spcAft>
        <a:defRPr sz="1700">
          <a:solidFill>
            <a:schemeClr val="bg1"/>
          </a:solidFill>
          <a:latin typeface="+mj-lt"/>
          <a:ea typeface="ＭＳ Ｐゴシック" pitchFamily="34" charset="-128"/>
          <a:cs typeface="MS PGothic" pitchFamily="34" charset="-128"/>
        </a:defRPr>
      </a:lvl1pPr>
      <a:lvl2pPr algn="l" rtl="0" eaLnBrk="0" fontAlgn="base" hangingPunct="0">
        <a:spcBef>
          <a:spcPct val="0"/>
        </a:spcBef>
        <a:spcAft>
          <a:spcPct val="0"/>
        </a:spcAft>
        <a:defRPr sz="1700">
          <a:solidFill>
            <a:schemeClr val="bg1"/>
          </a:solidFill>
          <a:latin typeface="Verdana" pitchFamily="34" charset="0"/>
          <a:ea typeface="ＭＳ Ｐゴシック" pitchFamily="34" charset="-128"/>
          <a:cs typeface="MS PGothic" pitchFamily="34" charset="-128"/>
        </a:defRPr>
      </a:lvl2pPr>
      <a:lvl3pPr algn="l" rtl="0" eaLnBrk="0" fontAlgn="base" hangingPunct="0">
        <a:spcBef>
          <a:spcPct val="0"/>
        </a:spcBef>
        <a:spcAft>
          <a:spcPct val="0"/>
        </a:spcAft>
        <a:defRPr sz="1700">
          <a:solidFill>
            <a:schemeClr val="bg1"/>
          </a:solidFill>
          <a:latin typeface="Verdana" pitchFamily="34" charset="0"/>
          <a:ea typeface="ＭＳ Ｐゴシック" pitchFamily="34" charset="-128"/>
          <a:cs typeface="MS PGothic" pitchFamily="34" charset="-128"/>
        </a:defRPr>
      </a:lvl3pPr>
      <a:lvl4pPr algn="l" rtl="0" eaLnBrk="0" fontAlgn="base" hangingPunct="0">
        <a:spcBef>
          <a:spcPct val="0"/>
        </a:spcBef>
        <a:spcAft>
          <a:spcPct val="0"/>
        </a:spcAft>
        <a:defRPr sz="1700">
          <a:solidFill>
            <a:schemeClr val="bg1"/>
          </a:solidFill>
          <a:latin typeface="Verdana" pitchFamily="34" charset="0"/>
          <a:ea typeface="ＭＳ Ｐゴシック" pitchFamily="34" charset="-128"/>
          <a:cs typeface="MS PGothic" pitchFamily="34" charset="-128"/>
        </a:defRPr>
      </a:lvl4pPr>
      <a:lvl5pPr algn="l" rtl="0" eaLnBrk="0" fontAlgn="base" hangingPunct="0">
        <a:spcBef>
          <a:spcPct val="0"/>
        </a:spcBef>
        <a:spcAft>
          <a:spcPct val="0"/>
        </a:spcAft>
        <a:defRPr sz="1700">
          <a:solidFill>
            <a:schemeClr val="bg1"/>
          </a:solidFill>
          <a:latin typeface="Verdana" pitchFamily="34" charset="0"/>
          <a:ea typeface="ＭＳ Ｐゴシック" pitchFamily="34" charset="-128"/>
          <a:cs typeface="MS PGothic" pitchFamily="34" charset="-128"/>
        </a:defRPr>
      </a:lvl5pPr>
      <a:lvl6pPr marL="457200" algn="l" rtl="0" eaLnBrk="1" fontAlgn="base" hangingPunct="1">
        <a:spcBef>
          <a:spcPct val="0"/>
        </a:spcBef>
        <a:spcAft>
          <a:spcPct val="0"/>
        </a:spcAft>
        <a:defRPr sz="2400">
          <a:solidFill>
            <a:schemeClr val="bg1"/>
          </a:solidFill>
          <a:latin typeface="Verdana" pitchFamily="34" charset="0"/>
        </a:defRPr>
      </a:lvl6pPr>
      <a:lvl7pPr marL="914400" algn="l" rtl="0" eaLnBrk="1" fontAlgn="base" hangingPunct="1">
        <a:spcBef>
          <a:spcPct val="0"/>
        </a:spcBef>
        <a:spcAft>
          <a:spcPct val="0"/>
        </a:spcAft>
        <a:defRPr sz="2400">
          <a:solidFill>
            <a:schemeClr val="bg1"/>
          </a:solidFill>
          <a:latin typeface="Verdana" pitchFamily="34" charset="0"/>
        </a:defRPr>
      </a:lvl7pPr>
      <a:lvl8pPr marL="1371600" algn="l" rtl="0" eaLnBrk="1" fontAlgn="base" hangingPunct="1">
        <a:spcBef>
          <a:spcPct val="0"/>
        </a:spcBef>
        <a:spcAft>
          <a:spcPct val="0"/>
        </a:spcAft>
        <a:defRPr sz="2400">
          <a:solidFill>
            <a:schemeClr val="bg1"/>
          </a:solidFill>
          <a:latin typeface="Verdana" pitchFamily="34" charset="0"/>
        </a:defRPr>
      </a:lvl8pPr>
      <a:lvl9pPr marL="1828800" algn="l" rtl="0" eaLnBrk="1" fontAlgn="base" hangingPunct="1">
        <a:spcBef>
          <a:spcPct val="0"/>
        </a:spcBef>
        <a:spcAft>
          <a:spcPct val="0"/>
        </a:spcAft>
        <a:defRPr sz="2400">
          <a:solidFill>
            <a:schemeClr val="bg1"/>
          </a:solidFill>
          <a:latin typeface="Verdana" pitchFamily="34" charset="0"/>
        </a:defRPr>
      </a:lvl9pPr>
    </p:titleStyle>
    <p:bodyStyle>
      <a:lvl1pPr marL="271463" indent="-271463" algn="l" defTabSz="981075" rtl="0" eaLnBrk="0" fontAlgn="base" hangingPunct="0">
        <a:spcBef>
          <a:spcPct val="40000"/>
        </a:spcBef>
        <a:spcAft>
          <a:spcPct val="0"/>
        </a:spcAft>
        <a:buClr>
          <a:schemeClr val="tx1"/>
        </a:buClr>
        <a:buFont typeface="Verdana" pitchFamily="34" charset="0"/>
        <a:buChar char="•"/>
        <a:defRPr sz="1600">
          <a:solidFill>
            <a:schemeClr val="tx1"/>
          </a:solidFill>
          <a:latin typeface="Arial" pitchFamily="34" charset="0"/>
          <a:ea typeface="ＭＳ Ｐゴシック" pitchFamily="34" charset="-128"/>
          <a:cs typeface="Arial" pitchFamily="34" charset="0"/>
        </a:defRPr>
      </a:lvl1pPr>
      <a:lvl2pPr marL="574675" indent="-119063" algn="l" defTabSz="981075" rtl="0" eaLnBrk="0" fontAlgn="base" hangingPunct="0">
        <a:spcBef>
          <a:spcPct val="20000"/>
        </a:spcBef>
        <a:spcAft>
          <a:spcPct val="0"/>
        </a:spcAft>
        <a:buClr>
          <a:schemeClr val="tx1"/>
        </a:buClr>
        <a:buChar char="-"/>
        <a:defRPr sz="1600">
          <a:solidFill>
            <a:schemeClr val="tx1"/>
          </a:solidFill>
          <a:latin typeface="Arial" pitchFamily="34" charset="0"/>
          <a:ea typeface="ＭＳ Ｐゴシック" pitchFamily="34" charset="-128"/>
          <a:cs typeface="Arial" pitchFamily="34" charset="0"/>
        </a:defRPr>
      </a:lvl2pPr>
      <a:lvl3pPr marL="1052513" indent="-28733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Arial" pitchFamily="34" charset="0"/>
          <a:ea typeface="ＭＳ Ｐゴシック" pitchFamily="34" charset="-128"/>
          <a:cs typeface="Arial" pitchFamily="34" charset="0"/>
        </a:defRPr>
      </a:lvl3pPr>
      <a:lvl4pPr marL="1639888" indent="-206375"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Arial" pitchFamily="34" charset="0"/>
          <a:ea typeface="ＭＳ Ｐゴシック" pitchFamily="34" charset="-128"/>
          <a:cs typeface="Arial" pitchFamily="34" charset="0"/>
        </a:defRPr>
      </a:lvl4pPr>
      <a:lvl5pPr marL="2116138" indent="-339725"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Arial" pitchFamily="34" charset="0"/>
          <a:ea typeface="ＭＳ Ｐゴシック" pitchFamily="34" charset="-128"/>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7" name="Rectangle 3"/>
          <p:cNvSpPr>
            <a:spLocks noGrp="1" noChangeArrowheads="1"/>
          </p:cNvSpPr>
          <p:nvPr>
            <p:ph type="body" idx="1"/>
          </p:nvPr>
        </p:nvSpPr>
        <p:spPr bwMode="auto">
          <a:xfrm>
            <a:off x="457200" y="1181104"/>
            <a:ext cx="82296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522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400" b="0">
                <a:solidFill>
                  <a:srgbClr val="000000"/>
                </a:solidFill>
                <a:latin typeface="Arial" charset="0"/>
              </a:defRPr>
            </a:lvl1pPr>
          </a:lstStyle>
          <a:p>
            <a:pPr>
              <a:defRPr/>
            </a:pPr>
            <a:endParaRPr lang="en-US" dirty="0"/>
          </a:p>
        </p:txBody>
      </p:sp>
      <p:sp>
        <p:nvSpPr>
          <p:cNvPr id="26522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charset="0"/>
              </a:defRPr>
            </a:lvl1pPr>
          </a:lstStyle>
          <a:p>
            <a:pPr>
              <a:defRPr/>
            </a:pPr>
            <a:endParaRPr lang="en-US" dirty="0"/>
          </a:p>
        </p:txBody>
      </p:sp>
      <p:sp>
        <p:nvSpPr>
          <p:cNvPr id="265222" name="Rectangle 6"/>
          <p:cNvSpPr>
            <a:spLocks noGrp="1" noChangeArrowheads="1"/>
          </p:cNvSpPr>
          <p:nvPr>
            <p:ph type="sldNum" sz="quarter" idx="4"/>
          </p:nvPr>
        </p:nvSpPr>
        <p:spPr bwMode="auto">
          <a:xfrm>
            <a:off x="6019800" y="62261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Verdana" pitchFamily="34" charset="0"/>
              </a:defRPr>
            </a:lvl1pPr>
          </a:lstStyle>
          <a:p>
            <a:pPr>
              <a:defRPr/>
            </a:pPr>
            <a:fld id="{4A0ACF5A-AF10-48F9-8A78-5825A055A0E9}" type="slidenum">
              <a:rPr lang="en-US"/>
              <a:pPr>
                <a:defRPr/>
              </a:pPr>
              <a:t>‹#›</a:t>
            </a:fld>
            <a:endParaRPr lang="en-US" dirty="0"/>
          </a:p>
        </p:txBody>
      </p:sp>
      <p:sp>
        <p:nvSpPr>
          <p:cNvPr id="16391" name="Rectangle 7"/>
          <p:cNvSpPr>
            <a:spLocks noGrp="1" noChangeArrowheads="1"/>
          </p:cNvSpPr>
          <p:nvPr>
            <p:ph type="title"/>
          </p:nvPr>
        </p:nvSpPr>
        <p:spPr bwMode="gray">
          <a:xfrm>
            <a:off x="0" y="0"/>
            <a:ext cx="9144000" cy="903288"/>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779196180"/>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Lst>
  <p:hf hdr="0" ftr="0" dt="0"/>
  <p:txStyles>
    <p:title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0" fontAlgn="base" hangingPunct="0">
        <a:spcBef>
          <a:spcPct val="20000"/>
        </a:spcBef>
        <a:spcAft>
          <a:spcPct val="0"/>
        </a:spcAft>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a:solidFill>
            <a:schemeClr val="tx1"/>
          </a:solidFill>
          <a:latin typeface="+mn-lt"/>
          <a:ea typeface="+mn-ea"/>
          <a:cs typeface="+mn-cs"/>
        </a:defRPr>
      </a:lvl5pPr>
      <a:lvl6pPr marL="2514600" indent="-228600" algn="l" rtl="0" fontAlgn="base">
        <a:spcBef>
          <a:spcPct val="20000"/>
        </a:spcBef>
        <a:spcAft>
          <a:spcPct val="0"/>
        </a:spcAft>
        <a:buChar char="»"/>
        <a:defRPr sz="1600">
          <a:solidFill>
            <a:schemeClr val="tx1"/>
          </a:solidFill>
          <a:latin typeface="+mn-lt"/>
          <a:ea typeface="+mn-ea"/>
          <a:cs typeface="+mn-cs"/>
        </a:defRPr>
      </a:lvl6pPr>
      <a:lvl7pPr marL="2971800" indent="-228600" algn="l" rtl="0" fontAlgn="base">
        <a:spcBef>
          <a:spcPct val="20000"/>
        </a:spcBef>
        <a:spcAft>
          <a:spcPct val="0"/>
        </a:spcAft>
        <a:buChar char="»"/>
        <a:defRPr sz="1600">
          <a:solidFill>
            <a:schemeClr val="tx1"/>
          </a:solidFill>
          <a:latin typeface="+mn-lt"/>
          <a:ea typeface="+mn-ea"/>
          <a:cs typeface="+mn-cs"/>
        </a:defRPr>
      </a:lvl7pPr>
      <a:lvl8pPr marL="3429000" indent="-228600" algn="l" rtl="0" fontAlgn="base">
        <a:spcBef>
          <a:spcPct val="20000"/>
        </a:spcBef>
        <a:spcAft>
          <a:spcPct val="0"/>
        </a:spcAft>
        <a:buChar char="»"/>
        <a:defRPr sz="1600">
          <a:solidFill>
            <a:schemeClr val="tx1"/>
          </a:solidFill>
          <a:latin typeface="+mn-lt"/>
          <a:ea typeface="+mn-ea"/>
          <a:cs typeface="+mn-cs"/>
        </a:defRPr>
      </a:lvl8pPr>
      <a:lvl9pPr marL="3886200" indent="-228600" algn="l" rtl="0" fontAlgn="base">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001000" y="6356386"/>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791798277"/>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7" name="Rectangle 3"/>
          <p:cNvSpPr>
            <a:spLocks noGrp="1" noChangeArrowheads="1"/>
          </p:cNvSpPr>
          <p:nvPr>
            <p:ph type="body" idx="1"/>
          </p:nvPr>
        </p:nvSpPr>
        <p:spPr bwMode="auto">
          <a:xfrm>
            <a:off x="457200" y="1181100"/>
            <a:ext cx="82296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522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400" b="0">
                <a:solidFill>
                  <a:srgbClr val="000000"/>
                </a:solidFill>
                <a:latin typeface="Arial" charset="0"/>
              </a:defRPr>
            </a:lvl1pPr>
          </a:lstStyle>
          <a:p>
            <a:pPr>
              <a:defRPr/>
            </a:pPr>
            <a:endParaRPr lang="en-US" dirty="0"/>
          </a:p>
        </p:txBody>
      </p:sp>
      <p:sp>
        <p:nvSpPr>
          <p:cNvPr id="26522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charset="0"/>
              </a:defRPr>
            </a:lvl1pPr>
          </a:lstStyle>
          <a:p>
            <a:pPr>
              <a:defRPr/>
            </a:pPr>
            <a:endParaRPr lang="en-US" dirty="0"/>
          </a:p>
        </p:txBody>
      </p:sp>
      <p:sp>
        <p:nvSpPr>
          <p:cNvPr id="265222" name="Rectangle 6"/>
          <p:cNvSpPr>
            <a:spLocks noGrp="1" noChangeArrowheads="1"/>
          </p:cNvSpPr>
          <p:nvPr>
            <p:ph type="sldNum" sz="quarter" idx="4"/>
          </p:nvPr>
        </p:nvSpPr>
        <p:spPr bwMode="auto">
          <a:xfrm>
            <a:off x="6019800" y="62261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Verdana" pitchFamily="34" charset="0"/>
              </a:defRPr>
            </a:lvl1pPr>
          </a:lstStyle>
          <a:p>
            <a:pPr>
              <a:defRPr/>
            </a:pPr>
            <a:fld id="{4A0ACF5A-AF10-48F9-8A78-5825A055A0E9}" type="slidenum">
              <a:rPr lang="en-US"/>
              <a:pPr>
                <a:defRPr/>
              </a:pPr>
              <a:t>‹#›</a:t>
            </a:fld>
            <a:endParaRPr lang="en-US" dirty="0"/>
          </a:p>
        </p:txBody>
      </p:sp>
      <p:sp>
        <p:nvSpPr>
          <p:cNvPr id="16391" name="Rectangle 7"/>
          <p:cNvSpPr>
            <a:spLocks noGrp="1" noChangeArrowheads="1"/>
          </p:cNvSpPr>
          <p:nvPr>
            <p:ph type="title"/>
          </p:nvPr>
        </p:nvSpPr>
        <p:spPr bwMode="gray">
          <a:xfrm>
            <a:off x="0" y="0"/>
            <a:ext cx="9144000" cy="903288"/>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4191539556"/>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Lst>
  <p:hf hdr="0" ftr="0" dt="0"/>
  <p:txStyles>
    <p:title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0" fontAlgn="base" hangingPunct="0">
        <a:spcBef>
          <a:spcPct val="20000"/>
        </a:spcBef>
        <a:spcAft>
          <a:spcPct val="0"/>
        </a:spcAft>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a:solidFill>
            <a:schemeClr val="tx1"/>
          </a:solidFill>
          <a:latin typeface="+mn-lt"/>
          <a:ea typeface="+mn-ea"/>
          <a:cs typeface="+mn-cs"/>
        </a:defRPr>
      </a:lvl5pPr>
      <a:lvl6pPr marL="2514600" indent="-228600" algn="l" rtl="0" fontAlgn="base">
        <a:spcBef>
          <a:spcPct val="20000"/>
        </a:spcBef>
        <a:spcAft>
          <a:spcPct val="0"/>
        </a:spcAft>
        <a:buChar char="»"/>
        <a:defRPr sz="1600">
          <a:solidFill>
            <a:schemeClr val="tx1"/>
          </a:solidFill>
          <a:latin typeface="+mn-lt"/>
          <a:ea typeface="+mn-ea"/>
          <a:cs typeface="+mn-cs"/>
        </a:defRPr>
      </a:lvl6pPr>
      <a:lvl7pPr marL="2971800" indent="-228600" algn="l" rtl="0" fontAlgn="base">
        <a:spcBef>
          <a:spcPct val="20000"/>
        </a:spcBef>
        <a:spcAft>
          <a:spcPct val="0"/>
        </a:spcAft>
        <a:buChar char="»"/>
        <a:defRPr sz="1600">
          <a:solidFill>
            <a:schemeClr val="tx1"/>
          </a:solidFill>
          <a:latin typeface="+mn-lt"/>
          <a:ea typeface="+mn-ea"/>
          <a:cs typeface="+mn-cs"/>
        </a:defRPr>
      </a:lvl7pPr>
      <a:lvl8pPr marL="3429000" indent="-228600" algn="l" rtl="0" fontAlgn="base">
        <a:spcBef>
          <a:spcPct val="20000"/>
        </a:spcBef>
        <a:spcAft>
          <a:spcPct val="0"/>
        </a:spcAft>
        <a:buChar char="»"/>
        <a:defRPr sz="1600">
          <a:solidFill>
            <a:schemeClr val="tx1"/>
          </a:solidFill>
          <a:latin typeface="+mn-lt"/>
          <a:ea typeface="+mn-ea"/>
          <a:cs typeface="+mn-cs"/>
        </a:defRPr>
      </a:lvl8pPr>
      <a:lvl9pPr marL="3886200" indent="-228600" algn="l" rtl="0" fontAlgn="base">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001000" y="6356386"/>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423190253"/>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7723890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8771"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36899" name="Rectangle 3"/>
          <p:cNvSpPr>
            <a:spLocks noGrp="1" noChangeArrowheads="1"/>
          </p:cNvSpPr>
          <p:nvPr>
            <p:ph type="body" idx="1"/>
          </p:nvPr>
        </p:nvSpPr>
        <p:spPr bwMode="auto">
          <a:xfrm>
            <a:off x="457200" y="1181106"/>
            <a:ext cx="8229600" cy="4945063"/>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690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lvl1pPr eaLnBrk="1" hangingPunct="1">
              <a:defRPr sz="1400" b="0">
                <a:latin typeface="Arial" charset="0"/>
                <a:cs typeface="+mn-cs"/>
              </a:defRPr>
            </a:lvl1pPr>
          </a:lstStyle>
          <a:p>
            <a:pPr defTabSz="913758"/>
            <a:endParaRPr lang="en-US" dirty="0">
              <a:solidFill>
                <a:srgbClr val="000000"/>
              </a:solidFill>
            </a:endParaRPr>
          </a:p>
        </p:txBody>
      </p:sp>
      <p:sp>
        <p:nvSpPr>
          <p:cNvPr id="33690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lvl1pPr algn="ctr" eaLnBrk="1" hangingPunct="1">
              <a:defRPr sz="1400" b="0">
                <a:latin typeface="Arial" charset="0"/>
                <a:cs typeface="+mn-cs"/>
              </a:defRPr>
            </a:lvl1pPr>
          </a:lstStyle>
          <a:p>
            <a:pPr defTabSz="913758"/>
            <a:endParaRPr lang="en-US" dirty="0">
              <a:solidFill>
                <a:srgbClr val="000000"/>
              </a:solidFill>
            </a:endParaRPr>
          </a:p>
        </p:txBody>
      </p:sp>
      <p:sp>
        <p:nvSpPr>
          <p:cNvPr id="336902" name="Rectangle 6"/>
          <p:cNvSpPr>
            <a:spLocks noGrp="1" noChangeArrowheads="1"/>
          </p:cNvSpPr>
          <p:nvPr>
            <p:ph type="sldNum" sz="quarter" idx="4"/>
          </p:nvPr>
        </p:nvSpPr>
        <p:spPr bwMode="auto">
          <a:xfrm>
            <a:off x="6019800" y="6226175"/>
            <a:ext cx="2133600" cy="476250"/>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lvl1pPr algn="r" eaLnBrk="1" hangingPunct="1">
              <a:defRPr sz="1400" b="0">
                <a:cs typeface="+mn-cs"/>
              </a:defRPr>
            </a:lvl1pPr>
          </a:lstStyle>
          <a:p>
            <a:pPr defTabSz="913758"/>
            <a:fld id="{FB979BAA-5B25-45BA-BFA0-06E2D297FA09}" type="slidenum">
              <a:rPr lang="en-US" smtClean="0">
                <a:solidFill>
                  <a:srgbClr val="000000"/>
                </a:solidFill>
                <a:latin typeface="Verdana"/>
              </a:rPr>
              <a:pPr defTabSz="913758"/>
              <a:t>‹#›</a:t>
            </a:fld>
            <a:endParaRPr lang="en-US" dirty="0">
              <a:solidFill>
                <a:srgbClr val="000000"/>
              </a:solidFill>
              <a:latin typeface="Verdana"/>
            </a:endParaRPr>
          </a:p>
        </p:txBody>
      </p:sp>
      <p:sp>
        <p:nvSpPr>
          <p:cNvPr id="336903" name="Rectangle 7"/>
          <p:cNvSpPr>
            <a:spLocks noGrp="1" noChangeArrowheads="1"/>
          </p:cNvSpPr>
          <p:nvPr>
            <p:ph type="title"/>
          </p:nvPr>
        </p:nvSpPr>
        <p:spPr bwMode="gray">
          <a:xfrm>
            <a:off x="0" y="0"/>
            <a:ext cx="9144000" cy="903288"/>
          </a:xfrm>
          <a:prstGeom prst="rect">
            <a:avLst/>
          </a:prstGeom>
          <a:solidFill>
            <a:srgbClr val="003366"/>
          </a:solidFill>
          <a:ln w="9525" algn="ctr">
            <a:noFill/>
            <a:miter lim="800000"/>
            <a:headEnd/>
            <a:tailEnd/>
          </a:ln>
          <a:effectLst/>
        </p:spPr>
        <p:txBody>
          <a:bodyPr vert="horz" wrap="square" lIns="91376" tIns="45688" rIns="91376" bIns="45688"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875062205"/>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72" r:id="rId3"/>
    <p:sldLayoutId id="2147484373" r:id="rId4"/>
    <p:sldLayoutId id="2147484374" r:id="rId5"/>
    <p:sldLayoutId id="2147484375" r:id="rId6"/>
    <p:sldLayoutId id="2147484376" r:id="rId7"/>
    <p:sldLayoutId id="2147484377" r:id="rId8"/>
    <p:sldLayoutId id="2147484378" r:id="rId9"/>
    <p:sldLayoutId id="2147484379" r:id="rId10"/>
    <p:sldLayoutId id="2147484380" r:id="rId11"/>
    <p:sldLayoutId id="2147484381" r:id="rId12"/>
  </p:sldLayoutIdLst>
  <p:hf hdr="0" ftr="0" dt="0"/>
  <p:txStyles>
    <p:titleStyle>
      <a:lvl1pPr algn="l" rtl="0" fontAlgn="base">
        <a:spcBef>
          <a:spcPct val="0"/>
        </a:spcBef>
        <a:spcAft>
          <a:spcPct val="0"/>
        </a:spcAft>
        <a:defRPr sz="3200">
          <a:solidFill>
            <a:schemeClr val="bg1"/>
          </a:solidFill>
          <a:latin typeface="+mj-lt"/>
          <a:ea typeface="+mj-ea"/>
          <a:cs typeface="+mj-cs"/>
        </a:defRPr>
      </a:lvl1pPr>
      <a:lvl2pPr algn="l" rtl="0" fontAlgn="base">
        <a:spcBef>
          <a:spcPct val="0"/>
        </a:spcBef>
        <a:spcAft>
          <a:spcPct val="0"/>
        </a:spcAft>
        <a:defRPr sz="3200">
          <a:solidFill>
            <a:schemeClr val="bg1"/>
          </a:solidFill>
          <a:latin typeface="Verdana" pitchFamily="34" charset="0"/>
          <a:cs typeface="Arial" charset="0"/>
        </a:defRPr>
      </a:lvl2pPr>
      <a:lvl3pPr algn="l" rtl="0" fontAlgn="base">
        <a:spcBef>
          <a:spcPct val="0"/>
        </a:spcBef>
        <a:spcAft>
          <a:spcPct val="0"/>
        </a:spcAft>
        <a:defRPr sz="3200">
          <a:solidFill>
            <a:schemeClr val="bg1"/>
          </a:solidFill>
          <a:latin typeface="Verdana" pitchFamily="34" charset="0"/>
          <a:cs typeface="Arial" charset="0"/>
        </a:defRPr>
      </a:lvl3pPr>
      <a:lvl4pPr algn="l" rtl="0" fontAlgn="base">
        <a:spcBef>
          <a:spcPct val="0"/>
        </a:spcBef>
        <a:spcAft>
          <a:spcPct val="0"/>
        </a:spcAft>
        <a:defRPr sz="3200">
          <a:solidFill>
            <a:schemeClr val="bg1"/>
          </a:solidFill>
          <a:latin typeface="Verdana" pitchFamily="34" charset="0"/>
          <a:cs typeface="Arial" charset="0"/>
        </a:defRPr>
      </a:lvl4pPr>
      <a:lvl5pPr algn="l" rtl="0" fontAlgn="base">
        <a:spcBef>
          <a:spcPct val="0"/>
        </a:spcBef>
        <a:spcAft>
          <a:spcPct val="0"/>
        </a:spcAft>
        <a:defRPr sz="3200">
          <a:solidFill>
            <a:schemeClr val="bg1"/>
          </a:solidFill>
          <a:latin typeface="Verdana" pitchFamily="34" charset="0"/>
          <a:cs typeface="Arial" charset="0"/>
        </a:defRPr>
      </a:lvl5pPr>
      <a:lvl6pPr marL="456880" algn="l" rtl="0" fontAlgn="base">
        <a:spcBef>
          <a:spcPct val="0"/>
        </a:spcBef>
        <a:spcAft>
          <a:spcPct val="0"/>
        </a:spcAft>
        <a:defRPr sz="3200">
          <a:solidFill>
            <a:schemeClr val="bg1"/>
          </a:solidFill>
          <a:latin typeface="Verdana" pitchFamily="34" charset="0"/>
          <a:cs typeface="Arial" charset="0"/>
        </a:defRPr>
      </a:lvl6pPr>
      <a:lvl7pPr marL="913758" algn="l" rtl="0" fontAlgn="base">
        <a:spcBef>
          <a:spcPct val="0"/>
        </a:spcBef>
        <a:spcAft>
          <a:spcPct val="0"/>
        </a:spcAft>
        <a:defRPr sz="3200">
          <a:solidFill>
            <a:schemeClr val="bg1"/>
          </a:solidFill>
          <a:latin typeface="Verdana" pitchFamily="34" charset="0"/>
          <a:cs typeface="Arial" charset="0"/>
        </a:defRPr>
      </a:lvl7pPr>
      <a:lvl8pPr marL="1370639" algn="l" rtl="0" fontAlgn="base">
        <a:spcBef>
          <a:spcPct val="0"/>
        </a:spcBef>
        <a:spcAft>
          <a:spcPct val="0"/>
        </a:spcAft>
        <a:defRPr sz="3200">
          <a:solidFill>
            <a:schemeClr val="bg1"/>
          </a:solidFill>
          <a:latin typeface="Verdana" pitchFamily="34" charset="0"/>
          <a:cs typeface="Arial" charset="0"/>
        </a:defRPr>
      </a:lvl8pPr>
      <a:lvl9pPr marL="1827517" algn="l" rtl="0" fontAlgn="base">
        <a:spcBef>
          <a:spcPct val="0"/>
        </a:spcBef>
        <a:spcAft>
          <a:spcPct val="0"/>
        </a:spcAft>
        <a:defRPr sz="3200">
          <a:solidFill>
            <a:schemeClr val="bg1"/>
          </a:solidFill>
          <a:latin typeface="Verdana" pitchFamily="34" charset="0"/>
          <a:cs typeface="Arial" charset="0"/>
        </a:defRPr>
      </a:lvl9pPr>
    </p:titleStyle>
    <p:bodyStyle>
      <a:lvl1pPr marL="342659" indent="-342659" algn="l" rtl="0" fontAlgn="base">
        <a:spcBef>
          <a:spcPct val="20000"/>
        </a:spcBef>
        <a:spcAft>
          <a:spcPct val="0"/>
        </a:spcAft>
        <a:buChar char="•"/>
        <a:defRPr sz="1600">
          <a:solidFill>
            <a:schemeClr val="tx1"/>
          </a:solidFill>
          <a:latin typeface="+mn-lt"/>
          <a:ea typeface="+mn-ea"/>
          <a:cs typeface="+mn-cs"/>
        </a:defRPr>
      </a:lvl1pPr>
      <a:lvl2pPr marL="742428" indent="-285548" algn="l" rtl="0" fontAlgn="base">
        <a:spcBef>
          <a:spcPct val="20000"/>
        </a:spcBef>
        <a:spcAft>
          <a:spcPct val="0"/>
        </a:spcAft>
        <a:buChar char="–"/>
        <a:defRPr sz="1600">
          <a:solidFill>
            <a:schemeClr val="tx1"/>
          </a:solidFill>
          <a:latin typeface="+mn-lt"/>
          <a:cs typeface="+mn-cs"/>
        </a:defRPr>
      </a:lvl2pPr>
      <a:lvl3pPr marL="1142199" indent="-228439" algn="l" rtl="0" fontAlgn="base">
        <a:spcBef>
          <a:spcPct val="20000"/>
        </a:spcBef>
        <a:spcAft>
          <a:spcPct val="0"/>
        </a:spcAft>
        <a:buChar char="•"/>
        <a:defRPr sz="1600">
          <a:solidFill>
            <a:schemeClr val="tx1"/>
          </a:solidFill>
          <a:latin typeface="+mn-lt"/>
          <a:cs typeface="+mn-cs"/>
        </a:defRPr>
      </a:lvl3pPr>
      <a:lvl4pPr marL="1599077" indent="-228439" algn="l" rtl="0" fontAlgn="base">
        <a:spcBef>
          <a:spcPct val="20000"/>
        </a:spcBef>
        <a:spcAft>
          <a:spcPct val="0"/>
        </a:spcAft>
        <a:buChar char="–"/>
        <a:defRPr sz="1600">
          <a:solidFill>
            <a:schemeClr val="tx1"/>
          </a:solidFill>
          <a:latin typeface="+mn-lt"/>
          <a:cs typeface="+mn-cs"/>
        </a:defRPr>
      </a:lvl4pPr>
      <a:lvl5pPr marL="2055957" indent="-228439" algn="l" rtl="0" fontAlgn="base">
        <a:spcBef>
          <a:spcPct val="20000"/>
        </a:spcBef>
        <a:spcAft>
          <a:spcPct val="0"/>
        </a:spcAft>
        <a:buChar char="»"/>
        <a:defRPr sz="1600">
          <a:solidFill>
            <a:schemeClr val="tx1"/>
          </a:solidFill>
          <a:latin typeface="+mn-lt"/>
          <a:cs typeface="+mn-cs"/>
        </a:defRPr>
      </a:lvl5pPr>
      <a:lvl6pPr marL="2512836" indent="-228439" algn="l" rtl="0" fontAlgn="base">
        <a:spcBef>
          <a:spcPct val="20000"/>
        </a:spcBef>
        <a:spcAft>
          <a:spcPct val="0"/>
        </a:spcAft>
        <a:buChar char="»"/>
        <a:defRPr sz="1600">
          <a:solidFill>
            <a:schemeClr val="tx1"/>
          </a:solidFill>
          <a:latin typeface="+mn-lt"/>
          <a:cs typeface="+mn-cs"/>
        </a:defRPr>
      </a:lvl6pPr>
      <a:lvl7pPr marL="2969716" indent="-228439" algn="l" rtl="0" fontAlgn="base">
        <a:spcBef>
          <a:spcPct val="20000"/>
        </a:spcBef>
        <a:spcAft>
          <a:spcPct val="0"/>
        </a:spcAft>
        <a:buChar char="»"/>
        <a:defRPr sz="1600">
          <a:solidFill>
            <a:schemeClr val="tx1"/>
          </a:solidFill>
          <a:latin typeface="+mn-lt"/>
          <a:cs typeface="+mn-cs"/>
        </a:defRPr>
      </a:lvl7pPr>
      <a:lvl8pPr marL="3426595" indent="-228439" algn="l" rtl="0" fontAlgn="base">
        <a:spcBef>
          <a:spcPct val="20000"/>
        </a:spcBef>
        <a:spcAft>
          <a:spcPct val="0"/>
        </a:spcAft>
        <a:buChar char="»"/>
        <a:defRPr sz="1600">
          <a:solidFill>
            <a:schemeClr val="tx1"/>
          </a:solidFill>
          <a:latin typeface="+mn-lt"/>
          <a:cs typeface="+mn-cs"/>
        </a:defRPr>
      </a:lvl8pPr>
      <a:lvl9pPr marL="3883472" indent="-228439" algn="l" rtl="0" fontAlgn="base">
        <a:spcBef>
          <a:spcPct val="20000"/>
        </a:spcBef>
        <a:spcAft>
          <a:spcPct val="0"/>
        </a:spcAft>
        <a:buChar char="»"/>
        <a:defRPr sz="1600">
          <a:solidFill>
            <a:schemeClr val="tx1"/>
          </a:solidFill>
          <a:latin typeface="+mn-lt"/>
          <a:cs typeface="+mn-cs"/>
        </a:defRPr>
      </a:lvl9pPr>
    </p:bodyStyle>
    <p:otherStyle>
      <a:defPPr>
        <a:defRPr lang="en-US"/>
      </a:defPPr>
      <a:lvl1pPr marL="0" algn="l" defTabSz="913758" rtl="0" eaLnBrk="1" latinLnBrk="0" hangingPunct="1">
        <a:defRPr sz="1800" kern="1200">
          <a:solidFill>
            <a:schemeClr val="tx1"/>
          </a:solidFill>
          <a:latin typeface="+mn-lt"/>
          <a:ea typeface="+mn-ea"/>
          <a:cs typeface="+mn-cs"/>
        </a:defRPr>
      </a:lvl1pPr>
      <a:lvl2pPr marL="456880" algn="l" defTabSz="913758" rtl="0" eaLnBrk="1" latinLnBrk="0" hangingPunct="1">
        <a:defRPr sz="1800" kern="1200">
          <a:solidFill>
            <a:schemeClr val="tx1"/>
          </a:solidFill>
          <a:latin typeface="+mn-lt"/>
          <a:ea typeface="+mn-ea"/>
          <a:cs typeface="+mn-cs"/>
        </a:defRPr>
      </a:lvl2pPr>
      <a:lvl3pPr marL="913758" algn="l" defTabSz="913758" rtl="0" eaLnBrk="1" latinLnBrk="0" hangingPunct="1">
        <a:defRPr sz="1800" kern="1200">
          <a:solidFill>
            <a:schemeClr val="tx1"/>
          </a:solidFill>
          <a:latin typeface="+mn-lt"/>
          <a:ea typeface="+mn-ea"/>
          <a:cs typeface="+mn-cs"/>
        </a:defRPr>
      </a:lvl3pPr>
      <a:lvl4pPr marL="1370639" algn="l" defTabSz="913758" rtl="0" eaLnBrk="1" latinLnBrk="0" hangingPunct="1">
        <a:defRPr sz="1800" kern="1200">
          <a:solidFill>
            <a:schemeClr val="tx1"/>
          </a:solidFill>
          <a:latin typeface="+mn-lt"/>
          <a:ea typeface="+mn-ea"/>
          <a:cs typeface="+mn-cs"/>
        </a:defRPr>
      </a:lvl4pPr>
      <a:lvl5pPr marL="1827517" algn="l" defTabSz="913758" rtl="0" eaLnBrk="1" latinLnBrk="0" hangingPunct="1">
        <a:defRPr sz="1800" kern="1200">
          <a:solidFill>
            <a:schemeClr val="tx1"/>
          </a:solidFill>
          <a:latin typeface="+mn-lt"/>
          <a:ea typeface="+mn-ea"/>
          <a:cs typeface="+mn-cs"/>
        </a:defRPr>
      </a:lvl5pPr>
      <a:lvl6pPr marL="2284398" algn="l" defTabSz="913758" rtl="0" eaLnBrk="1" latinLnBrk="0" hangingPunct="1">
        <a:defRPr sz="1800" kern="1200">
          <a:solidFill>
            <a:schemeClr val="tx1"/>
          </a:solidFill>
          <a:latin typeface="+mn-lt"/>
          <a:ea typeface="+mn-ea"/>
          <a:cs typeface="+mn-cs"/>
        </a:defRPr>
      </a:lvl6pPr>
      <a:lvl7pPr marL="2741275" algn="l" defTabSz="913758" rtl="0" eaLnBrk="1" latinLnBrk="0" hangingPunct="1">
        <a:defRPr sz="1800" kern="1200">
          <a:solidFill>
            <a:schemeClr val="tx1"/>
          </a:solidFill>
          <a:latin typeface="+mn-lt"/>
          <a:ea typeface="+mn-ea"/>
          <a:cs typeface="+mn-cs"/>
        </a:defRPr>
      </a:lvl7pPr>
      <a:lvl8pPr marL="3198156" algn="l" defTabSz="913758" rtl="0" eaLnBrk="1" latinLnBrk="0" hangingPunct="1">
        <a:defRPr sz="1800" kern="1200">
          <a:solidFill>
            <a:schemeClr val="tx1"/>
          </a:solidFill>
          <a:latin typeface="+mn-lt"/>
          <a:ea typeface="+mn-ea"/>
          <a:cs typeface="+mn-cs"/>
        </a:defRPr>
      </a:lvl8pPr>
      <a:lvl9pPr marL="3655033" algn="l" defTabSz="913758"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5"/>
            </p:custDataLst>
            <p:extLst>
              <p:ext uri="{D42A27DB-BD31-4B8C-83A1-F6EECF244321}">
                <p14:modId xmlns:p14="http://schemas.microsoft.com/office/powerpoint/2010/main" val="1930244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89"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36899" name="Rectangle 3"/>
          <p:cNvSpPr>
            <a:spLocks noGrp="1" noChangeArrowheads="1"/>
          </p:cNvSpPr>
          <p:nvPr>
            <p:ph type="body" idx="1"/>
          </p:nvPr>
        </p:nvSpPr>
        <p:spPr bwMode="auto">
          <a:xfrm>
            <a:off x="457200" y="1181106"/>
            <a:ext cx="8229600" cy="4945063"/>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690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lvl1pPr eaLnBrk="1" hangingPunct="1">
              <a:defRPr sz="1400" b="0">
                <a:latin typeface="Arial" charset="0"/>
                <a:cs typeface="+mn-cs"/>
              </a:defRPr>
            </a:lvl1pPr>
          </a:lstStyle>
          <a:p>
            <a:pPr defTabSz="913758"/>
            <a:endParaRPr lang="en-US" dirty="0">
              <a:solidFill>
                <a:srgbClr val="000000"/>
              </a:solidFill>
            </a:endParaRPr>
          </a:p>
        </p:txBody>
      </p:sp>
      <p:sp>
        <p:nvSpPr>
          <p:cNvPr id="33690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lvl1pPr algn="ctr" eaLnBrk="1" hangingPunct="1">
              <a:defRPr sz="1400" b="0">
                <a:latin typeface="Arial" charset="0"/>
                <a:cs typeface="+mn-cs"/>
              </a:defRPr>
            </a:lvl1pPr>
          </a:lstStyle>
          <a:p>
            <a:pPr defTabSz="913758"/>
            <a:endParaRPr lang="en-US" dirty="0">
              <a:solidFill>
                <a:srgbClr val="000000"/>
              </a:solidFill>
            </a:endParaRPr>
          </a:p>
        </p:txBody>
      </p:sp>
      <p:sp>
        <p:nvSpPr>
          <p:cNvPr id="336902" name="Rectangle 6"/>
          <p:cNvSpPr>
            <a:spLocks noGrp="1" noChangeArrowheads="1"/>
          </p:cNvSpPr>
          <p:nvPr>
            <p:ph type="sldNum" sz="quarter" idx="4"/>
          </p:nvPr>
        </p:nvSpPr>
        <p:spPr bwMode="auto">
          <a:xfrm>
            <a:off x="6019800" y="6226175"/>
            <a:ext cx="2133600" cy="476250"/>
          </a:xfrm>
          <a:prstGeom prst="rect">
            <a:avLst/>
          </a:prstGeom>
          <a:noFill/>
          <a:ln w="9525">
            <a:noFill/>
            <a:miter lim="800000"/>
            <a:headEnd/>
            <a:tailEnd/>
          </a:ln>
          <a:effectLst/>
        </p:spPr>
        <p:txBody>
          <a:bodyPr vert="horz" wrap="square" lIns="91376" tIns="45688" rIns="91376" bIns="45688" numCol="1" anchor="t" anchorCtr="0" compatLnSpc="1">
            <a:prstTxWarp prst="textNoShape">
              <a:avLst/>
            </a:prstTxWarp>
          </a:bodyPr>
          <a:lstStyle>
            <a:lvl1pPr algn="r" eaLnBrk="1" hangingPunct="1">
              <a:defRPr sz="1400" b="0">
                <a:cs typeface="+mn-cs"/>
              </a:defRPr>
            </a:lvl1pPr>
          </a:lstStyle>
          <a:p>
            <a:pPr defTabSz="913758"/>
            <a:fld id="{FB979BAA-5B25-45BA-BFA0-06E2D297FA09}" type="slidenum">
              <a:rPr lang="en-US" smtClean="0">
                <a:solidFill>
                  <a:srgbClr val="000000"/>
                </a:solidFill>
                <a:latin typeface="Verdana"/>
              </a:rPr>
              <a:pPr defTabSz="913758"/>
              <a:t>‹#›</a:t>
            </a:fld>
            <a:endParaRPr lang="en-US" dirty="0">
              <a:solidFill>
                <a:srgbClr val="000000"/>
              </a:solidFill>
              <a:latin typeface="Verdana"/>
            </a:endParaRPr>
          </a:p>
        </p:txBody>
      </p:sp>
      <p:sp>
        <p:nvSpPr>
          <p:cNvPr id="336903" name="Rectangle 7"/>
          <p:cNvSpPr>
            <a:spLocks noGrp="1" noChangeArrowheads="1"/>
          </p:cNvSpPr>
          <p:nvPr>
            <p:ph type="title"/>
          </p:nvPr>
        </p:nvSpPr>
        <p:spPr bwMode="gray">
          <a:xfrm>
            <a:off x="0" y="0"/>
            <a:ext cx="9144000" cy="903288"/>
          </a:xfrm>
          <a:prstGeom prst="rect">
            <a:avLst/>
          </a:prstGeom>
          <a:solidFill>
            <a:srgbClr val="003366"/>
          </a:solidFill>
          <a:ln w="9525" algn="ctr">
            <a:noFill/>
            <a:miter lim="800000"/>
            <a:headEnd/>
            <a:tailEnd/>
          </a:ln>
          <a:effectLst/>
        </p:spPr>
        <p:txBody>
          <a:bodyPr vert="horz" wrap="square" lIns="91376" tIns="45688" rIns="91376" bIns="45688" numCol="1" anchor="ctr" anchorCtr="0" compatLnSpc="1">
            <a:prstTxWarp prst="textNoShape">
              <a:avLst/>
            </a:prstTxWarp>
          </a:bodyPr>
          <a:lstStyle/>
          <a:p>
            <a:pPr lvl="0"/>
            <a:r>
              <a:rPr lang="en-US"/>
              <a:t>Click to edit Master title style</a:t>
            </a:r>
          </a:p>
        </p:txBody>
      </p:sp>
    </p:spTree>
    <p:extLst>
      <p:ext uri="{BB962C8B-B14F-4D97-AF65-F5344CB8AC3E}">
        <p14:creationId xmlns:p14="http://schemas.microsoft.com/office/powerpoint/2010/main" val="3375137681"/>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 id="2147484389" r:id="rId7"/>
    <p:sldLayoutId id="2147484390" r:id="rId8"/>
    <p:sldLayoutId id="2147484391" r:id="rId9"/>
    <p:sldLayoutId id="2147484392" r:id="rId10"/>
    <p:sldLayoutId id="2147484393" r:id="rId11"/>
    <p:sldLayoutId id="2147484394" r:id="rId12"/>
  </p:sldLayoutIdLst>
  <p:hf hdr="0" ftr="0" dt="0"/>
  <p:txStyles>
    <p:titleStyle>
      <a:lvl1pPr algn="l" rtl="0" fontAlgn="base">
        <a:spcBef>
          <a:spcPct val="0"/>
        </a:spcBef>
        <a:spcAft>
          <a:spcPct val="0"/>
        </a:spcAft>
        <a:defRPr sz="3200">
          <a:solidFill>
            <a:schemeClr val="bg1"/>
          </a:solidFill>
          <a:latin typeface="+mj-lt"/>
          <a:ea typeface="+mj-ea"/>
          <a:cs typeface="+mj-cs"/>
        </a:defRPr>
      </a:lvl1pPr>
      <a:lvl2pPr algn="l" rtl="0" fontAlgn="base">
        <a:spcBef>
          <a:spcPct val="0"/>
        </a:spcBef>
        <a:spcAft>
          <a:spcPct val="0"/>
        </a:spcAft>
        <a:defRPr sz="3200">
          <a:solidFill>
            <a:schemeClr val="bg1"/>
          </a:solidFill>
          <a:latin typeface="Verdana" pitchFamily="34" charset="0"/>
          <a:cs typeface="Arial" charset="0"/>
        </a:defRPr>
      </a:lvl2pPr>
      <a:lvl3pPr algn="l" rtl="0" fontAlgn="base">
        <a:spcBef>
          <a:spcPct val="0"/>
        </a:spcBef>
        <a:spcAft>
          <a:spcPct val="0"/>
        </a:spcAft>
        <a:defRPr sz="3200">
          <a:solidFill>
            <a:schemeClr val="bg1"/>
          </a:solidFill>
          <a:latin typeface="Verdana" pitchFamily="34" charset="0"/>
          <a:cs typeface="Arial" charset="0"/>
        </a:defRPr>
      </a:lvl3pPr>
      <a:lvl4pPr algn="l" rtl="0" fontAlgn="base">
        <a:spcBef>
          <a:spcPct val="0"/>
        </a:spcBef>
        <a:spcAft>
          <a:spcPct val="0"/>
        </a:spcAft>
        <a:defRPr sz="3200">
          <a:solidFill>
            <a:schemeClr val="bg1"/>
          </a:solidFill>
          <a:latin typeface="Verdana" pitchFamily="34" charset="0"/>
          <a:cs typeface="Arial" charset="0"/>
        </a:defRPr>
      </a:lvl4pPr>
      <a:lvl5pPr algn="l" rtl="0" fontAlgn="base">
        <a:spcBef>
          <a:spcPct val="0"/>
        </a:spcBef>
        <a:spcAft>
          <a:spcPct val="0"/>
        </a:spcAft>
        <a:defRPr sz="3200">
          <a:solidFill>
            <a:schemeClr val="bg1"/>
          </a:solidFill>
          <a:latin typeface="Verdana" pitchFamily="34" charset="0"/>
          <a:cs typeface="Arial" charset="0"/>
        </a:defRPr>
      </a:lvl5pPr>
      <a:lvl6pPr marL="456880" algn="l" rtl="0" fontAlgn="base">
        <a:spcBef>
          <a:spcPct val="0"/>
        </a:spcBef>
        <a:spcAft>
          <a:spcPct val="0"/>
        </a:spcAft>
        <a:defRPr sz="3200">
          <a:solidFill>
            <a:schemeClr val="bg1"/>
          </a:solidFill>
          <a:latin typeface="Verdana" pitchFamily="34" charset="0"/>
          <a:cs typeface="Arial" charset="0"/>
        </a:defRPr>
      </a:lvl6pPr>
      <a:lvl7pPr marL="913758" algn="l" rtl="0" fontAlgn="base">
        <a:spcBef>
          <a:spcPct val="0"/>
        </a:spcBef>
        <a:spcAft>
          <a:spcPct val="0"/>
        </a:spcAft>
        <a:defRPr sz="3200">
          <a:solidFill>
            <a:schemeClr val="bg1"/>
          </a:solidFill>
          <a:latin typeface="Verdana" pitchFamily="34" charset="0"/>
          <a:cs typeface="Arial" charset="0"/>
        </a:defRPr>
      </a:lvl7pPr>
      <a:lvl8pPr marL="1370639" algn="l" rtl="0" fontAlgn="base">
        <a:spcBef>
          <a:spcPct val="0"/>
        </a:spcBef>
        <a:spcAft>
          <a:spcPct val="0"/>
        </a:spcAft>
        <a:defRPr sz="3200">
          <a:solidFill>
            <a:schemeClr val="bg1"/>
          </a:solidFill>
          <a:latin typeface="Verdana" pitchFamily="34" charset="0"/>
          <a:cs typeface="Arial" charset="0"/>
        </a:defRPr>
      </a:lvl8pPr>
      <a:lvl9pPr marL="1827517" algn="l" rtl="0" fontAlgn="base">
        <a:spcBef>
          <a:spcPct val="0"/>
        </a:spcBef>
        <a:spcAft>
          <a:spcPct val="0"/>
        </a:spcAft>
        <a:defRPr sz="3200">
          <a:solidFill>
            <a:schemeClr val="bg1"/>
          </a:solidFill>
          <a:latin typeface="Verdana" pitchFamily="34" charset="0"/>
          <a:cs typeface="Arial" charset="0"/>
        </a:defRPr>
      </a:lvl9pPr>
    </p:titleStyle>
    <p:bodyStyle>
      <a:lvl1pPr marL="342659" indent="-342659" algn="l" rtl="0" fontAlgn="base">
        <a:spcBef>
          <a:spcPct val="20000"/>
        </a:spcBef>
        <a:spcAft>
          <a:spcPct val="0"/>
        </a:spcAft>
        <a:buChar char="•"/>
        <a:defRPr sz="1600">
          <a:solidFill>
            <a:schemeClr val="tx1"/>
          </a:solidFill>
          <a:latin typeface="+mn-lt"/>
          <a:ea typeface="+mn-ea"/>
          <a:cs typeface="+mn-cs"/>
        </a:defRPr>
      </a:lvl1pPr>
      <a:lvl2pPr marL="742428" indent="-285548" algn="l" rtl="0" fontAlgn="base">
        <a:spcBef>
          <a:spcPct val="20000"/>
        </a:spcBef>
        <a:spcAft>
          <a:spcPct val="0"/>
        </a:spcAft>
        <a:buChar char="–"/>
        <a:defRPr sz="1600">
          <a:solidFill>
            <a:schemeClr val="tx1"/>
          </a:solidFill>
          <a:latin typeface="+mn-lt"/>
          <a:cs typeface="+mn-cs"/>
        </a:defRPr>
      </a:lvl2pPr>
      <a:lvl3pPr marL="1142199" indent="-228439" algn="l" rtl="0" fontAlgn="base">
        <a:spcBef>
          <a:spcPct val="20000"/>
        </a:spcBef>
        <a:spcAft>
          <a:spcPct val="0"/>
        </a:spcAft>
        <a:buChar char="•"/>
        <a:defRPr sz="1600">
          <a:solidFill>
            <a:schemeClr val="tx1"/>
          </a:solidFill>
          <a:latin typeface="+mn-lt"/>
          <a:cs typeface="+mn-cs"/>
        </a:defRPr>
      </a:lvl3pPr>
      <a:lvl4pPr marL="1599077" indent="-228439" algn="l" rtl="0" fontAlgn="base">
        <a:spcBef>
          <a:spcPct val="20000"/>
        </a:spcBef>
        <a:spcAft>
          <a:spcPct val="0"/>
        </a:spcAft>
        <a:buChar char="–"/>
        <a:defRPr sz="1600">
          <a:solidFill>
            <a:schemeClr val="tx1"/>
          </a:solidFill>
          <a:latin typeface="+mn-lt"/>
          <a:cs typeface="+mn-cs"/>
        </a:defRPr>
      </a:lvl4pPr>
      <a:lvl5pPr marL="2055957" indent="-228439" algn="l" rtl="0" fontAlgn="base">
        <a:spcBef>
          <a:spcPct val="20000"/>
        </a:spcBef>
        <a:spcAft>
          <a:spcPct val="0"/>
        </a:spcAft>
        <a:buChar char="»"/>
        <a:defRPr sz="1600">
          <a:solidFill>
            <a:schemeClr val="tx1"/>
          </a:solidFill>
          <a:latin typeface="+mn-lt"/>
          <a:cs typeface="+mn-cs"/>
        </a:defRPr>
      </a:lvl5pPr>
      <a:lvl6pPr marL="2512836" indent="-228439" algn="l" rtl="0" fontAlgn="base">
        <a:spcBef>
          <a:spcPct val="20000"/>
        </a:spcBef>
        <a:spcAft>
          <a:spcPct val="0"/>
        </a:spcAft>
        <a:buChar char="»"/>
        <a:defRPr sz="1600">
          <a:solidFill>
            <a:schemeClr val="tx1"/>
          </a:solidFill>
          <a:latin typeface="+mn-lt"/>
          <a:cs typeface="+mn-cs"/>
        </a:defRPr>
      </a:lvl6pPr>
      <a:lvl7pPr marL="2969716" indent="-228439" algn="l" rtl="0" fontAlgn="base">
        <a:spcBef>
          <a:spcPct val="20000"/>
        </a:spcBef>
        <a:spcAft>
          <a:spcPct val="0"/>
        </a:spcAft>
        <a:buChar char="»"/>
        <a:defRPr sz="1600">
          <a:solidFill>
            <a:schemeClr val="tx1"/>
          </a:solidFill>
          <a:latin typeface="+mn-lt"/>
          <a:cs typeface="+mn-cs"/>
        </a:defRPr>
      </a:lvl7pPr>
      <a:lvl8pPr marL="3426595" indent="-228439" algn="l" rtl="0" fontAlgn="base">
        <a:spcBef>
          <a:spcPct val="20000"/>
        </a:spcBef>
        <a:spcAft>
          <a:spcPct val="0"/>
        </a:spcAft>
        <a:buChar char="»"/>
        <a:defRPr sz="1600">
          <a:solidFill>
            <a:schemeClr val="tx1"/>
          </a:solidFill>
          <a:latin typeface="+mn-lt"/>
          <a:cs typeface="+mn-cs"/>
        </a:defRPr>
      </a:lvl8pPr>
      <a:lvl9pPr marL="3883472" indent="-228439" algn="l" rtl="0" fontAlgn="base">
        <a:spcBef>
          <a:spcPct val="20000"/>
        </a:spcBef>
        <a:spcAft>
          <a:spcPct val="0"/>
        </a:spcAft>
        <a:buChar char="»"/>
        <a:defRPr sz="1600">
          <a:solidFill>
            <a:schemeClr val="tx1"/>
          </a:solidFill>
          <a:latin typeface="+mn-lt"/>
          <a:cs typeface="+mn-cs"/>
        </a:defRPr>
      </a:lvl9pPr>
    </p:bodyStyle>
    <p:otherStyle>
      <a:defPPr>
        <a:defRPr lang="en-US"/>
      </a:defPPr>
      <a:lvl1pPr marL="0" algn="l" defTabSz="913758" rtl="0" eaLnBrk="1" latinLnBrk="0" hangingPunct="1">
        <a:defRPr sz="1800" kern="1200">
          <a:solidFill>
            <a:schemeClr val="tx1"/>
          </a:solidFill>
          <a:latin typeface="+mn-lt"/>
          <a:ea typeface="+mn-ea"/>
          <a:cs typeface="+mn-cs"/>
        </a:defRPr>
      </a:lvl1pPr>
      <a:lvl2pPr marL="456880" algn="l" defTabSz="913758" rtl="0" eaLnBrk="1" latinLnBrk="0" hangingPunct="1">
        <a:defRPr sz="1800" kern="1200">
          <a:solidFill>
            <a:schemeClr val="tx1"/>
          </a:solidFill>
          <a:latin typeface="+mn-lt"/>
          <a:ea typeface="+mn-ea"/>
          <a:cs typeface="+mn-cs"/>
        </a:defRPr>
      </a:lvl2pPr>
      <a:lvl3pPr marL="913758" algn="l" defTabSz="913758" rtl="0" eaLnBrk="1" latinLnBrk="0" hangingPunct="1">
        <a:defRPr sz="1800" kern="1200">
          <a:solidFill>
            <a:schemeClr val="tx1"/>
          </a:solidFill>
          <a:latin typeface="+mn-lt"/>
          <a:ea typeface="+mn-ea"/>
          <a:cs typeface="+mn-cs"/>
        </a:defRPr>
      </a:lvl3pPr>
      <a:lvl4pPr marL="1370639" algn="l" defTabSz="913758" rtl="0" eaLnBrk="1" latinLnBrk="0" hangingPunct="1">
        <a:defRPr sz="1800" kern="1200">
          <a:solidFill>
            <a:schemeClr val="tx1"/>
          </a:solidFill>
          <a:latin typeface="+mn-lt"/>
          <a:ea typeface="+mn-ea"/>
          <a:cs typeface="+mn-cs"/>
        </a:defRPr>
      </a:lvl4pPr>
      <a:lvl5pPr marL="1827517" algn="l" defTabSz="913758" rtl="0" eaLnBrk="1" latinLnBrk="0" hangingPunct="1">
        <a:defRPr sz="1800" kern="1200">
          <a:solidFill>
            <a:schemeClr val="tx1"/>
          </a:solidFill>
          <a:latin typeface="+mn-lt"/>
          <a:ea typeface="+mn-ea"/>
          <a:cs typeface="+mn-cs"/>
        </a:defRPr>
      </a:lvl5pPr>
      <a:lvl6pPr marL="2284398" algn="l" defTabSz="913758" rtl="0" eaLnBrk="1" latinLnBrk="0" hangingPunct="1">
        <a:defRPr sz="1800" kern="1200">
          <a:solidFill>
            <a:schemeClr val="tx1"/>
          </a:solidFill>
          <a:latin typeface="+mn-lt"/>
          <a:ea typeface="+mn-ea"/>
          <a:cs typeface="+mn-cs"/>
        </a:defRPr>
      </a:lvl6pPr>
      <a:lvl7pPr marL="2741275" algn="l" defTabSz="913758" rtl="0" eaLnBrk="1" latinLnBrk="0" hangingPunct="1">
        <a:defRPr sz="1800" kern="1200">
          <a:solidFill>
            <a:schemeClr val="tx1"/>
          </a:solidFill>
          <a:latin typeface="+mn-lt"/>
          <a:ea typeface="+mn-ea"/>
          <a:cs typeface="+mn-cs"/>
        </a:defRPr>
      </a:lvl7pPr>
      <a:lvl8pPr marL="3198156" algn="l" defTabSz="913758" rtl="0" eaLnBrk="1" latinLnBrk="0" hangingPunct="1">
        <a:defRPr sz="1800" kern="1200">
          <a:solidFill>
            <a:schemeClr val="tx1"/>
          </a:solidFill>
          <a:latin typeface="+mn-lt"/>
          <a:ea typeface="+mn-ea"/>
          <a:cs typeface="+mn-cs"/>
        </a:defRPr>
      </a:lvl8pPr>
      <a:lvl9pPr marL="3655033" algn="l" defTabSz="91375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386" name="Picture 2" descr="Foundation-Logo-1"/>
          <p:cNvPicPr>
            <a:picLocks noChangeAspect="1" noChangeArrowheads="1"/>
          </p:cNvPicPr>
          <p:nvPr/>
        </p:nvPicPr>
        <p:blipFill>
          <a:blip r:embed="rId13" cstate="print"/>
          <a:srcRect/>
          <a:stretch>
            <a:fillRect/>
          </a:stretch>
        </p:blipFill>
        <p:spPr bwMode="auto">
          <a:xfrm>
            <a:off x="8172450" y="6246821"/>
            <a:ext cx="971550" cy="611187"/>
          </a:xfrm>
          <a:prstGeom prst="rect">
            <a:avLst/>
          </a:prstGeom>
          <a:noFill/>
          <a:ln w="9525">
            <a:noFill/>
            <a:miter lim="800000"/>
            <a:headEnd/>
            <a:tailEnd/>
          </a:ln>
        </p:spPr>
      </p:pic>
      <p:sp>
        <p:nvSpPr>
          <p:cNvPr id="16387" name="Rectangle 3"/>
          <p:cNvSpPr>
            <a:spLocks noGrp="1" noChangeArrowheads="1"/>
          </p:cNvSpPr>
          <p:nvPr>
            <p:ph type="body" idx="1"/>
          </p:nvPr>
        </p:nvSpPr>
        <p:spPr bwMode="auto">
          <a:xfrm>
            <a:off x="457200" y="1181104"/>
            <a:ext cx="82296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522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400" b="0">
                <a:solidFill>
                  <a:srgbClr val="000000"/>
                </a:solidFill>
                <a:latin typeface="Arial" charset="0"/>
              </a:defRPr>
            </a:lvl1pPr>
          </a:lstStyle>
          <a:p>
            <a:pPr>
              <a:defRPr/>
            </a:pPr>
            <a:endParaRPr lang="en-US" dirty="0"/>
          </a:p>
        </p:txBody>
      </p:sp>
      <p:sp>
        <p:nvSpPr>
          <p:cNvPr id="26522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b="0">
                <a:solidFill>
                  <a:srgbClr val="000000"/>
                </a:solidFill>
                <a:latin typeface="Arial" charset="0"/>
              </a:defRPr>
            </a:lvl1pPr>
          </a:lstStyle>
          <a:p>
            <a:pPr>
              <a:defRPr/>
            </a:pPr>
            <a:endParaRPr lang="en-US" dirty="0"/>
          </a:p>
        </p:txBody>
      </p:sp>
      <p:sp>
        <p:nvSpPr>
          <p:cNvPr id="265222" name="Rectangle 6"/>
          <p:cNvSpPr>
            <a:spLocks noGrp="1" noChangeArrowheads="1"/>
          </p:cNvSpPr>
          <p:nvPr>
            <p:ph type="sldNum" sz="quarter" idx="4"/>
          </p:nvPr>
        </p:nvSpPr>
        <p:spPr bwMode="auto">
          <a:xfrm>
            <a:off x="6019800" y="62261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b="0">
                <a:solidFill>
                  <a:srgbClr val="000000"/>
                </a:solidFill>
                <a:latin typeface="Verdana" pitchFamily="34" charset="0"/>
              </a:defRPr>
            </a:lvl1pPr>
          </a:lstStyle>
          <a:p>
            <a:pPr>
              <a:defRPr/>
            </a:pPr>
            <a:fld id="{4A0ACF5A-AF10-48F9-8A78-5825A055A0E9}" type="slidenum">
              <a:rPr lang="en-US"/>
              <a:pPr>
                <a:defRPr/>
              </a:pPr>
              <a:t>‹#›</a:t>
            </a:fld>
            <a:endParaRPr lang="en-US" dirty="0"/>
          </a:p>
        </p:txBody>
      </p:sp>
      <p:sp>
        <p:nvSpPr>
          <p:cNvPr id="16391" name="Rectangle 7"/>
          <p:cNvSpPr>
            <a:spLocks noGrp="1" noChangeArrowheads="1"/>
          </p:cNvSpPr>
          <p:nvPr>
            <p:ph type="title"/>
          </p:nvPr>
        </p:nvSpPr>
        <p:spPr bwMode="gray">
          <a:xfrm>
            <a:off x="0" y="0"/>
            <a:ext cx="9144000" cy="903288"/>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Tree>
  </p:cSld>
  <p:clrMap bg1="lt1" tx1="dk1" bg2="lt2" tx2="dk2" accent1="accent1" accent2="accent2" accent3="accent3" accent4="accent4" accent5="accent5" accent6="accent6" hlink="hlink" folHlink="folHlink"/>
  <p:sldLayoutIdLst>
    <p:sldLayoutId id="2147483689" r:id="rId1"/>
    <p:sldLayoutId id="2147483688" r:id="rId2"/>
    <p:sldLayoutId id="2147483687" r:id="rId3"/>
    <p:sldLayoutId id="2147483686" r:id="rId4"/>
    <p:sldLayoutId id="2147483685" r:id="rId5"/>
    <p:sldLayoutId id="2147483684" r:id="rId6"/>
    <p:sldLayoutId id="2147483683" r:id="rId7"/>
    <p:sldLayoutId id="2147483682" r:id="rId8"/>
    <p:sldLayoutId id="2147483681" r:id="rId9"/>
    <p:sldLayoutId id="2147483680" r:id="rId10"/>
    <p:sldLayoutId id="2147483679" r:id="rId11"/>
  </p:sldLayoutIdLst>
  <p:hf hdr="0" ftr="0" dt="0"/>
  <p:txStyles>
    <p:title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0" fontAlgn="base" hangingPunct="0">
        <a:spcBef>
          <a:spcPct val="20000"/>
        </a:spcBef>
        <a:spcAft>
          <a:spcPct val="0"/>
        </a:spcAft>
        <a:buChar char="•"/>
        <a:defRPr sz="16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a:solidFill>
            <a:schemeClr val="tx1"/>
          </a:solidFill>
          <a:latin typeface="+mn-lt"/>
          <a:ea typeface="+mn-ea"/>
          <a:cs typeface="+mn-cs"/>
        </a:defRPr>
      </a:lvl5pPr>
      <a:lvl6pPr marL="2514600" indent="-228600" algn="l" rtl="0" fontAlgn="base">
        <a:spcBef>
          <a:spcPct val="20000"/>
        </a:spcBef>
        <a:spcAft>
          <a:spcPct val="0"/>
        </a:spcAft>
        <a:buChar char="»"/>
        <a:defRPr sz="1600">
          <a:solidFill>
            <a:schemeClr val="tx1"/>
          </a:solidFill>
          <a:latin typeface="+mn-lt"/>
          <a:ea typeface="+mn-ea"/>
          <a:cs typeface="+mn-cs"/>
        </a:defRPr>
      </a:lvl6pPr>
      <a:lvl7pPr marL="2971800" indent="-228600" algn="l" rtl="0" fontAlgn="base">
        <a:spcBef>
          <a:spcPct val="20000"/>
        </a:spcBef>
        <a:spcAft>
          <a:spcPct val="0"/>
        </a:spcAft>
        <a:buChar char="»"/>
        <a:defRPr sz="1600">
          <a:solidFill>
            <a:schemeClr val="tx1"/>
          </a:solidFill>
          <a:latin typeface="+mn-lt"/>
          <a:ea typeface="+mn-ea"/>
          <a:cs typeface="+mn-cs"/>
        </a:defRPr>
      </a:lvl7pPr>
      <a:lvl8pPr marL="3429000" indent="-228600" algn="l" rtl="0" fontAlgn="base">
        <a:spcBef>
          <a:spcPct val="20000"/>
        </a:spcBef>
        <a:spcAft>
          <a:spcPct val="0"/>
        </a:spcAft>
        <a:buChar char="»"/>
        <a:defRPr sz="1600">
          <a:solidFill>
            <a:schemeClr val="tx1"/>
          </a:solidFill>
          <a:latin typeface="+mn-lt"/>
          <a:ea typeface="+mn-ea"/>
          <a:cs typeface="+mn-cs"/>
        </a:defRPr>
      </a:lvl8pPr>
      <a:lvl9pPr marL="3886200" indent="-228600" algn="l" rtl="0" fontAlgn="base">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8001000" y="6356350"/>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792946410"/>
      </p:ext>
    </p:extLst>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eaLnBrk="0" hangingPunct="0">
              <a:defRPr sz="1400"/>
            </a:lvl1pPr>
          </a:lstStyle>
          <a:p>
            <a:pPr>
              <a:defRPr/>
            </a:pPr>
            <a:endParaRPr lang="en-US" dirty="0">
              <a:solidFill>
                <a:srgbClr val="000000"/>
              </a:solidFill>
            </a:endParaRPr>
          </a:p>
        </p:txBody>
      </p:sp>
      <p:sp>
        <p:nvSpPr>
          <p:cNvPr id="1030" name="Rectangle 6"/>
          <p:cNvSpPr>
            <a:spLocks noGrp="1" noChangeArrowheads="1"/>
          </p:cNvSpPr>
          <p:nvPr>
            <p:ph type="sldNum" sz="quarter" idx="4"/>
          </p:nvPr>
        </p:nvSpPr>
        <p:spPr bwMode="auto">
          <a:xfrm>
            <a:off x="7010400" y="64770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400"/>
            </a:lvl1pPr>
          </a:lstStyle>
          <a:p>
            <a:pPr>
              <a:defRPr/>
            </a:pPr>
            <a:fld id="{91454E91-B135-4AF5-B4C0-77FC49BB30A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08862976"/>
      </p:ext>
    </p:extLst>
  </p:cSld>
  <p:clrMap bg1="lt1" tx1="dk1" bg2="lt2" tx2="dk2" accent1="accent1" accent2="accent2" accent3="accent3" accent4="accent4" accent5="accent5" accent6="accent6" hlink="hlink" folHlink="folHlink"/>
  <p:sldLayoutIdLst>
    <p:sldLayoutId id="2147484415" r:id="rId1"/>
    <p:sldLayoutId id="2147484416" r:id="rId2"/>
    <p:sldLayoutId id="2147484417" r:id="rId3"/>
    <p:sldLayoutId id="2147484418" r:id="rId4"/>
    <p:sldLayoutId id="2147484419" r:id="rId5"/>
    <p:sldLayoutId id="2147484420" r:id="rId6"/>
    <p:sldLayoutId id="2147484421" r:id="rId7"/>
    <p:sldLayoutId id="2147484422" r:id="rId8"/>
    <p:sldLayoutId id="2147484423" r:id="rId9"/>
    <p:sldLayoutId id="2147484424" r:id="rId10"/>
    <p:sldLayoutId id="2147484425" r:id="rId11"/>
    <p:sldLayoutId id="2147484426" r:id="rId12"/>
    <p:sldLayoutId id="2147484427" r:id="rId13"/>
    <p:sldLayoutId id="2147484428" r:id="rId14"/>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MS PGothic" pitchFamily="34" charset="-128"/>
        </a:defRPr>
      </a:lvl2pPr>
      <a:lvl3pPr algn="ctr" rtl="0" eaLnBrk="0" fontAlgn="base" hangingPunct="0">
        <a:spcBef>
          <a:spcPct val="0"/>
        </a:spcBef>
        <a:spcAft>
          <a:spcPct val="0"/>
        </a:spcAft>
        <a:defRPr sz="4400">
          <a:solidFill>
            <a:schemeClr val="tx2"/>
          </a:solidFill>
          <a:latin typeface="Arial" charset="0"/>
          <a:ea typeface="MS PGothic" pitchFamily="34" charset="-128"/>
        </a:defRPr>
      </a:lvl3pPr>
      <a:lvl4pPr algn="ctr" rtl="0" eaLnBrk="0" fontAlgn="base" hangingPunct="0">
        <a:spcBef>
          <a:spcPct val="0"/>
        </a:spcBef>
        <a:spcAft>
          <a:spcPct val="0"/>
        </a:spcAft>
        <a:defRPr sz="4400">
          <a:solidFill>
            <a:schemeClr val="tx2"/>
          </a:solidFill>
          <a:latin typeface="Arial" charset="0"/>
          <a:ea typeface="MS PGothic" pitchFamily="34" charset="-128"/>
        </a:defRPr>
      </a:lvl4pPr>
      <a:lvl5pPr algn="ctr" rtl="0" eaLnBrk="0" fontAlgn="base" hangingPunct="0">
        <a:spcBef>
          <a:spcPct val="0"/>
        </a:spcBef>
        <a:spcAft>
          <a:spcPct val="0"/>
        </a:spcAft>
        <a:defRPr sz="4400">
          <a:solidFill>
            <a:schemeClr val="tx2"/>
          </a:solidFill>
          <a:latin typeface="Arial" charset="0"/>
          <a:ea typeface="MS PGothic" pitchFamily="34" charset="-128"/>
        </a:defRPr>
      </a:lvl5pPr>
      <a:lvl6pPr marL="457200" algn="ctr" rtl="0" fontAlgn="base">
        <a:spcBef>
          <a:spcPct val="0"/>
        </a:spcBef>
        <a:spcAft>
          <a:spcPct val="0"/>
        </a:spcAft>
        <a:defRPr sz="4400">
          <a:solidFill>
            <a:schemeClr val="tx2"/>
          </a:solidFill>
          <a:latin typeface="Arial" charset="0"/>
          <a:ea typeface="MS PGothic" pitchFamily="34" charset="-128"/>
        </a:defRPr>
      </a:lvl6pPr>
      <a:lvl7pPr marL="914400" algn="ctr" rtl="0" fontAlgn="base">
        <a:spcBef>
          <a:spcPct val="0"/>
        </a:spcBef>
        <a:spcAft>
          <a:spcPct val="0"/>
        </a:spcAft>
        <a:defRPr sz="4400">
          <a:solidFill>
            <a:schemeClr val="tx2"/>
          </a:solidFill>
          <a:latin typeface="Arial" charset="0"/>
          <a:ea typeface="MS PGothic" pitchFamily="34" charset="-128"/>
        </a:defRPr>
      </a:lvl7pPr>
      <a:lvl8pPr marL="1371600" algn="ctr" rtl="0" fontAlgn="base">
        <a:spcBef>
          <a:spcPct val="0"/>
        </a:spcBef>
        <a:spcAft>
          <a:spcPct val="0"/>
        </a:spcAft>
        <a:defRPr sz="4400">
          <a:solidFill>
            <a:schemeClr val="tx2"/>
          </a:solidFill>
          <a:latin typeface="Arial" charset="0"/>
          <a:ea typeface="MS PGothic" pitchFamily="34" charset="-128"/>
        </a:defRPr>
      </a:lvl8pPr>
      <a:lvl9pPr marL="1828800" algn="ctr" rtl="0" fontAlgn="base">
        <a:spcBef>
          <a:spcPct val="0"/>
        </a:spcBef>
        <a:spcAft>
          <a:spcPct val="0"/>
        </a:spcAft>
        <a:defRPr sz="4400">
          <a:solidFill>
            <a:schemeClr val="tx2"/>
          </a:solidFill>
          <a:latin typeface="Arial" charset="0"/>
          <a:ea typeface="MS PGothic" pitchFamily="34" charset="-128"/>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F184FCD3-C2BE-43CF-903B-BF41DBAD93EA}" type="slidenum">
              <a:rPr lang="en-US" smtClean="0">
                <a:solidFill>
                  <a:prstClr val="black">
                    <a:tint val="75000"/>
                  </a:prstClr>
                </a:solidFill>
                <a:latin typeface="Calibri"/>
              </a:rPr>
              <a:pPr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16964785"/>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 id="2147484600" r:id="rId4"/>
    <p:sldLayoutId id="2147484601" r:id="rId5"/>
    <p:sldLayoutId id="2147484602" r:id="rId6"/>
    <p:sldLayoutId id="2147484603" r:id="rId7"/>
    <p:sldLayoutId id="2147484604" r:id="rId8"/>
    <p:sldLayoutId id="2147484605" r:id="rId9"/>
    <p:sldLayoutId id="2147484606" r:id="rId10"/>
    <p:sldLayoutId id="2147484607"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895051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054"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ECA9FF55-2D06-4F08-A278-AEAA0F1FD5B5}" type="slidenum">
              <a:rPr lang="en-US">
                <a:solidFill>
                  <a:prstClr val="black">
                    <a:tint val="75000"/>
                  </a:prstClr>
                </a:solidFill>
                <a:latin typeface="Calibri"/>
              </a:rPr>
              <a:pPr fontAlgn="auto">
                <a:spcBef>
                  <a:spcPts val="0"/>
                </a:spcBef>
                <a:spcAft>
                  <a:spcPts val="0"/>
                </a:spcAft>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517369248"/>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3" r:id="rId5"/>
    <p:sldLayoutId id="2147484614" r:id="rId6"/>
    <p:sldLayoutId id="2147484615" r:id="rId7"/>
    <p:sldLayoutId id="2147484616" r:id="rId8"/>
    <p:sldLayoutId id="2147484617" r:id="rId9"/>
    <p:sldLayoutId id="2147484618" r:id="rId10"/>
    <p:sldLayoutId id="2147484619" r:id="rId11"/>
    <p:sldLayoutId id="2147484620" r:id="rId12"/>
    <p:sldLayoutId id="2147484621"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64175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7078"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0"/>
            <a:ext cx="868680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142999"/>
            <a:ext cx="82296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730351" y="6532335"/>
            <a:ext cx="395761" cy="307777"/>
          </a:xfrm>
          <a:prstGeom prst="rect">
            <a:avLst/>
          </a:prstGeom>
          <a:noFill/>
        </p:spPr>
        <p:txBody>
          <a:bodyPr wrap="none" rtlCol="0">
            <a:spAutoFit/>
          </a:bodyPr>
          <a:lstStyle/>
          <a:p>
            <a:pPr defTabSz="457200"/>
            <a:fld id="{AE41A955-C666-6648-B661-87D6253479FC}" type="slidenum">
              <a:rPr lang="en-US" sz="1400" smtClean="0">
                <a:solidFill>
                  <a:prstClr val="black"/>
                </a:solidFill>
                <a:latin typeface="Calibri"/>
                <a:ea typeface="ＭＳ Ｐゴシック" pitchFamily="127" charset="-128"/>
              </a:rPr>
              <a:pPr defTabSz="457200"/>
              <a:t>‹#›</a:t>
            </a:fld>
            <a:endParaRPr lang="en-US" sz="1400" dirty="0">
              <a:solidFill>
                <a:prstClr val="black"/>
              </a:solidFill>
              <a:latin typeface="Calibri"/>
              <a:ea typeface="ＭＳ Ｐゴシック" pitchFamily="127" charset="-128"/>
            </a:endParaRPr>
          </a:p>
        </p:txBody>
      </p:sp>
    </p:spTree>
    <p:extLst>
      <p:ext uri="{BB962C8B-B14F-4D97-AF65-F5344CB8AC3E}">
        <p14:creationId xmlns:p14="http://schemas.microsoft.com/office/powerpoint/2010/main" val="1974659969"/>
      </p:ext>
    </p:extLst>
  </p:cSld>
  <p:clrMap bg1="lt1" tx1="dk1" bg2="lt2" tx2="dk2" accent1="accent1" accent2="accent2" accent3="accent3" accent4="accent4" accent5="accent5" accent6="accent6" hlink="hlink" folHlink="folHlink"/>
  <p:sldLayoutIdLst>
    <p:sldLayoutId id="2147484623" r:id="rId1"/>
    <p:sldLayoutId id="2147484624" r:id="rId2"/>
    <p:sldLayoutId id="2147484625" r:id="rId3"/>
    <p:sldLayoutId id="2147484626" r:id="rId4"/>
    <p:sldLayoutId id="2147484627" r:id="rId5"/>
    <p:sldLayoutId id="2147484628" r:id="rId6"/>
  </p:sldLayoutIdLst>
  <p:hf hdr="0" ftr="0" dt="0"/>
  <p:txStyles>
    <p:titleStyle>
      <a:lvl1pPr algn="l" defTabSz="457200" rtl="0" eaLnBrk="1" latinLnBrk="0" hangingPunct="1">
        <a:spcBef>
          <a:spcPct val="0"/>
        </a:spcBef>
        <a:buNone/>
        <a:defRPr sz="3200" kern="1200">
          <a:solidFill>
            <a:schemeClr val="bg1"/>
          </a:solidFill>
          <a:latin typeface="+mn-lt"/>
          <a:ea typeface="+mj-ea"/>
          <a:cs typeface="+mj-cs"/>
        </a:defRPr>
      </a:lvl1pPr>
    </p:titleStyle>
    <p:bodyStyle>
      <a:lvl1pPr marL="342900" indent="-342900" algn="l" defTabSz="457200" rtl="0" eaLnBrk="1" latinLnBrk="0" hangingPunct="1">
        <a:lnSpc>
          <a:spcPct val="114000"/>
        </a:lnSpc>
        <a:spcBef>
          <a:spcPts val="600"/>
        </a:spcBef>
        <a:buSzPct val="90000"/>
        <a:buFont typeface="Wingdings" charset="2"/>
        <a:buChar char="§"/>
        <a:defRPr sz="2800" kern="1200">
          <a:solidFill>
            <a:schemeClr val="tx1"/>
          </a:solidFill>
          <a:latin typeface="+mn-lt"/>
          <a:ea typeface="+mn-ea"/>
          <a:cs typeface="+mn-cs"/>
        </a:defRPr>
      </a:lvl1pPr>
      <a:lvl2pPr marL="742950" indent="-285750" algn="l" defTabSz="457200" rtl="0" eaLnBrk="1" latinLnBrk="0" hangingPunct="1">
        <a:lnSpc>
          <a:spcPct val="114000"/>
        </a:lnSpc>
        <a:spcBef>
          <a:spcPts val="400"/>
        </a:spcBef>
        <a:buSzPct val="90000"/>
        <a:buFont typeface="Arial"/>
        <a:buChar char="–"/>
        <a:defRPr sz="2400" kern="1200">
          <a:solidFill>
            <a:schemeClr val="tx1"/>
          </a:solidFill>
          <a:latin typeface="+mn-lt"/>
          <a:ea typeface="+mn-ea"/>
          <a:cs typeface="+mn-cs"/>
        </a:defRPr>
      </a:lvl2pPr>
      <a:lvl3pPr marL="1143000" indent="-228600" algn="l" defTabSz="457200" rtl="0" eaLnBrk="1" latinLnBrk="0" hangingPunct="1">
        <a:lnSpc>
          <a:spcPct val="114000"/>
        </a:lnSpc>
        <a:spcBef>
          <a:spcPts val="300"/>
        </a:spcBef>
        <a:buSzPct val="90000"/>
        <a:buFont typeface="Arial"/>
        <a:buChar char="•"/>
        <a:defRPr sz="2000" kern="1200">
          <a:solidFill>
            <a:schemeClr val="tx1"/>
          </a:solidFill>
          <a:latin typeface="+mn-lt"/>
          <a:ea typeface="+mn-ea"/>
          <a:cs typeface="+mn-cs"/>
        </a:defRPr>
      </a:lvl3pPr>
      <a:lvl4pPr marL="1600200" indent="-228600" algn="l" defTabSz="457200" rtl="0" eaLnBrk="1" latinLnBrk="0" hangingPunct="1">
        <a:lnSpc>
          <a:spcPct val="114000"/>
        </a:lnSpc>
        <a:spcBef>
          <a:spcPts val="200"/>
        </a:spcBef>
        <a:buSzPct val="90000"/>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114000"/>
        </a:lnSpc>
        <a:spcBef>
          <a:spcPts val="200"/>
        </a:spcBef>
        <a:buSzPct val="90000"/>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ext uri="{D42A27DB-BD31-4B8C-83A1-F6EECF244321}">
                <p14:modId xmlns:p14="http://schemas.microsoft.com/office/powerpoint/2010/main" val="38471987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912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0"/>
            <a:ext cx="868680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142999"/>
            <a:ext cx="82296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730351" y="6532335"/>
            <a:ext cx="395761" cy="307777"/>
          </a:xfrm>
          <a:prstGeom prst="rect">
            <a:avLst/>
          </a:prstGeom>
          <a:noFill/>
        </p:spPr>
        <p:txBody>
          <a:bodyPr wrap="none" rtlCol="0">
            <a:spAutoFit/>
          </a:bodyPr>
          <a:lstStyle/>
          <a:p>
            <a:pPr defTabSz="457200"/>
            <a:fld id="{AE41A955-C666-6648-B661-87D6253479FC}" type="slidenum">
              <a:rPr lang="en-US" sz="1400" smtClean="0">
                <a:solidFill>
                  <a:prstClr val="black"/>
                </a:solidFill>
                <a:latin typeface="Calibri"/>
                <a:ea typeface="ＭＳ Ｐゴシック" pitchFamily="127" charset="-128"/>
              </a:rPr>
              <a:pPr defTabSz="457200"/>
              <a:t>‹#›</a:t>
            </a:fld>
            <a:endParaRPr lang="en-US" sz="1400" dirty="0">
              <a:solidFill>
                <a:prstClr val="black"/>
              </a:solidFill>
              <a:latin typeface="Calibri"/>
              <a:ea typeface="ＭＳ Ｐゴシック" pitchFamily="127" charset="-128"/>
            </a:endParaRPr>
          </a:p>
        </p:txBody>
      </p:sp>
    </p:spTree>
    <p:extLst>
      <p:ext uri="{BB962C8B-B14F-4D97-AF65-F5344CB8AC3E}">
        <p14:creationId xmlns:p14="http://schemas.microsoft.com/office/powerpoint/2010/main" val="1559738628"/>
      </p:ext>
    </p:extLst>
  </p:cSld>
  <p:clrMap bg1="lt1" tx1="dk1" bg2="lt2" tx2="dk2" accent1="accent1" accent2="accent2" accent3="accent3" accent4="accent4" accent5="accent5" accent6="accent6" hlink="hlink" folHlink="folHlink"/>
  <p:sldLayoutIdLst>
    <p:sldLayoutId id="2147484630" r:id="rId1"/>
    <p:sldLayoutId id="2147484631" r:id="rId2"/>
    <p:sldLayoutId id="2147484632" r:id="rId3"/>
    <p:sldLayoutId id="2147484633" r:id="rId4"/>
    <p:sldLayoutId id="2147484634" r:id="rId5"/>
    <p:sldLayoutId id="2147484635" r:id="rId6"/>
  </p:sldLayoutIdLst>
  <p:hf hdr="0" ftr="0" dt="0"/>
  <p:txStyles>
    <p:titleStyle>
      <a:lvl1pPr algn="l" defTabSz="457200" rtl="0" eaLnBrk="1" latinLnBrk="0" hangingPunct="1">
        <a:spcBef>
          <a:spcPct val="0"/>
        </a:spcBef>
        <a:buNone/>
        <a:defRPr sz="3200" kern="1200">
          <a:solidFill>
            <a:schemeClr val="bg1"/>
          </a:solidFill>
          <a:latin typeface="+mn-lt"/>
          <a:ea typeface="+mj-ea"/>
          <a:cs typeface="+mj-cs"/>
        </a:defRPr>
      </a:lvl1pPr>
    </p:titleStyle>
    <p:bodyStyle>
      <a:lvl1pPr marL="342900" indent="-342900" algn="l" defTabSz="457200" rtl="0" eaLnBrk="1" latinLnBrk="0" hangingPunct="1">
        <a:lnSpc>
          <a:spcPct val="114000"/>
        </a:lnSpc>
        <a:spcBef>
          <a:spcPts val="600"/>
        </a:spcBef>
        <a:buSzPct val="90000"/>
        <a:buFont typeface="Wingdings" charset="2"/>
        <a:buChar char="§"/>
        <a:defRPr sz="2800" kern="1200">
          <a:solidFill>
            <a:schemeClr val="tx1"/>
          </a:solidFill>
          <a:latin typeface="+mn-lt"/>
          <a:ea typeface="+mn-ea"/>
          <a:cs typeface="+mn-cs"/>
        </a:defRPr>
      </a:lvl1pPr>
      <a:lvl2pPr marL="742950" indent="-285750" algn="l" defTabSz="457200" rtl="0" eaLnBrk="1" latinLnBrk="0" hangingPunct="1">
        <a:lnSpc>
          <a:spcPct val="114000"/>
        </a:lnSpc>
        <a:spcBef>
          <a:spcPts val="400"/>
        </a:spcBef>
        <a:buSzPct val="90000"/>
        <a:buFont typeface="Arial"/>
        <a:buChar char="–"/>
        <a:defRPr sz="2400" kern="1200">
          <a:solidFill>
            <a:schemeClr val="tx1"/>
          </a:solidFill>
          <a:latin typeface="+mn-lt"/>
          <a:ea typeface="+mn-ea"/>
          <a:cs typeface="+mn-cs"/>
        </a:defRPr>
      </a:lvl2pPr>
      <a:lvl3pPr marL="1143000" indent="-228600" algn="l" defTabSz="457200" rtl="0" eaLnBrk="1" latinLnBrk="0" hangingPunct="1">
        <a:lnSpc>
          <a:spcPct val="114000"/>
        </a:lnSpc>
        <a:spcBef>
          <a:spcPts val="300"/>
        </a:spcBef>
        <a:buSzPct val="90000"/>
        <a:buFont typeface="Arial"/>
        <a:buChar char="•"/>
        <a:defRPr sz="2000" kern="1200">
          <a:solidFill>
            <a:schemeClr val="tx1"/>
          </a:solidFill>
          <a:latin typeface="+mn-lt"/>
          <a:ea typeface="+mn-ea"/>
          <a:cs typeface="+mn-cs"/>
        </a:defRPr>
      </a:lvl3pPr>
      <a:lvl4pPr marL="1600200" indent="-228600" algn="l" defTabSz="457200" rtl="0" eaLnBrk="1" latinLnBrk="0" hangingPunct="1">
        <a:lnSpc>
          <a:spcPct val="114000"/>
        </a:lnSpc>
        <a:spcBef>
          <a:spcPts val="200"/>
        </a:spcBef>
        <a:buSzPct val="90000"/>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114000"/>
        </a:lnSpc>
        <a:spcBef>
          <a:spcPts val="200"/>
        </a:spcBef>
        <a:buSzPct val="90000"/>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0"/>
            </p:custDataLst>
            <p:extLst>
              <p:ext uri="{D42A27DB-BD31-4B8C-83A1-F6EECF244321}">
                <p14:modId xmlns:p14="http://schemas.microsoft.com/office/powerpoint/2010/main" val="2361744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17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0"/>
            <a:ext cx="8686800"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142999"/>
            <a:ext cx="82296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userDrawn="1"/>
        </p:nvSpPr>
        <p:spPr>
          <a:xfrm>
            <a:off x="8730351" y="6532335"/>
            <a:ext cx="395761" cy="307777"/>
          </a:xfrm>
          <a:prstGeom prst="rect">
            <a:avLst/>
          </a:prstGeom>
          <a:noFill/>
        </p:spPr>
        <p:txBody>
          <a:bodyPr wrap="none" rtlCol="0">
            <a:spAutoFit/>
          </a:bodyPr>
          <a:lstStyle/>
          <a:p>
            <a:pPr defTabSz="457200"/>
            <a:fld id="{AE41A955-C666-6648-B661-87D6253479FC}" type="slidenum">
              <a:rPr lang="en-US" sz="1400" smtClean="0">
                <a:solidFill>
                  <a:prstClr val="black"/>
                </a:solidFill>
                <a:latin typeface="Calibri"/>
                <a:ea typeface="ＭＳ Ｐゴシック" pitchFamily="127" charset="-128"/>
              </a:rPr>
              <a:pPr defTabSz="457200"/>
              <a:t>‹#›</a:t>
            </a:fld>
            <a:endParaRPr lang="en-US" sz="1400" dirty="0">
              <a:solidFill>
                <a:prstClr val="black"/>
              </a:solidFill>
              <a:latin typeface="Calibri"/>
              <a:ea typeface="ＭＳ Ｐゴシック" pitchFamily="127" charset="-128"/>
            </a:endParaRPr>
          </a:p>
        </p:txBody>
      </p:sp>
    </p:spTree>
    <p:extLst>
      <p:ext uri="{BB962C8B-B14F-4D97-AF65-F5344CB8AC3E}">
        <p14:creationId xmlns:p14="http://schemas.microsoft.com/office/powerpoint/2010/main" val="2067525205"/>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Lst>
  <p:hf sldNum="0" hdr="0" ftr="0" dt="0"/>
  <p:txStyles>
    <p:titleStyle>
      <a:lvl1pPr algn="l" defTabSz="457200" rtl="0" eaLnBrk="1" latinLnBrk="0" hangingPunct="1">
        <a:spcBef>
          <a:spcPct val="0"/>
        </a:spcBef>
        <a:buNone/>
        <a:defRPr sz="3200" kern="1200">
          <a:solidFill>
            <a:schemeClr val="bg1"/>
          </a:solidFill>
          <a:latin typeface="+mn-lt"/>
          <a:ea typeface="+mj-ea"/>
          <a:cs typeface="+mj-cs"/>
        </a:defRPr>
      </a:lvl1pPr>
    </p:titleStyle>
    <p:bodyStyle>
      <a:lvl1pPr marL="342900" indent="-342900" algn="l" defTabSz="457200" rtl="0" eaLnBrk="1" latinLnBrk="0" hangingPunct="1">
        <a:lnSpc>
          <a:spcPct val="114000"/>
        </a:lnSpc>
        <a:spcBef>
          <a:spcPts val="600"/>
        </a:spcBef>
        <a:buSzPct val="90000"/>
        <a:buFont typeface="Wingdings" charset="2"/>
        <a:buChar char="§"/>
        <a:defRPr sz="2800" kern="1200">
          <a:solidFill>
            <a:schemeClr val="tx1"/>
          </a:solidFill>
          <a:latin typeface="+mn-lt"/>
          <a:ea typeface="+mn-ea"/>
          <a:cs typeface="+mn-cs"/>
        </a:defRPr>
      </a:lvl1pPr>
      <a:lvl2pPr marL="742950" indent="-285750" algn="l" defTabSz="457200" rtl="0" eaLnBrk="1" latinLnBrk="0" hangingPunct="1">
        <a:lnSpc>
          <a:spcPct val="114000"/>
        </a:lnSpc>
        <a:spcBef>
          <a:spcPts val="400"/>
        </a:spcBef>
        <a:buSzPct val="90000"/>
        <a:buFont typeface="Arial"/>
        <a:buChar char="–"/>
        <a:defRPr sz="2400" kern="1200">
          <a:solidFill>
            <a:schemeClr val="tx1"/>
          </a:solidFill>
          <a:latin typeface="+mn-lt"/>
          <a:ea typeface="+mn-ea"/>
          <a:cs typeface="+mn-cs"/>
        </a:defRPr>
      </a:lvl2pPr>
      <a:lvl3pPr marL="1143000" indent="-228600" algn="l" defTabSz="457200" rtl="0" eaLnBrk="1" latinLnBrk="0" hangingPunct="1">
        <a:lnSpc>
          <a:spcPct val="114000"/>
        </a:lnSpc>
        <a:spcBef>
          <a:spcPts val="300"/>
        </a:spcBef>
        <a:buSzPct val="90000"/>
        <a:buFont typeface="Arial"/>
        <a:buChar char="•"/>
        <a:defRPr sz="2000" kern="1200">
          <a:solidFill>
            <a:schemeClr val="tx1"/>
          </a:solidFill>
          <a:latin typeface="+mn-lt"/>
          <a:ea typeface="+mn-ea"/>
          <a:cs typeface="+mn-cs"/>
        </a:defRPr>
      </a:lvl3pPr>
      <a:lvl4pPr marL="1600200" indent="-228600" algn="l" defTabSz="457200" rtl="0" eaLnBrk="1" latinLnBrk="0" hangingPunct="1">
        <a:lnSpc>
          <a:spcPct val="114000"/>
        </a:lnSpc>
        <a:spcBef>
          <a:spcPts val="200"/>
        </a:spcBef>
        <a:buSzPct val="90000"/>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114000"/>
        </a:lnSpc>
        <a:spcBef>
          <a:spcPts val="200"/>
        </a:spcBef>
        <a:buSzPct val="90000"/>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1073222"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le Placeholder 1"/>
          <p:cNvSpPr>
            <a:spLocks noGrp="1"/>
          </p:cNvSpPr>
          <p:nvPr>
            <p:ph type="title"/>
          </p:nvPr>
        </p:nvSpPr>
        <p:spPr bwMode="auto">
          <a:xfrm>
            <a:off x="0" y="344878"/>
            <a:ext cx="7540777" cy="756000"/>
          </a:xfrm>
          <a:prstGeom prst="rect">
            <a:avLst/>
          </a:prstGeom>
          <a:solidFill>
            <a:schemeClr val="tx2"/>
          </a:solidFill>
          <a:ln w="9525">
            <a:noFill/>
            <a:miter lim="800000"/>
            <a:headEnd/>
            <a:tailEnd/>
          </a:ln>
        </p:spPr>
        <p:txBody>
          <a:bodyPr vert="horz" wrap="square" lIns="180000" tIns="45720" rIns="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Slide Number Placeholder 5"/>
          <p:cNvSpPr txBox="1">
            <a:spLocks/>
          </p:cNvSpPr>
          <p:nvPr/>
        </p:nvSpPr>
        <p:spPr>
          <a:xfrm>
            <a:off x="8547589" y="6673850"/>
            <a:ext cx="175846"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88326458"/>
      </p:ext>
    </p:extLst>
  </p:cSld>
  <p:clrMap bg1="lt1" tx1="dk1" bg2="lt2" tx2="dk2" accent1="accent1" accent2="accent2" accent3="accent3" accent4="accent4" accent5="accent5" accent6="accent6" hlink="hlink" folHlink="folHlink"/>
  <p:sldLayoutIdLst>
    <p:sldLayoutId id="2147484645" r:id="rId1"/>
    <p:sldLayoutId id="2147484646" r:id="rId2"/>
    <p:sldLayoutId id="2147484647" r:id="rId3"/>
    <p:sldLayoutId id="2147484648" r:id="rId4"/>
    <p:sldLayoutId id="2147484649" r:id="rId5"/>
    <p:sldLayoutId id="2147484650" r:id="rId6"/>
    <p:sldLayoutId id="2147484651" r:id="rId7"/>
    <p:sldLayoutId id="2147484652" r:id="rId8"/>
    <p:sldLayoutId id="2147484653" r:id="rId9"/>
  </p:sldLayoutIdLst>
  <p:transition spd="med">
    <p:fade/>
  </p:transition>
  <p:timing>
    <p:tnLst>
      <p:par>
        <p:cTn id="1" dur="indefinite" restart="never" nodeType="tmRoot"/>
      </p:par>
    </p:tnLst>
  </p:timing>
  <p:hf hdr="0" ftr="0" dt="0"/>
  <p:txStyles>
    <p:titleStyle>
      <a:lvl1pPr algn="l" rtl="0" eaLnBrk="0" fontAlgn="base" hangingPunct="0">
        <a:spcBef>
          <a:spcPct val="0"/>
        </a:spcBef>
        <a:spcAft>
          <a:spcPct val="0"/>
        </a:spcAft>
        <a:defRPr sz="2400" b="1" kern="1200">
          <a:solidFill>
            <a:schemeClr val="bg1"/>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28600" y="274638"/>
            <a:ext cx="8458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001000" y="6356356"/>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ea typeface="+mn-ea"/>
              </a:rPr>
              <a:pPr>
                <a:defRPr/>
              </a:pPr>
              <a:t>‹#›</a:t>
            </a:fld>
            <a:endParaRPr lang="en-US">
              <a:solidFill>
                <a:prstClr val="black"/>
              </a:solidFill>
              <a:ea typeface="+mn-ea"/>
            </a:endParaRPr>
          </a:p>
        </p:txBody>
      </p:sp>
    </p:spTree>
  </p:cSld>
  <p:clrMap bg1="lt1" tx1="dk1" bg2="lt2" tx2="dk2" accent1="accent1" accent2="accent2" accent3="accent3" accent4="accent4" accent5="accent5" accent6="accent6" hlink="hlink" folHlink="folHlink"/>
  <p:sldLayoutIdLst>
    <p:sldLayoutId id="2147483743" r:id="rId1"/>
    <p:sldLayoutId id="2147483744" r:id="rId2"/>
    <p:sldLayoutId id="2147483746" r:id="rId3"/>
    <p:sldLayoutId id="2147483747" r:id="rId4"/>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28600" y="274638"/>
            <a:ext cx="8458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001000" y="6356356"/>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rPr>
              <a:pPr>
                <a:defRPr/>
              </a:pPr>
              <a:t>‹#›</a:t>
            </a:fld>
            <a:endParaRPr lang="en-US">
              <a:solidFill>
                <a:prstClr val="black"/>
              </a:solidFill>
            </a:endParaRPr>
          </a:p>
        </p:txBody>
      </p:sp>
    </p:spTree>
  </p:cSld>
  <p:clrMap bg1="lt1" tx1="dk1" bg2="lt2" tx2="dk2" accent1="accent1" accent2="accent2" accent3="accent3" accent4="accent4" accent5="accent5" accent6="accent6" hlink="hlink" folHlink="folHlink"/>
  <p:sldLayoutIdLst>
    <p:sldLayoutId id="2147483773" r:id="rId1"/>
    <p:sldLayoutId id="2147483774" r:id="rId2"/>
    <p:sldLayoutId id="2147483776" r:id="rId3"/>
    <p:sldLayoutId id="2147483777" r:id="rId4"/>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1022350"/>
          </a:xfrm>
          <a:prstGeom prst="rect">
            <a:avLst/>
          </a:prstGeom>
          <a:solidFill>
            <a:schemeClr val="tx2"/>
          </a:solidFill>
          <a:ln w="9525">
            <a:noFill/>
            <a:miter lim="800000"/>
            <a:headEnd/>
            <a:tailEnd/>
          </a:ln>
          <a:effectLst/>
        </p:spPr>
        <p:txBody>
          <a:bodyPr wrap="none" anchor="ctr"/>
          <a:lstStyle/>
          <a:p>
            <a:pPr eaLnBrk="0" hangingPunct="0">
              <a:defRPr/>
            </a:pPr>
            <a:endParaRPr lang="fr-CA" sz="2400">
              <a:solidFill>
                <a:srgbClr val="000000"/>
              </a:solidFill>
              <a:latin typeface="Verdana" pitchFamily="34" charset="0"/>
              <a:ea typeface="+mn-ea"/>
            </a:endParaRPr>
          </a:p>
        </p:txBody>
      </p:sp>
      <p:sp>
        <p:nvSpPr>
          <p:cNvPr id="2051" name="Rectangle 3"/>
          <p:cNvSpPr>
            <a:spLocks noGrp="1" noChangeArrowheads="1"/>
          </p:cNvSpPr>
          <p:nvPr>
            <p:ph type="title"/>
          </p:nvPr>
        </p:nvSpPr>
        <p:spPr bwMode="white">
          <a:xfrm>
            <a:off x="193675" y="52388"/>
            <a:ext cx="8758238" cy="9080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2" name="Rectangle 4"/>
          <p:cNvSpPr>
            <a:spLocks noGrp="1" noChangeArrowheads="1"/>
          </p:cNvSpPr>
          <p:nvPr>
            <p:ph type="body" idx="1"/>
          </p:nvPr>
        </p:nvSpPr>
        <p:spPr bwMode="auto">
          <a:xfrm>
            <a:off x="700091" y="1277942"/>
            <a:ext cx="7786687" cy="2101217"/>
          </a:xfrm>
          <a:prstGeom prst="rect">
            <a:avLst/>
          </a:prstGeom>
          <a:noFill/>
          <a:ln w="9525" algn="ctr">
            <a:noFill/>
            <a:miter lim="800000"/>
            <a:headEnd/>
            <a:tailEnd/>
          </a:ln>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sldNum" sz="quarter" idx="4"/>
          </p:nvPr>
        </p:nvSpPr>
        <p:spPr bwMode="auto">
          <a:xfrm>
            <a:off x="6818313" y="63023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eaLnBrk="0" hangingPunct="0">
              <a:defRPr/>
            </a:pPr>
            <a:fld id="{FB4210A0-0CE8-4609-98CD-0E30E8B44423}" type="slidenum">
              <a:rPr lang="en-US">
                <a:solidFill>
                  <a:srgbClr val="000000"/>
                </a:solidFill>
                <a:latin typeface="Verdana" pitchFamily="34" charset="0"/>
                <a:ea typeface="+mn-ea"/>
              </a:rPr>
              <a:pPr eaLnBrk="0" hangingPunct="0">
                <a:defRPr/>
              </a:pPr>
              <a:t>‹#›</a:t>
            </a:fld>
            <a:endParaRPr lang="en-US">
              <a:solidFill>
                <a:srgbClr val="000000"/>
              </a:solidFill>
              <a:latin typeface="Verdana" pitchFamily="34" charset="0"/>
              <a:ea typeface="+mn-ea"/>
            </a:endParaRPr>
          </a:p>
        </p:txBody>
      </p:sp>
    </p:spTree>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Lst>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Verdana" pitchFamily="34" charset="0"/>
        </a:defRPr>
      </a:lvl2pPr>
      <a:lvl3pPr algn="l" rtl="0" eaLnBrk="0" fontAlgn="base" hangingPunct="0">
        <a:spcBef>
          <a:spcPct val="0"/>
        </a:spcBef>
        <a:spcAft>
          <a:spcPct val="0"/>
        </a:spcAft>
        <a:defRPr sz="2400">
          <a:solidFill>
            <a:schemeClr val="bg1"/>
          </a:solidFill>
          <a:latin typeface="Verdana" pitchFamily="34" charset="0"/>
        </a:defRPr>
      </a:lvl3pPr>
      <a:lvl4pPr algn="l" rtl="0" eaLnBrk="0" fontAlgn="base" hangingPunct="0">
        <a:spcBef>
          <a:spcPct val="0"/>
        </a:spcBef>
        <a:spcAft>
          <a:spcPct val="0"/>
        </a:spcAft>
        <a:defRPr sz="2400">
          <a:solidFill>
            <a:schemeClr val="bg1"/>
          </a:solidFill>
          <a:latin typeface="Verdana" pitchFamily="34" charset="0"/>
        </a:defRPr>
      </a:lvl4pPr>
      <a:lvl5pPr algn="l" rtl="0" eaLnBrk="0" fontAlgn="base" hangingPunct="0">
        <a:spcBef>
          <a:spcPct val="0"/>
        </a:spcBef>
        <a:spcAft>
          <a:spcPct val="0"/>
        </a:spcAft>
        <a:defRPr sz="2400">
          <a:solidFill>
            <a:schemeClr val="bg1"/>
          </a:solidFill>
          <a:latin typeface="Verdana" pitchFamily="34" charset="0"/>
        </a:defRPr>
      </a:lvl5pPr>
      <a:lvl6pPr marL="457200" algn="l" rtl="0" fontAlgn="base">
        <a:spcBef>
          <a:spcPct val="0"/>
        </a:spcBef>
        <a:spcAft>
          <a:spcPct val="0"/>
        </a:spcAft>
        <a:defRPr sz="2400">
          <a:solidFill>
            <a:schemeClr val="bg1"/>
          </a:solidFill>
          <a:latin typeface="Verdana" pitchFamily="34" charset="0"/>
        </a:defRPr>
      </a:lvl6pPr>
      <a:lvl7pPr marL="914400" algn="l" rtl="0" fontAlgn="base">
        <a:spcBef>
          <a:spcPct val="0"/>
        </a:spcBef>
        <a:spcAft>
          <a:spcPct val="0"/>
        </a:spcAft>
        <a:defRPr sz="2400">
          <a:solidFill>
            <a:schemeClr val="bg1"/>
          </a:solidFill>
          <a:latin typeface="Verdana" pitchFamily="34" charset="0"/>
        </a:defRPr>
      </a:lvl7pPr>
      <a:lvl8pPr marL="1371600" algn="l" rtl="0" fontAlgn="base">
        <a:spcBef>
          <a:spcPct val="0"/>
        </a:spcBef>
        <a:spcAft>
          <a:spcPct val="0"/>
        </a:spcAft>
        <a:defRPr sz="2400">
          <a:solidFill>
            <a:schemeClr val="bg1"/>
          </a:solidFill>
          <a:latin typeface="Verdana" pitchFamily="34" charset="0"/>
        </a:defRPr>
      </a:lvl8pPr>
      <a:lvl9pPr marL="1828800" algn="l" rtl="0" fontAlgn="base">
        <a:spcBef>
          <a:spcPct val="0"/>
        </a:spcBef>
        <a:spcAft>
          <a:spcPct val="0"/>
        </a:spcAft>
        <a:defRPr sz="2400">
          <a:solidFill>
            <a:schemeClr val="bg1"/>
          </a:solidFill>
          <a:latin typeface="Verdana" pitchFamily="34" charset="0"/>
        </a:defRPr>
      </a:lvl9pPr>
    </p:titleStyle>
    <p:bodyStyle>
      <a:lvl1pPr marL="271463" indent="-271463" algn="l" defTabSz="981075" rtl="0" eaLnBrk="0" fontAlgn="base" hangingPunct="0">
        <a:spcBef>
          <a:spcPct val="40000"/>
        </a:spcBef>
        <a:spcAft>
          <a:spcPct val="0"/>
        </a:spcAft>
        <a:buClr>
          <a:schemeClr val="tx1"/>
        </a:buClr>
        <a:buFont typeface="Verdana" pitchFamily="34" charset="0"/>
        <a:buChar char="•"/>
        <a:defRPr sz="2000">
          <a:solidFill>
            <a:schemeClr val="tx1"/>
          </a:solidFill>
          <a:latin typeface="+mn-lt"/>
          <a:ea typeface="+mn-ea"/>
          <a:cs typeface="+mn-cs"/>
        </a:defRPr>
      </a:lvl1pPr>
      <a:lvl2pPr marL="574675" indent="-119063" algn="l" defTabSz="981075" rtl="0" eaLnBrk="0" fontAlgn="base" hangingPunct="0">
        <a:spcBef>
          <a:spcPct val="20000"/>
        </a:spcBef>
        <a:spcAft>
          <a:spcPct val="0"/>
        </a:spcAft>
        <a:buClr>
          <a:schemeClr val="tx1"/>
        </a:buClr>
        <a:buChar char="-"/>
        <a:defRPr sz="2800">
          <a:solidFill>
            <a:schemeClr val="tx1"/>
          </a:solidFill>
          <a:latin typeface="+mn-lt"/>
        </a:defRPr>
      </a:lvl2pPr>
      <a:lvl3pPr marL="1052513" indent="-287338" algn="l" defTabSz="981075" rtl="0" eaLnBrk="0" fontAlgn="base" hangingPunct="0">
        <a:spcBef>
          <a:spcPct val="20000"/>
        </a:spcBef>
        <a:spcAft>
          <a:spcPct val="0"/>
        </a:spcAft>
        <a:buClr>
          <a:schemeClr val="tx1"/>
        </a:buClr>
        <a:buFont typeface="Marlett" pitchFamily="2" charset="2"/>
        <a:buChar char="8"/>
        <a:defRPr sz="2400">
          <a:solidFill>
            <a:schemeClr val="tx1"/>
          </a:solidFill>
          <a:latin typeface="+mn-lt"/>
        </a:defRPr>
      </a:lvl3pPr>
      <a:lvl4pPr marL="1639888" indent="-206375"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4pPr>
      <a:lvl5pPr marL="2116138" indent="-339725"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5pPr>
      <a:lvl6pPr marL="25733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388" name="Rectangle 4"/>
          <p:cNvSpPr>
            <a:spLocks noGrp="1" noChangeArrowheads="1"/>
          </p:cNvSpPr>
          <p:nvPr>
            <p:ph type="body" idx="1"/>
          </p:nvPr>
        </p:nvSpPr>
        <p:spPr bwMode="auto">
          <a:xfrm>
            <a:off x="700091" y="1277938"/>
            <a:ext cx="7786687" cy="1522597"/>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sldNum" sz="quarter" idx="4"/>
          </p:nvPr>
        </p:nvSpPr>
        <p:spPr bwMode="auto">
          <a:xfrm>
            <a:off x="6818313" y="63023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000" b="0" i="0">
                <a:solidFill>
                  <a:srgbClr val="000000"/>
                </a:solidFill>
                <a:latin typeface="Verdana" pitchFamily="34" charset="0"/>
              </a:defRPr>
            </a:lvl1pPr>
          </a:lstStyle>
          <a:p>
            <a:pPr fontAlgn="auto">
              <a:spcBef>
                <a:spcPts val="0"/>
              </a:spcBef>
              <a:spcAft>
                <a:spcPts val="0"/>
              </a:spcAft>
            </a:pPr>
            <a:fld id="{FA8C94CF-DC14-409D-A359-9F5E91B971A0}" type="slidenum">
              <a:rPr lang="en-US" smtClean="0">
                <a:ea typeface="+mn-ea"/>
              </a:rPr>
              <a:pPr fontAlgn="auto">
                <a:spcBef>
                  <a:spcPts val="0"/>
                </a:spcBef>
                <a:spcAft>
                  <a:spcPts val="0"/>
                </a:spcAft>
              </a:pPr>
              <a:t>‹#›</a:t>
            </a:fld>
            <a:endParaRPr lang="en-US" dirty="0">
              <a:ea typeface="+mn-ea"/>
            </a:endParaRPr>
          </a:p>
        </p:txBody>
      </p:sp>
      <p:sp>
        <p:nvSpPr>
          <p:cNvPr id="6" name="Rectangle 7"/>
          <p:cNvSpPr>
            <a:spLocks noChangeArrowheads="1"/>
          </p:cNvSpPr>
          <p:nvPr/>
        </p:nvSpPr>
        <p:spPr bwMode="gray">
          <a:xfrm>
            <a:off x="0" y="0"/>
            <a:ext cx="9144000" cy="914400"/>
          </a:xfrm>
          <a:prstGeom prst="rect">
            <a:avLst/>
          </a:prstGeom>
          <a:solidFill>
            <a:srgbClr val="003366"/>
          </a:solidFill>
          <a:ln w="9525">
            <a:noFill/>
            <a:miter lim="800000"/>
            <a:headEnd/>
            <a:tailEnd/>
          </a:ln>
          <a:effectLst/>
        </p:spPr>
        <p:txBody>
          <a:bodyPr vert="horz" wrap="square" lIns="91440" tIns="45720" rIns="91440" bIns="45720" anchor="ctr" anchorCtr="0"/>
          <a:lstStyle/>
          <a:p>
            <a:pPr marL="231775" fontAlgn="auto">
              <a:spcBef>
                <a:spcPts val="0"/>
              </a:spcBef>
              <a:spcAft>
                <a:spcPts val="0"/>
              </a:spcAft>
              <a:defRPr/>
            </a:pPr>
            <a:endParaRPr lang="en-US" sz="1700" dirty="0">
              <a:solidFill>
                <a:srgbClr val="284A8C"/>
              </a:solidFill>
              <a:latin typeface="Verdana"/>
              <a:ea typeface="+mn-ea"/>
            </a:endParaRPr>
          </a:p>
        </p:txBody>
      </p:sp>
      <p:sp>
        <p:nvSpPr>
          <p:cNvPr id="16387" name="Rectangle 3"/>
          <p:cNvSpPr>
            <a:spLocks noGrp="1" noChangeArrowheads="1"/>
          </p:cNvSpPr>
          <p:nvPr>
            <p:ph type="title"/>
          </p:nvPr>
        </p:nvSpPr>
        <p:spPr bwMode="white">
          <a:xfrm>
            <a:off x="228600" y="0"/>
            <a:ext cx="89154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Lst>
  <p:hf hdr="0" ftr="0" dt="0"/>
  <p:txStyles>
    <p:titleStyle>
      <a:lvl1pPr algn="l" rtl="0" eaLnBrk="1" fontAlgn="base" hangingPunct="1">
        <a:spcBef>
          <a:spcPct val="0"/>
        </a:spcBef>
        <a:spcAft>
          <a:spcPct val="0"/>
        </a:spcAft>
        <a:defRPr sz="1700">
          <a:solidFill>
            <a:schemeClr val="bg1"/>
          </a:solidFill>
          <a:latin typeface="+mj-lt"/>
          <a:ea typeface="MS PGothic" pitchFamily="34" charset="-128"/>
          <a:cs typeface="MS PGothic" pitchFamily="34" charset="-128"/>
        </a:defRPr>
      </a:lvl1pPr>
      <a:lvl2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457200" algn="l" rtl="0" eaLnBrk="1" fontAlgn="base" hangingPunct="1">
        <a:spcBef>
          <a:spcPct val="0"/>
        </a:spcBef>
        <a:spcAft>
          <a:spcPct val="0"/>
        </a:spcAft>
        <a:defRPr sz="2400">
          <a:solidFill>
            <a:schemeClr val="bg1"/>
          </a:solidFill>
          <a:latin typeface="Verdana" pitchFamily="34" charset="0"/>
        </a:defRPr>
      </a:lvl6pPr>
      <a:lvl7pPr marL="914400" algn="l" rtl="0" eaLnBrk="1" fontAlgn="base" hangingPunct="1">
        <a:spcBef>
          <a:spcPct val="0"/>
        </a:spcBef>
        <a:spcAft>
          <a:spcPct val="0"/>
        </a:spcAft>
        <a:defRPr sz="2400">
          <a:solidFill>
            <a:schemeClr val="bg1"/>
          </a:solidFill>
          <a:latin typeface="Verdana" pitchFamily="34" charset="0"/>
        </a:defRPr>
      </a:lvl7pPr>
      <a:lvl8pPr marL="1371600" algn="l" rtl="0" eaLnBrk="1" fontAlgn="base" hangingPunct="1">
        <a:spcBef>
          <a:spcPct val="0"/>
        </a:spcBef>
        <a:spcAft>
          <a:spcPct val="0"/>
        </a:spcAft>
        <a:defRPr sz="2400">
          <a:solidFill>
            <a:schemeClr val="bg1"/>
          </a:solidFill>
          <a:latin typeface="Verdana" pitchFamily="34" charset="0"/>
        </a:defRPr>
      </a:lvl8pPr>
      <a:lvl9pPr marL="1828800" algn="l" rtl="0" eaLnBrk="1" fontAlgn="base" hangingPunct="1">
        <a:spcBef>
          <a:spcPct val="0"/>
        </a:spcBef>
        <a:spcAft>
          <a:spcPct val="0"/>
        </a:spcAft>
        <a:defRPr sz="2400">
          <a:solidFill>
            <a:schemeClr val="bg1"/>
          </a:solidFill>
          <a:latin typeface="Verdana" pitchFamily="34" charset="0"/>
        </a:defRPr>
      </a:lvl9pPr>
    </p:titleStyle>
    <p:bodyStyle>
      <a:lvl1pPr marL="271463" indent="-271463" algn="l" defTabSz="981075" rtl="0" eaLnBrk="1" fontAlgn="base" hangingPunct="1">
        <a:spcBef>
          <a:spcPct val="40000"/>
        </a:spcBef>
        <a:spcAft>
          <a:spcPct val="0"/>
        </a:spcAft>
        <a:buClr>
          <a:schemeClr val="tx1"/>
        </a:buClr>
        <a:buFont typeface="Verdana" pitchFamily="34" charset="0"/>
        <a:buChar char="•"/>
        <a:defRPr sz="1600">
          <a:solidFill>
            <a:schemeClr val="tx1"/>
          </a:solidFill>
          <a:latin typeface="Arial" pitchFamily="34" charset="0"/>
          <a:ea typeface="MS PGothic" pitchFamily="34" charset="-128"/>
          <a:cs typeface="Arial" pitchFamily="34" charset="0"/>
        </a:defRPr>
      </a:lvl1pPr>
      <a:lvl2pPr marL="574675" indent="-119063" algn="l" defTabSz="981075" rtl="0" eaLnBrk="1" fontAlgn="base" hangingPunct="1">
        <a:spcBef>
          <a:spcPct val="20000"/>
        </a:spcBef>
        <a:spcAft>
          <a:spcPct val="0"/>
        </a:spcAft>
        <a:buClr>
          <a:schemeClr val="tx1"/>
        </a:buClr>
        <a:buChar char="-"/>
        <a:defRPr sz="1600">
          <a:solidFill>
            <a:schemeClr val="tx1"/>
          </a:solidFill>
          <a:latin typeface="Arial" pitchFamily="34" charset="0"/>
          <a:ea typeface="MS PGothic" pitchFamily="34" charset="-128"/>
          <a:cs typeface="Arial" pitchFamily="34" charset="0"/>
        </a:defRPr>
      </a:lvl2pPr>
      <a:lvl3pPr marL="1052513" indent="-287338" algn="l" defTabSz="981075" rtl="0" eaLnBrk="1" fontAlgn="base" hangingPunct="1">
        <a:spcBef>
          <a:spcPct val="20000"/>
        </a:spcBef>
        <a:spcAft>
          <a:spcPct val="0"/>
        </a:spcAft>
        <a:buClr>
          <a:schemeClr val="tx1"/>
        </a:buClr>
        <a:buFont typeface="Marlett" pitchFamily="2" charset="2"/>
        <a:buChar char="8"/>
        <a:defRPr sz="1600">
          <a:solidFill>
            <a:schemeClr val="tx1"/>
          </a:solidFill>
          <a:latin typeface="Arial" pitchFamily="34" charset="0"/>
          <a:ea typeface="MS PGothic" pitchFamily="34" charset="-128"/>
          <a:cs typeface="Arial" pitchFamily="34" charset="0"/>
        </a:defRPr>
      </a:lvl3pPr>
      <a:lvl4pPr marL="1639888" indent="-206375" algn="l" defTabSz="981075" rtl="0" eaLnBrk="1" fontAlgn="base" hangingPunct="1">
        <a:spcBef>
          <a:spcPct val="20000"/>
        </a:spcBef>
        <a:spcAft>
          <a:spcPct val="0"/>
        </a:spcAft>
        <a:buClr>
          <a:schemeClr val="tx1"/>
        </a:buClr>
        <a:buFont typeface="Marlett" pitchFamily="2" charset="2"/>
        <a:buChar char="8"/>
        <a:defRPr sz="1600">
          <a:solidFill>
            <a:schemeClr val="tx1"/>
          </a:solidFill>
          <a:latin typeface="Arial" pitchFamily="34" charset="0"/>
          <a:ea typeface="MS PGothic" pitchFamily="34" charset="-128"/>
          <a:cs typeface="Arial" pitchFamily="34" charset="0"/>
        </a:defRPr>
      </a:lvl4pPr>
      <a:lvl5pPr marL="2116138" indent="-339725" algn="l" defTabSz="981075" rtl="0" eaLnBrk="1" fontAlgn="base" hangingPunct="1">
        <a:spcBef>
          <a:spcPct val="20000"/>
        </a:spcBef>
        <a:spcAft>
          <a:spcPct val="0"/>
        </a:spcAft>
        <a:buClr>
          <a:schemeClr val="tx1"/>
        </a:buClr>
        <a:buFont typeface="Marlett" pitchFamily="2" charset="2"/>
        <a:buChar char="8"/>
        <a:defRPr sz="1600">
          <a:solidFill>
            <a:schemeClr val="tx1"/>
          </a:solidFill>
          <a:latin typeface="Arial" pitchFamily="34" charset="0"/>
          <a:ea typeface="MS PGothic" pitchFamily="34" charset="-128"/>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9144000" cy="1022350"/>
          </a:xfrm>
          <a:prstGeom prst="rect">
            <a:avLst/>
          </a:prstGeom>
          <a:solidFill>
            <a:schemeClr val="tx2"/>
          </a:solidFill>
          <a:ln w="9525">
            <a:noFill/>
            <a:miter lim="800000"/>
            <a:headEnd/>
            <a:tailEnd/>
          </a:ln>
          <a:effectLst/>
        </p:spPr>
        <p:txBody>
          <a:bodyPr wrap="none" anchor="ctr"/>
          <a:lstStyle/>
          <a:p>
            <a:pPr eaLnBrk="0" hangingPunct="0">
              <a:defRPr/>
            </a:pPr>
            <a:endParaRPr lang="fr-CA" sz="2400">
              <a:solidFill>
                <a:srgbClr val="000000"/>
              </a:solidFill>
              <a:latin typeface="Verdana" pitchFamily="34" charset="0"/>
              <a:ea typeface="+mn-ea"/>
            </a:endParaRPr>
          </a:p>
        </p:txBody>
      </p:sp>
      <p:sp>
        <p:nvSpPr>
          <p:cNvPr id="2051" name="Rectangle 3"/>
          <p:cNvSpPr>
            <a:spLocks noGrp="1" noChangeArrowheads="1"/>
          </p:cNvSpPr>
          <p:nvPr>
            <p:ph type="title"/>
          </p:nvPr>
        </p:nvSpPr>
        <p:spPr bwMode="white">
          <a:xfrm>
            <a:off x="193675" y="52388"/>
            <a:ext cx="8758238" cy="9080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2" name="Rectangle 4"/>
          <p:cNvSpPr>
            <a:spLocks noGrp="1" noChangeArrowheads="1"/>
          </p:cNvSpPr>
          <p:nvPr>
            <p:ph type="body" idx="1"/>
          </p:nvPr>
        </p:nvSpPr>
        <p:spPr bwMode="auto">
          <a:xfrm>
            <a:off x="700091" y="1277942"/>
            <a:ext cx="7786687" cy="2101217"/>
          </a:xfrm>
          <a:prstGeom prst="rect">
            <a:avLst/>
          </a:prstGeom>
          <a:noFill/>
          <a:ln w="9525" algn="ctr">
            <a:noFill/>
            <a:miter lim="800000"/>
            <a:headEnd/>
            <a:tailEnd/>
          </a:ln>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1" name="Rectangle 5"/>
          <p:cNvSpPr>
            <a:spLocks noGrp="1" noChangeArrowheads="1"/>
          </p:cNvSpPr>
          <p:nvPr>
            <p:ph type="sldNum" sz="quarter" idx="4"/>
          </p:nvPr>
        </p:nvSpPr>
        <p:spPr bwMode="auto">
          <a:xfrm>
            <a:off x="6818313" y="63023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eaLnBrk="0" hangingPunct="0">
              <a:defRPr/>
            </a:pPr>
            <a:fld id="{73F81474-2D64-47DF-A7BC-341E3C8DD5DA}" type="slidenum">
              <a:rPr lang="en-US">
                <a:solidFill>
                  <a:srgbClr val="000000"/>
                </a:solidFill>
                <a:latin typeface="Verdana" pitchFamily="34" charset="0"/>
                <a:ea typeface="+mn-ea"/>
              </a:rPr>
              <a:pPr eaLnBrk="0" hangingPunct="0">
                <a:defRPr/>
              </a:pPr>
              <a:t>‹#›</a:t>
            </a:fld>
            <a:endParaRPr lang="en-US">
              <a:solidFill>
                <a:srgbClr val="000000"/>
              </a:solidFill>
              <a:latin typeface="Verdana" pitchFamily="34" charset="0"/>
              <a:ea typeface="+mn-ea"/>
            </a:endParaRPr>
          </a:p>
        </p:txBody>
      </p:sp>
    </p:spTree>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Lst>
  <p:hf hdr="0" ftr="0" dt="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Verdana" pitchFamily="34" charset="0"/>
        </a:defRPr>
      </a:lvl2pPr>
      <a:lvl3pPr algn="l" rtl="0" eaLnBrk="0" fontAlgn="base" hangingPunct="0">
        <a:spcBef>
          <a:spcPct val="0"/>
        </a:spcBef>
        <a:spcAft>
          <a:spcPct val="0"/>
        </a:spcAft>
        <a:defRPr sz="2400">
          <a:solidFill>
            <a:schemeClr val="bg1"/>
          </a:solidFill>
          <a:latin typeface="Verdana" pitchFamily="34" charset="0"/>
        </a:defRPr>
      </a:lvl3pPr>
      <a:lvl4pPr algn="l" rtl="0" eaLnBrk="0" fontAlgn="base" hangingPunct="0">
        <a:spcBef>
          <a:spcPct val="0"/>
        </a:spcBef>
        <a:spcAft>
          <a:spcPct val="0"/>
        </a:spcAft>
        <a:defRPr sz="2400">
          <a:solidFill>
            <a:schemeClr val="bg1"/>
          </a:solidFill>
          <a:latin typeface="Verdana" pitchFamily="34" charset="0"/>
        </a:defRPr>
      </a:lvl4pPr>
      <a:lvl5pPr algn="l" rtl="0" eaLnBrk="0" fontAlgn="base" hangingPunct="0">
        <a:spcBef>
          <a:spcPct val="0"/>
        </a:spcBef>
        <a:spcAft>
          <a:spcPct val="0"/>
        </a:spcAft>
        <a:defRPr sz="2400">
          <a:solidFill>
            <a:schemeClr val="bg1"/>
          </a:solidFill>
          <a:latin typeface="Verdana" pitchFamily="34" charset="0"/>
        </a:defRPr>
      </a:lvl5pPr>
      <a:lvl6pPr marL="457200" algn="l" rtl="0" fontAlgn="base">
        <a:spcBef>
          <a:spcPct val="0"/>
        </a:spcBef>
        <a:spcAft>
          <a:spcPct val="0"/>
        </a:spcAft>
        <a:defRPr sz="2400">
          <a:solidFill>
            <a:schemeClr val="bg1"/>
          </a:solidFill>
          <a:latin typeface="Verdana" pitchFamily="34" charset="0"/>
        </a:defRPr>
      </a:lvl6pPr>
      <a:lvl7pPr marL="914400" algn="l" rtl="0" fontAlgn="base">
        <a:spcBef>
          <a:spcPct val="0"/>
        </a:spcBef>
        <a:spcAft>
          <a:spcPct val="0"/>
        </a:spcAft>
        <a:defRPr sz="2400">
          <a:solidFill>
            <a:schemeClr val="bg1"/>
          </a:solidFill>
          <a:latin typeface="Verdana" pitchFamily="34" charset="0"/>
        </a:defRPr>
      </a:lvl7pPr>
      <a:lvl8pPr marL="1371600" algn="l" rtl="0" fontAlgn="base">
        <a:spcBef>
          <a:spcPct val="0"/>
        </a:spcBef>
        <a:spcAft>
          <a:spcPct val="0"/>
        </a:spcAft>
        <a:defRPr sz="2400">
          <a:solidFill>
            <a:schemeClr val="bg1"/>
          </a:solidFill>
          <a:latin typeface="Verdana" pitchFamily="34" charset="0"/>
        </a:defRPr>
      </a:lvl8pPr>
      <a:lvl9pPr marL="1828800" algn="l" rtl="0" fontAlgn="base">
        <a:spcBef>
          <a:spcPct val="0"/>
        </a:spcBef>
        <a:spcAft>
          <a:spcPct val="0"/>
        </a:spcAft>
        <a:defRPr sz="2400">
          <a:solidFill>
            <a:schemeClr val="bg1"/>
          </a:solidFill>
          <a:latin typeface="Verdana" pitchFamily="34" charset="0"/>
        </a:defRPr>
      </a:lvl9pPr>
    </p:titleStyle>
    <p:bodyStyle>
      <a:lvl1pPr marL="271463" indent="-271463" algn="l" defTabSz="981075" rtl="0" eaLnBrk="0" fontAlgn="base" hangingPunct="0">
        <a:spcBef>
          <a:spcPct val="40000"/>
        </a:spcBef>
        <a:spcAft>
          <a:spcPct val="0"/>
        </a:spcAft>
        <a:buClr>
          <a:schemeClr val="tx1"/>
        </a:buClr>
        <a:buFont typeface="Verdana" pitchFamily="34" charset="0"/>
        <a:buChar char="•"/>
        <a:defRPr sz="2000">
          <a:solidFill>
            <a:schemeClr val="tx1"/>
          </a:solidFill>
          <a:latin typeface="+mn-lt"/>
          <a:ea typeface="+mn-ea"/>
          <a:cs typeface="+mn-cs"/>
        </a:defRPr>
      </a:lvl1pPr>
      <a:lvl2pPr marL="574675" indent="-119063" algn="l" defTabSz="981075" rtl="0" eaLnBrk="0" fontAlgn="base" hangingPunct="0">
        <a:spcBef>
          <a:spcPct val="20000"/>
        </a:spcBef>
        <a:spcAft>
          <a:spcPct val="0"/>
        </a:spcAft>
        <a:buClr>
          <a:schemeClr val="tx1"/>
        </a:buClr>
        <a:buChar char="-"/>
        <a:defRPr sz="2800">
          <a:solidFill>
            <a:schemeClr val="tx1"/>
          </a:solidFill>
          <a:latin typeface="+mn-lt"/>
        </a:defRPr>
      </a:lvl2pPr>
      <a:lvl3pPr marL="1052513" indent="-287338" algn="l" defTabSz="981075" rtl="0" eaLnBrk="0" fontAlgn="base" hangingPunct="0">
        <a:spcBef>
          <a:spcPct val="20000"/>
        </a:spcBef>
        <a:spcAft>
          <a:spcPct val="0"/>
        </a:spcAft>
        <a:buClr>
          <a:schemeClr val="tx1"/>
        </a:buClr>
        <a:buFont typeface="Marlett" pitchFamily="2" charset="2"/>
        <a:buChar char="8"/>
        <a:defRPr sz="2400">
          <a:solidFill>
            <a:schemeClr val="tx1"/>
          </a:solidFill>
          <a:latin typeface="+mn-lt"/>
        </a:defRPr>
      </a:lvl3pPr>
      <a:lvl4pPr marL="1639888" indent="-206375"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4pPr>
      <a:lvl5pPr marL="2116138" indent="-339725"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5pPr>
      <a:lvl6pPr marL="25733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0" fontAlgn="base" hangingPunct="0">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001000" y="6356356"/>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ea typeface="+mn-ea"/>
              </a:rPr>
              <a:pPr>
                <a:defRPr/>
              </a:pPr>
              <a:t>‹#›</a:t>
            </a:fld>
            <a:endParaRPr lang="en-US">
              <a:solidFill>
                <a:prstClr val="black"/>
              </a:solidFill>
              <a:ea typeface="+mn-ea"/>
            </a:endParaRPr>
          </a:p>
        </p:txBody>
      </p:sp>
    </p:spTree>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4"/>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001000" y="6356356"/>
            <a:ext cx="685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solidFill>
                <a:latin typeface="+mn-lt"/>
              </a:defRPr>
            </a:lvl1pPr>
          </a:lstStyle>
          <a:p>
            <a:pPr>
              <a:defRPr/>
            </a:pPr>
            <a:fld id="{F2D908C7-8750-4617-94A9-F69B3F0889BF}" type="slidenum">
              <a:rPr lang="en-US">
                <a:solidFill>
                  <a:prstClr val="black"/>
                </a:solidFill>
              </a:rPr>
              <a:pPr>
                <a:defRPr/>
              </a:pPr>
              <a:t>‹#›</a:t>
            </a:fld>
            <a:endParaRPr lang="en-US">
              <a:solidFill>
                <a:prstClr val="black"/>
              </a:solidFill>
            </a:endParaRPr>
          </a:p>
        </p:txBody>
      </p:sp>
    </p:spTree>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11.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tags" Target="../tags/tag21.xml"/><Relationship Id="rId11" Type="http://schemas.openxmlformats.org/officeDocument/2006/relationships/image" Target="../media/image6.emf"/><Relationship Id="rId5" Type="http://schemas.openxmlformats.org/officeDocument/2006/relationships/tags" Target="../tags/tag20.xml"/><Relationship Id="rId10" Type="http://schemas.openxmlformats.org/officeDocument/2006/relationships/oleObject" Target="../embeddings/oleObject16.bin"/><Relationship Id="rId4" Type="http://schemas.openxmlformats.org/officeDocument/2006/relationships/tags" Target="../tags/tag19.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30.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microsoft.com/office/2007/relationships/diagramDrawing" Target="../diagrams/drawing1.xml"/><Relationship Id="rId3" Type="http://schemas.openxmlformats.org/officeDocument/2006/relationships/tags" Target="../tags/tag41.xml"/><Relationship Id="rId7" Type="http://schemas.openxmlformats.org/officeDocument/2006/relationships/slideLayout" Target="../slideLayouts/slideLayout203.xml"/><Relationship Id="rId12" Type="http://schemas.openxmlformats.org/officeDocument/2006/relationships/diagramColors" Target="../diagrams/colors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diagramQuickStyle" Target="../diagrams/quickStyle1.xml"/><Relationship Id="rId5" Type="http://schemas.openxmlformats.org/officeDocument/2006/relationships/tags" Target="../tags/tag43.xml"/><Relationship Id="rId10" Type="http://schemas.openxmlformats.org/officeDocument/2006/relationships/diagramLayout" Target="../diagrams/layout1.xml"/><Relationship Id="rId4" Type="http://schemas.openxmlformats.org/officeDocument/2006/relationships/tags" Target="../tags/tag42.xml"/><Relationship Id="rId9" Type="http://schemas.openxmlformats.org/officeDocument/2006/relationships/diagramData" Target="../diagrams/data1.xml"/><Relationship Id="rId14" Type="http://schemas.openxmlformats.org/officeDocument/2006/relationships/image" Target="../media/image23.jpe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2.xml"/></Relationships>
</file>

<file path=ppt/slides/_rels/slide1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6.emf"/><Relationship Id="rId2" Type="http://schemas.openxmlformats.org/officeDocument/2006/relationships/tags" Target="../tags/tag46.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1.xml"/><Relationship Id="rId4" Type="http://schemas.openxmlformats.org/officeDocument/2006/relationships/slideLayout" Target="../slideLayouts/slideLayout215.xml"/></Relationships>
</file>

<file path=ppt/slides/_rels/slide15.xml.rels><?xml version="1.0" encoding="UTF-8" standalone="yes"?>
<Relationships xmlns="http://schemas.openxmlformats.org/package/2006/relationships"><Relationship Id="rId8" Type="http://schemas.openxmlformats.org/officeDocument/2006/relationships/image" Target="../media/image6.emf"/><Relationship Id="rId13" Type="http://schemas.microsoft.com/office/2007/relationships/diagramDrawing" Target="../diagrams/drawing2.xml"/><Relationship Id="rId3" Type="http://schemas.openxmlformats.org/officeDocument/2006/relationships/tags" Target="../tags/tag50.xml"/><Relationship Id="rId7" Type="http://schemas.openxmlformats.org/officeDocument/2006/relationships/oleObject" Target="../embeddings/oleObject22.bin"/><Relationship Id="rId12" Type="http://schemas.openxmlformats.org/officeDocument/2006/relationships/diagramColors" Target="../diagrams/colors2.xml"/><Relationship Id="rId2" Type="http://schemas.openxmlformats.org/officeDocument/2006/relationships/tags" Target="../tags/tag49.xml"/><Relationship Id="rId1" Type="http://schemas.openxmlformats.org/officeDocument/2006/relationships/vmlDrawing" Target="../drawings/vmlDrawing22.vml"/><Relationship Id="rId6" Type="http://schemas.openxmlformats.org/officeDocument/2006/relationships/notesSlide" Target="../notesSlides/notesSlide12.xml"/><Relationship Id="rId11" Type="http://schemas.openxmlformats.org/officeDocument/2006/relationships/diagramQuickStyle" Target="../diagrams/quickStyle2.xml"/><Relationship Id="rId5" Type="http://schemas.openxmlformats.org/officeDocument/2006/relationships/slideLayout" Target="../slideLayouts/slideLayout6.xml"/><Relationship Id="rId10" Type="http://schemas.openxmlformats.org/officeDocument/2006/relationships/diagramLayout" Target="../diagrams/layout2.xml"/><Relationship Id="rId4" Type="http://schemas.openxmlformats.org/officeDocument/2006/relationships/tags" Target="../tags/tag51.xml"/><Relationship Id="rId9" Type="http://schemas.openxmlformats.org/officeDocument/2006/relationships/diagramData" Target="../diagrams/data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2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7.xml"/><Relationship Id="rId2" Type="http://schemas.openxmlformats.org/officeDocument/2006/relationships/tags" Target="../tags/tag53.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1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5.xml"/><Relationship Id="rId7" Type="http://schemas.openxmlformats.org/officeDocument/2006/relationships/oleObject" Target="../embeddings/oleObject24.bin"/><Relationship Id="rId2" Type="http://schemas.openxmlformats.org/officeDocument/2006/relationships/tags" Target="../tags/tag54.xml"/><Relationship Id="rId1" Type="http://schemas.openxmlformats.org/officeDocument/2006/relationships/vmlDrawing" Target="../drawings/vmlDrawing24.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56.xml"/></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gif"/><Relationship Id="rId7" Type="http://schemas.openxmlformats.org/officeDocument/2006/relationships/image" Target="../media/image17.png"/><Relationship Id="rId2" Type="http://schemas.openxmlformats.org/officeDocument/2006/relationships/image" Target="../media/image12.gif"/><Relationship Id="rId1" Type="http://schemas.openxmlformats.org/officeDocument/2006/relationships/slideLayout" Target="../slideLayouts/slideLayout170.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2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59.xml"/><Relationship Id="rId7" Type="http://schemas.openxmlformats.org/officeDocument/2006/relationships/oleObject" Target="../embeddings/oleObject25.bin"/><Relationship Id="rId2" Type="http://schemas.openxmlformats.org/officeDocument/2006/relationships/tags" Target="../tags/tag58.xml"/><Relationship Id="rId1" Type="http://schemas.openxmlformats.org/officeDocument/2006/relationships/vmlDrawing" Target="../drawings/vmlDrawing25.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6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229.xml"/></Relationships>
</file>

<file path=ppt/slides/_rels/slide22.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slideLayout" Target="../slideLayouts/slideLayout233.xml"/><Relationship Id="rId7" Type="http://schemas.openxmlformats.org/officeDocument/2006/relationships/image" Target="../media/image26.jpeg"/><Relationship Id="rId2" Type="http://schemas.openxmlformats.org/officeDocument/2006/relationships/tags" Target="../tags/tag62.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64.xml"/><Relationship Id="rId7" Type="http://schemas.openxmlformats.org/officeDocument/2006/relationships/image" Target="../media/image6.emf"/><Relationship Id="rId2" Type="http://schemas.openxmlformats.org/officeDocument/2006/relationships/tags" Target="../tags/tag6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9.xml"/><Relationship Id="rId4" Type="http://schemas.openxmlformats.org/officeDocument/2006/relationships/slideLayout" Target="../slideLayouts/slideLayout233.xml"/></Relationships>
</file>

<file path=ppt/slides/_rels/slide24.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emf"/><Relationship Id="rId2" Type="http://schemas.openxmlformats.org/officeDocument/2006/relationships/tags" Target="../tags/tag6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0.xml"/><Relationship Id="rId4" Type="http://schemas.openxmlformats.org/officeDocument/2006/relationships/slideLayout" Target="../slideLayouts/slideLayout233.xml"/></Relationships>
</file>

<file path=ppt/slides/_rels/slide2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68.xml"/><Relationship Id="rId7" Type="http://schemas.openxmlformats.org/officeDocument/2006/relationships/image" Target="../media/image6.emf"/><Relationship Id="rId2" Type="http://schemas.openxmlformats.org/officeDocument/2006/relationships/tags" Target="../tags/tag67.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1.xml"/><Relationship Id="rId4" Type="http://schemas.openxmlformats.org/officeDocument/2006/relationships/slideLayout" Target="../slideLayouts/slideLayout233.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0.xml"/></Relationships>
</file>

<file path=ppt/slides/_rels/slide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4.xml"/><Relationship Id="rId7" Type="http://schemas.openxmlformats.org/officeDocument/2006/relationships/oleObject" Target="../embeddings/oleObject17.bin"/><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25.xml"/></Relationships>
</file>

<file path=ppt/slides/_rels/slide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8.xml"/><Relationship Id="rId7" Type="http://schemas.openxmlformats.org/officeDocument/2006/relationships/oleObject" Target="../embeddings/oleObject18.bin"/><Relationship Id="rId2" Type="http://schemas.openxmlformats.org/officeDocument/2006/relationships/tags" Target="../tags/tag27.xml"/><Relationship Id="rId1" Type="http://schemas.openxmlformats.org/officeDocument/2006/relationships/vmlDrawing" Target="../drawings/vmlDrawing18.vml"/><Relationship Id="rId6" Type="http://schemas.openxmlformats.org/officeDocument/2006/relationships/notesSlide" Target="../notesSlides/notesSlide3.xml"/><Relationship Id="rId5" Type="http://schemas.openxmlformats.org/officeDocument/2006/relationships/slideLayout" Target="../slideLayouts/slideLayout6.xml"/><Relationship Id="rId4" Type="http://schemas.openxmlformats.org/officeDocument/2006/relationships/tags" Target="../tags/tag29.xml"/></Relationships>
</file>

<file path=ppt/slides/_rels/slide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2.xml"/><Relationship Id="rId7" Type="http://schemas.openxmlformats.org/officeDocument/2006/relationships/oleObject" Target="../embeddings/oleObject19.bin"/><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notesSlide" Target="../notesSlides/notesSlide4.xml"/><Relationship Id="rId5" Type="http://schemas.openxmlformats.org/officeDocument/2006/relationships/slideLayout" Target="../slideLayouts/slideLayout6.xml"/><Relationship Id="rId4" Type="http://schemas.openxmlformats.org/officeDocument/2006/relationships/tags" Target="../tags/tag33.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gif"/><Relationship Id="rId7" Type="http://schemas.openxmlformats.org/officeDocument/2006/relationships/image" Target="../media/image17.png"/><Relationship Id="rId2" Type="http://schemas.openxmlformats.org/officeDocument/2006/relationships/image" Target="../media/image12.gif"/><Relationship Id="rId1" Type="http://schemas.openxmlformats.org/officeDocument/2006/relationships/slideLayout" Target="../slideLayouts/slideLayout170.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6.xml"/><Relationship Id="rId7" Type="http://schemas.openxmlformats.org/officeDocument/2006/relationships/oleObject" Target="../embeddings/oleObject20.bin"/><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notesSlide" Target="../notesSlides/notesSlide5.xml"/><Relationship Id="rId5" Type="http://schemas.openxmlformats.org/officeDocument/2006/relationships/slideLayout" Target="../slideLayouts/slideLayout178.xml"/><Relationship Id="rId4" Type="http://schemas.openxmlformats.org/officeDocument/2006/relationships/tags" Target="../tags/tag37.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8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829154235"/>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57353" name="think-cell Slide" r:id="rId10" imgW="270" imgH="270" progId="TCLayout.ActiveDocument.1">
                  <p:embed/>
                </p:oleObj>
              </mc:Choice>
              <mc:Fallback>
                <p:oleObj name="think-cell Slide" r:id="rId10" imgW="270" imgH="270" progId="TCLayout.ActiveDocument.1">
                  <p:embed/>
                  <p:pic>
                    <p:nvPicPr>
                      <p:cNvPr id="0" name="Picture 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697" name="Presentation Title"/>
          <p:cNvSpPr>
            <a:spLocks noChangeArrowheads="1"/>
          </p:cNvSpPr>
          <p:nvPr>
            <p:custDataLst>
              <p:tags r:id="rId3"/>
            </p:custDataLst>
          </p:nvPr>
        </p:nvSpPr>
        <p:spPr bwMode="auto">
          <a:xfrm>
            <a:off x="533400" y="3185499"/>
            <a:ext cx="7848600" cy="1930082"/>
          </a:xfrm>
          <a:prstGeom prst="rect">
            <a:avLst/>
          </a:prstGeom>
          <a:noFill/>
          <a:ln w="9525">
            <a:noFill/>
            <a:miter lim="800000"/>
            <a:headEnd/>
            <a:tailEnd/>
          </a:ln>
        </p:spPr>
        <p:txBody>
          <a:bodyPr lIns="82615" tIns="41308" rIns="82615" bIns="41308" anchor="b">
            <a:spAutoFit/>
          </a:bodyPr>
          <a:lstStyle/>
          <a:p>
            <a:r>
              <a:rPr lang="en-US" sz="2800" dirty="0">
                <a:solidFill>
                  <a:srgbClr val="000000"/>
                </a:solidFill>
                <a:latin typeface="Verdana" pitchFamily="34" charset="0"/>
                <a:ea typeface="MS PGothic"/>
              </a:rPr>
              <a:t> </a:t>
            </a:r>
          </a:p>
          <a:p>
            <a:endParaRPr lang="en-US" sz="2800" dirty="0">
              <a:solidFill>
                <a:srgbClr val="000000"/>
              </a:solidFill>
              <a:latin typeface="Verdana" pitchFamily="34" charset="0"/>
              <a:ea typeface="MS PGothic"/>
            </a:endParaRPr>
          </a:p>
          <a:p>
            <a:r>
              <a:rPr lang="en-US" sz="2400" dirty="0">
                <a:solidFill>
                  <a:srgbClr val="000000"/>
                </a:solidFill>
                <a:latin typeface="Verdana" pitchFamily="34" charset="0"/>
                <a:ea typeface="MS PGothic"/>
              </a:rPr>
              <a:t/>
            </a:r>
            <a:br>
              <a:rPr lang="en-US" sz="2400" dirty="0">
                <a:solidFill>
                  <a:srgbClr val="000000"/>
                </a:solidFill>
                <a:latin typeface="Verdana" pitchFamily="34" charset="0"/>
                <a:ea typeface="MS PGothic"/>
              </a:rPr>
            </a:br>
            <a:endParaRPr lang="en-US" sz="2000" dirty="0">
              <a:solidFill>
                <a:srgbClr val="000000"/>
              </a:solidFill>
              <a:latin typeface="Verdana" pitchFamily="34" charset="0"/>
              <a:ea typeface="MS PGothic"/>
              <a:cs typeface="MS PGothic"/>
            </a:endParaRPr>
          </a:p>
          <a:p>
            <a:endParaRPr lang="en-US" sz="2000" dirty="0">
              <a:solidFill>
                <a:srgbClr val="000000"/>
              </a:solidFill>
              <a:latin typeface="Verdana" pitchFamily="34" charset="0"/>
              <a:ea typeface="MS PGothic"/>
            </a:endParaRPr>
          </a:p>
        </p:txBody>
      </p:sp>
      <p:sp>
        <p:nvSpPr>
          <p:cNvPr id="29699" name="Rectangle 4"/>
          <p:cNvSpPr>
            <a:spLocks noChangeArrowheads="1"/>
          </p:cNvSpPr>
          <p:nvPr>
            <p:custDataLst>
              <p:tags r:id="rId4"/>
            </p:custDataLst>
          </p:nvPr>
        </p:nvSpPr>
        <p:spPr bwMode="gray">
          <a:xfrm>
            <a:off x="-6926" y="1828800"/>
            <a:ext cx="9150927" cy="1676400"/>
          </a:xfrm>
          <a:prstGeom prst="rect">
            <a:avLst/>
          </a:prstGeom>
          <a:solidFill>
            <a:srgbClr val="003366"/>
          </a:solidFill>
          <a:ln w="9525">
            <a:noFill/>
            <a:miter lim="800000"/>
            <a:headEnd/>
            <a:tailEnd/>
          </a:ln>
        </p:spPr>
        <p:txBody>
          <a:bodyPr anchor="ctr"/>
          <a:lstStyle/>
          <a:p>
            <a:pPr marL="0" lvl="1" algn="ctr"/>
            <a:r>
              <a:rPr lang="en-US" sz="2600" dirty="0">
                <a:solidFill>
                  <a:srgbClr val="FFFFFF"/>
                </a:solidFill>
                <a:latin typeface="Calibri" panose="020F0502020204030204" pitchFamily="34" charset="0"/>
                <a:ea typeface="Verdana" pitchFamily="34" charset="0"/>
                <a:cs typeface="Verdana" pitchFamily="34" charset="0"/>
              </a:rPr>
              <a:t>UNITAID-CHAI Optimal ARV Community Advisory Board (CAB): Inception Meeting</a:t>
            </a:r>
          </a:p>
        </p:txBody>
      </p:sp>
      <p:sp>
        <p:nvSpPr>
          <p:cNvPr id="5" name="Slide Number Placeholder 4"/>
          <p:cNvSpPr>
            <a:spLocks noGrp="1"/>
          </p:cNvSpPr>
          <p:nvPr>
            <p:ph type="sldNum" sz="quarter" idx="11"/>
            <p:custDataLst>
              <p:tags r:id="rId5"/>
            </p:custDataLst>
          </p:nvPr>
        </p:nvSpPr>
        <p:spPr/>
        <p:txBody>
          <a:bodyPr/>
          <a:lstStyle/>
          <a:p>
            <a:pPr>
              <a:defRPr/>
            </a:pPr>
            <a:fld id="{D1475B93-9E10-4BAD-8DDD-7FCEEDF5E3D1}" type="slidenum">
              <a:rPr lang="en-US" smtClean="0">
                <a:solidFill>
                  <a:srgbClr val="000000"/>
                </a:solidFill>
              </a:rPr>
              <a:pPr>
                <a:defRPr/>
              </a:pPr>
              <a:t>1</a:t>
            </a:fld>
            <a:endParaRPr lang="en-US" dirty="0">
              <a:solidFill>
                <a:srgbClr val="000000"/>
              </a:solidFill>
            </a:endParaRPr>
          </a:p>
        </p:txBody>
      </p:sp>
      <p:sp>
        <p:nvSpPr>
          <p:cNvPr id="7" name="TextBox 6"/>
          <p:cNvSpPr txBox="1"/>
          <p:nvPr>
            <p:custDataLst>
              <p:tags r:id="rId6"/>
            </p:custDataLst>
          </p:nvPr>
        </p:nvSpPr>
        <p:spPr>
          <a:xfrm>
            <a:off x="457200" y="5715006"/>
            <a:ext cx="6006662" cy="369332"/>
          </a:xfrm>
          <a:prstGeom prst="rect">
            <a:avLst/>
          </a:prstGeom>
          <a:noFill/>
        </p:spPr>
        <p:txBody>
          <a:bodyPr wrap="square" rtlCol="0">
            <a:spAutoFit/>
          </a:bodyPr>
          <a:lstStyle/>
          <a:p>
            <a:r>
              <a:rPr lang="en-US" sz="1800" dirty="0">
                <a:solidFill>
                  <a:srgbClr val="000000"/>
                </a:solidFill>
                <a:latin typeface="Calibri" pitchFamily="34" charset="0"/>
                <a:ea typeface="Verdana" pitchFamily="34" charset="0"/>
                <a:cs typeface="Verdana" pitchFamily="34" charset="0"/>
              </a:rPr>
              <a:t>Dakar, Senegal| April 11-12, 2017</a:t>
            </a:r>
          </a:p>
        </p:txBody>
      </p:sp>
      <p:pic>
        <p:nvPicPr>
          <p:cNvPr id="96257" name="Picture 1" descr="logo"/>
          <p:cNvPicPr>
            <a:picLocks noChangeAspect="1" noChangeArrowheads="1"/>
          </p:cNvPicPr>
          <p:nvPr>
            <p:custDataLst>
              <p:tags r:id="rId7"/>
            </p:custDataLst>
          </p:nvPr>
        </p:nvPicPr>
        <p:blipFill>
          <a:blip r:embed="rId12" cstate="print"/>
          <a:srcRect/>
          <a:stretch>
            <a:fillRect/>
          </a:stretch>
        </p:blipFill>
        <p:spPr bwMode="auto">
          <a:xfrm>
            <a:off x="7239003" y="5562600"/>
            <a:ext cx="1746250" cy="844550"/>
          </a:xfrm>
          <a:prstGeom prst="rect">
            <a:avLst/>
          </a:prstGeom>
          <a:noFill/>
          <a:ln w="9525">
            <a:noFill/>
            <a:miter lim="800000"/>
            <a:headEnd/>
            <a:tailEnd/>
          </a:ln>
        </p:spPr>
      </p:pic>
    </p:spTree>
    <p:extLst>
      <p:ext uri="{BB962C8B-B14F-4D97-AF65-F5344CB8AC3E}">
        <p14:creationId xmlns:p14="http://schemas.microsoft.com/office/powerpoint/2010/main" val="38552262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ctrTitle"/>
          </p:nvPr>
        </p:nvSpPr>
        <p:spPr>
          <a:xfrm>
            <a:off x="0" y="0"/>
            <a:ext cx="9144000" cy="1219200"/>
          </a:xfrm>
        </p:spPr>
        <p:txBody>
          <a:bodyPr>
            <a:normAutofit/>
          </a:bodyPr>
          <a:lstStyle/>
          <a:p>
            <a:r>
              <a:rPr lang="en-US" sz="2400" i="1" dirty="0" smtClean="0">
                <a:ea typeface="Verdana" pitchFamily="34" charset="0"/>
                <a:cs typeface="Verdana" pitchFamily="34" charset="0"/>
              </a:rPr>
              <a:t>CHAI Background</a:t>
            </a:r>
            <a:r>
              <a:rPr lang="en-US" sz="2400" dirty="0" smtClean="0">
                <a:ea typeface="Verdana" pitchFamily="34" charset="0"/>
                <a:cs typeface="Verdana" pitchFamily="34" charset="0"/>
              </a:rPr>
              <a:t>: CHAI </a:t>
            </a:r>
            <a:r>
              <a:rPr lang="en-US" sz="2400" dirty="0">
                <a:ea typeface="Verdana" pitchFamily="34" charset="0"/>
                <a:cs typeface="Verdana" pitchFamily="34" charset="0"/>
              </a:rPr>
              <a:t>HIV Access Program </a:t>
            </a:r>
            <a:r>
              <a:rPr lang="en-US" sz="2400" dirty="0" smtClean="0">
                <a:ea typeface="Verdana" pitchFamily="34" charset="0"/>
                <a:cs typeface="Verdana" pitchFamily="34" charset="0"/>
              </a:rPr>
              <a:t>Mission </a:t>
            </a:r>
            <a:r>
              <a:rPr lang="en-US" sz="2400" dirty="0">
                <a:ea typeface="Verdana" pitchFamily="34" charset="0"/>
                <a:cs typeface="Verdana" pitchFamily="34" charset="0"/>
              </a:rPr>
              <a:t>Statement</a:t>
            </a:r>
            <a:endParaRPr lang="en-US" sz="2400" i="1" dirty="0">
              <a:ea typeface="Verdana" pitchFamily="34" charset="0"/>
              <a:cs typeface="Verdana" pitchFamily="34" charset="0"/>
            </a:endParaRPr>
          </a:p>
        </p:txBody>
      </p:sp>
      <p:sp>
        <p:nvSpPr>
          <p:cNvPr id="6147" name="Slide Number Placeholder 2"/>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528FA2D-1AA7-4302-8B34-76972665B077}" type="slidenum">
              <a:rPr lang="en-US">
                <a:solidFill>
                  <a:prstClr val="black"/>
                </a:solidFill>
              </a:rPr>
              <a:pPr fontAlgn="base">
                <a:spcBef>
                  <a:spcPct val="0"/>
                </a:spcBef>
                <a:spcAft>
                  <a:spcPct val="0"/>
                </a:spcAft>
              </a:pPr>
              <a:t>10</a:t>
            </a:fld>
            <a:endParaRPr lang="en-US">
              <a:solidFill>
                <a:prstClr val="black"/>
              </a:solidFill>
            </a:endParaRPr>
          </a:p>
        </p:txBody>
      </p:sp>
      <p:sp>
        <p:nvSpPr>
          <p:cNvPr id="3" name="TextBox 2"/>
          <p:cNvSpPr txBox="1"/>
          <p:nvPr/>
        </p:nvSpPr>
        <p:spPr>
          <a:xfrm>
            <a:off x="133350" y="1219200"/>
            <a:ext cx="8877300" cy="2893100"/>
          </a:xfrm>
          <a:prstGeom prst="rect">
            <a:avLst/>
          </a:prstGeom>
          <a:noFill/>
        </p:spPr>
        <p:txBody>
          <a:bodyPr wrap="square" rtlCol="0">
            <a:spAutoFit/>
          </a:bodyPr>
          <a:lstStyle/>
          <a:p>
            <a:pPr algn="ctr"/>
            <a:r>
              <a:rPr lang="en-US" sz="3000" b="1" dirty="0">
                <a:solidFill>
                  <a:prstClr val="black"/>
                </a:solidFill>
                <a:latin typeface="Calibri"/>
              </a:rPr>
              <a:t>Our mission is to scale access to effective </a:t>
            </a:r>
          </a:p>
          <a:p>
            <a:pPr algn="ctr"/>
            <a:r>
              <a:rPr lang="en-US" sz="3000" b="1" dirty="0">
                <a:solidFill>
                  <a:prstClr val="black"/>
                </a:solidFill>
                <a:latin typeface="Calibri"/>
              </a:rPr>
              <a:t>HIV prevention and treatment services </a:t>
            </a:r>
          </a:p>
          <a:p>
            <a:pPr algn="ctr"/>
            <a:r>
              <a:rPr lang="en-US" sz="3000" b="1" dirty="0">
                <a:solidFill>
                  <a:prstClr val="black"/>
                </a:solidFill>
                <a:latin typeface="Calibri"/>
              </a:rPr>
              <a:t>for all who need them. </a:t>
            </a:r>
          </a:p>
          <a:p>
            <a:pPr algn="ctr"/>
            <a:endParaRPr lang="en-US" sz="2000" b="1" dirty="0">
              <a:solidFill>
                <a:prstClr val="black"/>
              </a:solidFill>
              <a:latin typeface="Calibri"/>
            </a:endParaRPr>
          </a:p>
          <a:p>
            <a:pPr algn="ctr"/>
            <a:r>
              <a:rPr lang="en-US" sz="2400" b="1" dirty="0">
                <a:solidFill>
                  <a:prstClr val="black"/>
                </a:solidFill>
                <a:latin typeface="Calibri"/>
              </a:rPr>
              <a:t>We do this by ensuring rapid access to the best products at affordable and sustainable prices, </a:t>
            </a:r>
            <a:r>
              <a:rPr lang="en-US" sz="2400" b="1" dirty="0" smtClean="0">
                <a:solidFill>
                  <a:prstClr val="black"/>
                </a:solidFill>
                <a:latin typeface="Calibri"/>
              </a:rPr>
              <a:t>and </a:t>
            </a:r>
            <a:r>
              <a:rPr lang="en-US" sz="2400" b="1" dirty="0">
                <a:solidFill>
                  <a:prstClr val="black"/>
                </a:solidFill>
                <a:latin typeface="Calibri"/>
              </a:rPr>
              <a:t>by increasing efficiency in the HIV prevention and treatment cascades. </a:t>
            </a:r>
            <a:endParaRPr lang="en-US" sz="2400" b="1" i="1" dirty="0">
              <a:solidFill>
                <a:prstClr val="black"/>
              </a:solidFill>
              <a:latin typeface="Calibri"/>
            </a:endParaRPr>
          </a:p>
        </p:txBody>
      </p:sp>
      <p:pic>
        <p:nvPicPr>
          <p:cNvPr id="10762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0313" y="4191000"/>
            <a:ext cx="4143375" cy="2600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341279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2"/>
          <p:cNvSpPr>
            <a:spLocks noGrp="1" noChangeArrowheads="1"/>
          </p:cNvSpPr>
          <p:nvPr>
            <p:ph type="title"/>
          </p:nvPr>
        </p:nvSpPr>
        <p:spPr bwMode="gray">
          <a:xfrm>
            <a:off x="0" y="0"/>
            <a:ext cx="9144000" cy="914400"/>
          </a:xfrm>
          <a:solidFill>
            <a:srgbClr val="17375E"/>
          </a:solidFill>
          <a:ln w="9525">
            <a:noFill/>
            <a:miter lim="800000"/>
            <a:headEnd/>
            <a:tailEnd/>
          </a:ln>
          <a:extLst/>
        </p:spPr>
        <p:txBody>
          <a:bodyPr vert="horz" wrap="square" lIns="91376" tIns="45688" rIns="91376" bIns="45688" numCol="1" rtlCol="0" anchor="ctr" anchorCtr="0" compatLnSpc="1">
            <a:prstTxWarp prst="textNoShape">
              <a:avLst/>
            </a:prstTxWarp>
            <a:normAutofit/>
          </a:bodyPr>
          <a:lstStyle/>
          <a:p>
            <a:pPr algn="l" defTabSz="913758" fontAlgn="base">
              <a:spcAft>
                <a:spcPct val="0"/>
              </a:spcAft>
            </a:pPr>
            <a:r>
              <a:rPr lang="en-US" sz="2400" dirty="0" smtClean="0">
                <a:solidFill>
                  <a:schemeClr val="bg1"/>
                </a:solidFill>
                <a:latin typeface="Calibri" panose="020F0502020204030204" pitchFamily="34" charset="0"/>
              </a:rPr>
              <a:t>CHAI’s </a:t>
            </a:r>
            <a:r>
              <a:rPr lang="en-US" sz="2400" dirty="0">
                <a:solidFill>
                  <a:schemeClr val="bg1"/>
                </a:solidFill>
                <a:latin typeface="Calibri" panose="020F0502020204030204" pitchFamily="34" charset="0"/>
              </a:rPr>
              <a:t>strategy is based on coordinated engagement with </a:t>
            </a:r>
            <a:r>
              <a:rPr lang="en-US" sz="2400" dirty="0" smtClean="0">
                <a:solidFill>
                  <a:schemeClr val="bg1"/>
                </a:solidFill>
                <a:latin typeface="Calibri" panose="020F0502020204030204" pitchFamily="34" charset="0"/>
              </a:rPr>
              <a:t>both </a:t>
            </a:r>
            <a:r>
              <a:rPr lang="en-US" sz="2400" dirty="0">
                <a:solidFill>
                  <a:schemeClr val="bg1"/>
                </a:solidFill>
                <a:latin typeface="Calibri" panose="020F0502020204030204" pitchFamily="34" charset="0"/>
              </a:rPr>
              <a:t>the supply and demand sides of </a:t>
            </a:r>
            <a:r>
              <a:rPr lang="en-US" sz="2400" dirty="0" smtClean="0">
                <a:solidFill>
                  <a:schemeClr val="bg1"/>
                </a:solidFill>
                <a:latin typeface="Calibri" panose="020F0502020204030204" pitchFamily="34" charset="0"/>
              </a:rPr>
              <a:t>the ARV </a:t>
            </a:r>
            <a:r>
              <a:rPr lang="en-US" sz="2400" dirty="0">
                <a:solidFill>
                  <a:schemeClr val="bg1"/>
                </a:solidFill>
                <a:latin typeface="Calibri" panose="020F0502020204030204" pitchFamily="34" charset="0"/>
              </a:rPr>
              <a:t>market</a:t>
            </a:r>
          </a:p>
        </p:txBody>
      </p:sp>
      <p:sp>
        <p:nvSpPr>
          <p:cNvPr id="7" name="Slide Number Placeholder 5"/>
          <p:cNvSpPr>
            <a:spLocks noGrp="1"/>
          </p:cNvSpPr>
          <p:nvPr>
            <p:ph type="sldNum" sz="quarter" idx="4294967295"/>
          </p:nvPr>
        </p:nvSpPr>
        <p:spPr>
          <a:xfrm>
            <a:off x="7010400" y="6477000"/>
            <a:ext cx="1905000" cy="457200"/>
          </a:xfrm>
          <a:prstGeom prst="rect">
            <a:avLst/>
          </a:prstGeom>
          <a:noFill/>
          <a:ln w="9525">
            <a:noFill/>
            <a:miter lim="800000"/>
            <a:headEnd/>
            <a:tailEnd/>
          </a:ln>
        </p:spPr>
        <p:txBody>
          <a:bodyPr vert="horz" wrap="square" lIns="91376" tIns="45688" rIns="91376" bIns="45688" numCol="1" anchor="t" anchorCtr="0" compatLnSpc="1">
            <a:prstTxWarp prst="textNoShape">
              <a:avLst/>
            </a:prstTxWarp>
          </a:bodyPr>
          <a:lstStyle/>
          <a:p>
            <a:pPr eaLnBrk="0" hangingPunct="0">
              <a:defRPr/>
            </a:pPr>
            <a:fld id="{45FFDD8D-2076-4874-A3E0-3BD340F0AB4E}" type="slidenum">
              <a:rPr lang="en-US" sz="1400">
                <a:solidFill>
                  <a:srgbClr val="000000"/>
                </a:solidFill>
                <a:latin typeface="Arial" panose="020B0604020202020204" pitchFamily="34" charset="0"/>
                <a:cs typeface="Arial" panose="020B0604020202020204" pitchFamily="34" charset="0"/>
              </a:rPr>
              <a:pPr eaLnBrk="0" hangingPunct="0">
                <a:defRPr/>
              </a:pPr>
              <a:t>11</a:t>
            </a:fld>
            <a:endParaRPr lang="en-US" sz="1400" dirty="0">
              <a:solidFill>
                <a:srgbClr val="000000"/>
              </a:solidFill>
              <a:latin typeface="Arial" panose="020B0604020202020204" pitchFamily="34" charset="0"/>
              <a:cs typeface="Arial" panose="020B0604020202020204" pitchFamily="34" charset="0"/>
            </a:endParaRPr>
          </a:p>
        </p:txBody>
      </p:sp>
      <p:graphicFrame>
        <p:nvGraphicFramePr>
          <p:cNvPr id="5" name="Diagram 4"/>
          <p:cNvGraphicFramePr/>
          <p:nvPr>
            <p:custDataLst>
              <p:tags r:id="rId1"/>
            </p:custDataLst>
            <p:extLst>
              <p:ext uri="{D42A27DB-BD31-4B8C-83A1-F6EECF244321}">
                <p14:modId xmlns:p14="http://schemas.microsoft.com/office/powerpoint/2010/main" val="2690627954"/>
              </p:ext>
            </p:extLst>
          </p:nvPr>
        </p:nvGraphicFramePr>
        <p:xfrm>
          <a:off x="2362200" y="914400"/>
          <a:ext cx="5029200" cy="43434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6" name="TextBox 5"/>
          <p:cNvSpPr txBox="1"/>
          <p:nvPr>
            <p:custDataLst>
              <p:tags r:id="rId2"/>
            </p:custDataLst>
          </p:nvPr>
        </p:nvSpPr>
        <p:spPr>
          <a:xfrm>
            <a:off x="228600" y="2286000"/>
            <a:ext cx="2286000" cy="3477875"/>
          </a:xfrm>
          <a:prstGeom prst="rect">
            <a:avLst/>
          </a:prstGeom>
          <a:noFill/>
        </p:spPr>
        <p:txBody>
          <a:bodyPr wrap="square" rtlCol="0">
            <a:spAutoFit/>
          </a:bodyPr>
          <a:lstStyle/>
          <a:p>
            <a:r>
              <a:rPr lang="en-US" sz="2000" b="1" u="sng" dirty="0" smtClean="0">
                <a:solidFill>
                  <a:prstClr val="black"/>
                </a:solidFill>
                <a:latin typeface="Calibri"/>
                <a:cs typeface="Arial" panose="020B0604020202020204" pitchFamily="34" charset="0"/>
              </a:rPr>
              <a:t>The demand side needs:</a:t>
            </a:r>
            <a:endParaRPr lang="en-US" sz="2000" dirty="0">
              <a:solidFill>
                <a:prstClr val="black"/>
              </a:solidFill>
              <a:latin typeface="Calibri"/>
              <a:cs typeface="Arial" panose="020B0604020202020204" pitchFamily="34" charset="0"/>
            </a:endParaRPr>
          </a:p>
          <a:p>
            <a:endParaRPr lang="en-US" sz="2000" dirty="0">
              <a:solidFill>
                <a:prstClr val="black"/>
              </a:solidFill>
              <a:latin typeface="Calibri"/>
              <a:cs typeface="Arial" panose="020B0604020202020204" pitchFamily="34" charset="0"/>
            </a:endParaRPr>
          </a:p>
          <a:p>
            <a:r>
              <a:rPr lang="en-US" sz="2000" dirty="0" smtClean="0">
                <a:solidFill>
                  <a:prstClr val="black"/>
                </a:solidFill>
                <a:latin typeface="Calibri"/>
                <a:cs typeface="Arial" panose="020B0604020202020204" pitchFamily="34" charset="0"/>
              </a:rPr>
              <a:t>ARVs </a:t>
            </a:r>
            <a:r>
              <a:rPr lang="en-US" sz="2000" dirty="0">
                <a:solidFill>
                  <a:prstClr val="black"/>
                </a:solidFill>
                <a:latin typeface="Calibri"/>
                <a:cs typeface="Arial" panose="020B0604020202020204" pitchFamily="34" charset="0"/>
              </a:rPr>
              <a:t>that meet the needs of resource-limited settings in terms of quality, formulation, and price, to enable patient scale-up on high-quality </a:t>
            </a:r>
            <a:r>
              <a:rPr lang="en-US" sz="2000" dirty="0" smtClean="0">
                <a:solidFill>
                  <a:prstClr val="black"/>
                </a:solidFill>
                <a:latin typeface="Calibri"/>
                <a:cs typeface="Arial" panose="020B0604020202020204" pitchFamily="34" charset="0"/>
              </a:rPr>
              <a:t>ARVs</a:t>
            </a:r>
            <a:endParaRPr lang="en-US" sz="2000" dirty="0">
              <a:solidFill>
                <a:prstClr val="black"/>
              </a:solidFill>
              <a:latin typeface="Calibri"/>
              <a:cs typeface="Arial" panose="020B0604020202020204" pitchFamily="34" charset="0"/>
            </a:endParaRPr>
          </a:p>
        </p:txBody>
      </p:sp>
      <p:sp>
        <p:nvSpPr>
          <p:cNvPr id="8" name="TextBox 7"/>
          <p:cNvSpPr txBox="1"/>
          <p:nvPr>
            <p:custDataLst>
              <p:tags r:id="rId3"/>
            </p:custDataLst>
          </p:nvPr>
        </p:nvSpPr>
        <p:spPr>
          <a:xfrm>
            <a:off x="6858000" y="2286000"/>
            <a:ext cx="2057400" cy="3477875"/>
          </a:xfrm>
          <a:prstGeom prst="rect">
            <a:avLst/>
          </a:prstGeom>
          <a:noFill/>
        </p:spPr>
        <p:txBody>
          <a:bodyPr wrap="square" rtlCol="0">
            <a:spAutoFit/>
          </a:bodyPr>
          <a:lstStyle/>
          <a:p>
            <a:pPr algn="r"/>
            <a:r>
              <a:rPr lang="en-US" sz="2000" b="1" u="sng" dirty="0" smtClean="0">
                <a:solidFill>
                  <a:prstClr val="black"/>
                </a:solidFill>
                <a:latin typeface="Calibri"/>
                <a:cs typeface="Arial" panose="020B0604020202020204" pitchFamily="34" charset="0"/>
              </a:rPr>
              <a:t>The supply side needs</a:t>
            </a:r>
            <a:r>
              <a:rPr lang="en-US" sz="2000" dirty="0" smtClean="0">
                <a:solidFill>
                  <a:prstClr val="black"/>
                </a:solidFill>
                <a:latin typeface="Calibri"/>
                <a:cs typeface="Arial" panose="020B0604020202020204" pitchFamily="34" charset="0"/>
              </a:rPr>
              <a:t>: </a:t>
            </a:r>
            <a:endParaRPr lang="en-US" sz="2000" dirty="0">
              <a:solidFill>
                <a:prstClr val="black"/>
              </a:solidFill>
              <a:latin typeface="Calibri"/>
              <a:cs typeface="Arial" panose="020B0604020202020204" pitchFamily="34" charset="0"/>
            </a:endParaRPr>
          </a:p>
          <a:p>
            <a:pPr algn="r"/>
            <a:endParaRPr lang="en-US" sz="2000" dirty="0">
              <a:solidFill>
                <a:prstClr val="black"/>
              </a:solidFill>
              <a:latin typeface="Calibri"/>
              <a:cs typeface="Arial" panose="020B0604020202020204" pitchFamily="34" charset="0"/>
            </a:endParaRPr>
          </a:p>
          <a:p>
            <a:pPr algn="r"/>
            <a:r>
              <a:rPr lang="en-US" sz="2000" dirty="0">
                <a:solidFill>
                  <a:prstClr val="black"/>
                </a:solidFill>
                <a:latin typeface="Calibri"/>
                <a:cs typeface="Arial" panose="020B0604020202020204" pitchFamily="34" charset="0"/>
              </a:rPr>
              <a:t>A reliable, transparent, marketplace for </a:t>
            </a:r>
            <a:r>
              <a:rPr lang="en-US" sz="2000" dirty="0" smtClean="0">
                <a:solidFill>
                  <a:prstClr val="black"/>
                </a:solidFill>
                <a:latin typeface="Calibri"/>
                <a:cs typeface="Arial" panose="020B0604020202020204" pitchFamily="34" charset="0"/>
              </a:rPr>
              <a:t>ARVs </a:t>
            </a:r>
            <a:r>
              <a:rPr lang="en-US" sz="2000" dirty="0">
                <a:solidFill>
                  <a:prstClr val="black"/>
                </a:solidFill>
                <a:latin typeface="Calibri"/>
                <a:cs typeface="Arial" panose="020B0604020202020204" pitchFamily="34" charset="0"/>
              </a:rPr>
              <a:t>that provide ongoing </a:t>
            </a:r>
            <a:r>
              <a:rPr lang="en-US" sz="2000" dirty="0" smtClean="0">
                <a:solidFill>
                  <a:prstClr val="black"/>
                </a:solidFill>
                <a:latin typeface="Calibri"/>
                <a:cs typeface="Arial" panose="020B0604020202020204" pitchFamily="34" charset="0"/>
              </a:rPr>
              <a:t>growth, to ensure a sustainable supplier base</a:t>
            </a:r>
            <a:endParaRPr lang="en-US" sz="2000" dirty="0">
              <a:solidFill>
                <a:prstClr val="black"/>
              </a:solidFill>
              <a:latin typeface="Calibri"/>
              <a:cs typeface="Arial" panose="020B0604020202020204" pitchFamily="34" charset="0"/>
            </a:endParaRPr>
          </a:p>
        </p:txBody>
      </p:sp>
      <p:sp>
        <p:nvSpPr>
          <p:cNvPr id="9" name="Rectangle 8"/>
          <p:cNvSpPr/>
          <p:nvPr>
            <p:custDataLst>
              <p:tags r:id="rId4"/>
            </p:custDataLst>
          </p:nvPr>
        </p:nvSpPr>
        <p:spPr>
          <a:xfrm>
            <a:off x="228600" y="1676400"/>
            <a:ext cx="2651760" cy="457200"/>
          </a:xfrm>
          <a:prstGeom prst="rect">
            <a:avLst/>
          </a:prstGeom>
          <a:solidFill>
            <a:schemeClr val="accent1">
              <a:lumMod val="7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2800" b="1" dirty="0">
                <a:solidFill>
                  <a:prstClr val="white"/>
                </a:solidFill>
                <a:cs typeface="Arial" panose="020B0604020202020204" pitchFamily="34" charset="0"/>
              </a:rPr>
              <a:t>Demand-side</a:t>
            </a:r>
          </a:p>
        </p:txBody>
      </p:sp>
      <p:sp>
        <p:nvSpPr>
          <p:cNvPr id="10" name="Rectangle 9"/>
          <p:cNvSpPr/>
          <p:nvPr>
            <p:custDataLst>
              <p:tags r:id="rId5"/>
            </p:custDataLst>
          </p:nvPr>
        </p:nvSpPr>
        <p:spPr>
          <a:xfrm>
            <a:off x="6172200" y="1676400"/>
            <a:ext cx="2651760" cy="457200"/>
          </a:xfrm>
          <a:prstGeom prst="rect">
            <a:avLst/>
          </a:prstGeom>
          <a:solidFill>
            <a:schemeClr val="accent5">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r"/>
            <a:r>
              <a:rPr lang="en-US" sz="2800" b="1" dirty="0">
                <a:solidFill>
                  <a:prstClr val="white"/>
                </a:solidFill>
                <a:cs typeface="Arial" panose="020B0604020202020204" pitchFamily="34" charset="0"/>
              </a:rPr>
              <a:t>Supply-side</a:t>
            </a:r>
          </a:p>
        </p:txBody>
      </p:sp>
      <p:sp>
        <p:nvSpPr>
          <p:cNvPr id="11" name="TextBox 10"/>
          <p:cNvSpPr txBox="1"/>
          <p:nvPr/>
        </p:nvSpPr>
        <p:spPr>
          <a:xfrm rot="20517966">
            <a:off x="3374407" y="1358033"/>
            <a:ext cx="1447800" cy="369332"/>
          </a:xfrm>
          <a:prstGeom prst="rect">
            <a:avLst/>
          </a:prstGeom>
          <a:noFill/>
        </p:spPr>
        <p:txBody>
          <a:bodyPr wrap="square" rtlCol="0">
            <a:spAutoFit/>
          </a:bodyPr>
          <a:lstStyle/>
          <a:p>
            <a:pPr algn="ctr"/>
            <a:r>
              <a:rPr lang="en-US" sz="1800" b="1" i="1" dirty="0">
                <a:solidFill>
                  <a:prstClr val="white">
                    <a:lumMod val="50000"/>
                  </a:prstClr>
                </a:solidFill>
                <a:latin typeface="Calibri"/>
                <a:cs typeface="Arial" panose="020B0604020202020204" pitchFamily="34" charset="0"/>
              </a:rPr>
              <a:t>Volumes</a:t>
            </a:r>
          </a:p>
        </p:txBody>
      </p:sp>
      <p:sp>
        <p:nvSpPr>
          <p:cNvPr id="12" name="TextBox 11"/>
          <p:cNvSpPr txBox="1"/>
          <p:nvPr>
            <p:custDataLst>
              <p:tags r:id="rId6"/>
            </p:custDataLst>
          </p:nvPr>
        </p:nvSpPr>
        <p:spPr>
          <a:xfrm rot="2796925">
            <a:off x="5121651" y="2591387"/>
            <a:ext cx="1447800" cy="369332"/>
          </a:xfrm>
          <a:prstGeom prst="rect">
            <a:avLst/>
          </a:prstGeom>
          <a:noFill/>
        </p:spPr>
        <p:txBody>
          <a:bodyPr wrap="square" rtlCol="0">
            <a:spAutoFit/>
          </a:bodyPr>
          <a:lstStyle/>
          <a:p>
            <a:pPr algn="ctr"/>
            <a:r>
              <a:rPr lang="en-US" sz="1800" b="1" i="1" dirty="0">
                <a:solidFill>
                  <a:prstClr val="white">
                    <a:lumMod val="50000"/>
                  </a:prstClr>
                </a:solidFill>
                <a:latin typeface="Calibri"/>
                <a:cs typeface="Arial" panose="020B0604020202020204" pitchFamily="34" charset="0"/>
              </a:rPr>
              <a:t>Insight</a:t>
            </a:r>
          </a:p>
        </p:txBody>
      </p:sp>
      <p:pic>
        <p:nvPicPr>
          <p:cNvPr id="13" name="Picture 12"/>
          <p:cNvPicPr>
            <a:picLocks noChangeAspect="1" noChangeArrowheads="1"/>
          </p:cNvPicPr>
          <p:nvPr/>
        </p:nvPicPr>
        <p:blipFill>
          <a:blip r:embed="rId14" cstate="screen"/>
          <a:srcRect/>
          <a:stretch>
            <a:fillRect/>
          </a:stretch>
        </p:blipFill>
        <p:spPr bwMode="gray">
          <a:xfrm>
            <a:off x="3695700" y="5178529"/>
            <a:ext cx="1752601" cy="1539771"/>
          </a:xfrm>
          <a:prstGeom prst="roundRect">
            <a:avLst/>
          </a:prstGeom>
          <a:noFill/>
          <a:ln w="9525" algn="ctr">
            <a:noFill/>
            <a:miter lim="800000"/>
            <a:headEnd/>
            <a:tailEnd/>
          </a:ln>
        </p:spPr>
      </p:pic>
    </p:spTree>
    <p:extLst>
      <p:ext uri="{BB962C8B-B14F-4D97-AF65-F5344CB8AC3E}">
        <p14:creationId xmlns:p14="http://schemas.microsoft.com/office/powerpoint/2010/main" val="37003152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534" y="27296"/>
            <a:ext cx="9048466" cy="914400"/>
          </a:xfrm>
        </p:spPr>
        <p:txBody>
          <a:bodyPr>
            <a:noAutofit/>
          </a:bodyPr>
          <a:lstStyle/>
          <a:p>
            <a:r>
              <a:rPr lang="en-US" sz="2100" dirty="0">
                <a:cs typeface="Arial" panose="020B0604020202020204" pitchFamily="34" charset="0"/>
              </a:rPr>
              <a:t>The UNITAID-CHAI Optimal ARV project aims to generate demand for target ARVs in high-burden focal countries, driving rapid uptake and lowering global costs</a:t>
            </a:r>
          </a:p>
        </p:txBody>
      </p:sp>
      <p:sp>
        <p:nvSpPr>
          <p:cNvPr id="7" name="TextBox 6"/>
          <p:cNvSpPr txBox="1"/>
          <p:nvPr/>
        </p:nvSpPr>
        <p:spPr>
          <a:xfrm>
            <a:off x="457200" y="1378228"/>
            <a:ext cx="3147685" cy="338554"/>
          </a:xfrm>
          <a:prstGeom prst="rect">
            <a:avLst/>
          </a:prstGeom>
          <a:noFill/>
        </p:spPr>
        <p:txBody>
          <a:bodyPr wrap="square" rtlCol="0">
            <a:spAutoFit/>
          </a:bodyPr>
          <a:lstStyle/>
          <a:p>
            <a:pPr algn="ctr" defTabSz="457200"/>
            <a:r>
              <a:rPr lang="en-US" sz="1600" dirty="0">
                <a:solidFill>
                  <a:prstClr val="white"/>
                </a:solidFill>
                <a:latin typeface="Arial" pitchFamily="127" charset="0"/>
                <a:ea typeface="ＭＳ Ｐゴシック" pitchFamily="127" charset="-128"/>
              </a:rPr>
              <a:t>COST SAVINGS THROUGH 2023</a:t>
            </a:r>
          </a:p>
        </p:txBody>
      </p:sp>
      <p:cxnSp>
        <p:nvCxnSpPr>
          <p:cNvPr id="8" name="Straight Connector 7"/>
          <p:cNvCxnSpPr/>
          <p:nvPr/>
        </p:nvCxnSpPr>
        <p:spPr>
          <a:xfrm flipH="1">
            <a:off x="252387" y="3634412"/>
            <a:ext cx="35052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9" name="Straight Connector 8"/>
          <p:cNvCxnSpPr/>
          <p:nvPr/>
        </p:nvCxnSpPr>
        <p:spPr>
          <a:xfrm>
            <a:off x="3962400" y="1396240"/>
            <a:ext cx="0" cy="491241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337764" y="1335159"/>
            <a:ext cx="3307644" cy="2063043"/>
            <a:chOff x="2743200" y="2429087"/>
            <a:chExt cx="3657600" cy="2371512"/>
          </a:xfrm>
          <a:solidFill>
            <a:schemeClr val="tx2">
              <a:lumMod val="75000"/>
            </a:schemeClr>
          </a:solidFill>
        </p:grpSpPr>
        <p:sp>
          <p:nvSpPr>
            <p:cNvPr id="11" name="Rounded Rectangle 10"/>
            <p:cNvSpPr/>
            <p:nvPr/>
          </p:nvSpPr>
          <p:spPr>
            <a:xfrm>
              <a:off x="2743200" y="2429087"/>
              <a:ext cx="3657600" cy="237151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7200" b="1" dirty="0">
                <a:solidFill>
                  <a:prstClr val="white"/>
                </a:solidFill>
              </a:endParaRPr>
            </a:p>
          </p:txBody>
        </p:sp>
        <p:sp>
          <p:nvSpPr>
            <p:cNvPr id="12" name="TextBox 11"/>
            <p:cNvSpPr txBox="1"/>
            <p:nvPr/>
          </p:nvSpPr>
          <p:spPr>
            <a:xfrm>
              <a:off x="3439704" y="3008523"/>
              <a:ext cx="2115071" cy="1167526"/>
            </a:xfrm>
            <a:prstGeom prst="rect">
              <a:avLst/>
            </a:prstGeom>
            <a:grpFill/>
          </p:spPr>
          <p:txBody>
            <a:bodyPr wrap="none" rtlCol="0">
              <a:spAutoFit/>
            </a:bodyPr>
            <a:lstStyle/>
            <a:p>
              <a:pPr algn="ctr" defTabSz="457200"/>
              <a:r>
                <a:rPr lang="en-US" sz="4800" b="1" dirty="0">
                  <a:solidFill>
                    <a:prstClr val="white"/>
                  </a:solidFill>
                  <a:latin typeface="Calibri"/>
                  <a:ea typeface="ＭＳ Ｐゴシック" pitchFamily="127" charset="-128"/>
                </a:rPr>
                <a:t>$</a:t>
              </a:r>
              <a:r>
                <a:rPr lang="en-US" sz="6000" b="1" dirty="0">
                  <a:solidFill>
                    <a:prstClr val="white"/>
                  </a:solidFill>
                  <a:latin typeface="Calibri"/>
                  <a:ea typeface="ＭＳ Ｐゴシック" pitchFamily="127" charset="-128"/>
                </a:rPr>
                <a:t>1.6B</a:t>
              </a:r>
            </a:p>
          </p:txBody>
        </p:sp>
      </p:grpSp>
      <p:sp>
        <p:nvSpPr>
          <p:cNvPr id="13" name="TextBox 12"/>
          <p:cNvSpPr txBox="1"/>
          <p:nvPr/>
        </p:nvSpPr>
        <p:spPr>
          <a:xfrm>
            <a:off x="425068" y="1754062"/>
            <a:ext cx="3147685" cy="307777"/>
          </a:xfrm>
          <a:prstGeom prst="rect">
            <a:avLst/>
          </a:prstGeom>
          <a:noFill/>
        </p:spPr>
        <p:txBody>
          <a:bodyPr wrap="square" rtlCol="0">
            <a:spAutoFit/>
          </a:bodyPr>
          <a:lstStyle/>
          <a:p>
            <a:pPr algn="ctr" defTabSz="457200"/>
            <a:r>
              <a:rPr lang="en-US" sz="1400" dirty="0">
                <a:solidFill>
                  <a:prstClr val="white"/>
                </a:solidFill>
                <a:latin typeface="Calibri"/>
                <a:ea typeface="ＭＳ Ｐゴシック" pitchFamily="127" charset="-128"/>
              </a:rPr>
              <a:t>GLOBAL COST SAVINGS THROUGH 2024</a:t>
            </a:r>
          </a:p>
        </p:txBody>
      </p:sp>
      <p:sp>
        <p:nvSpPr>
          <p:cNvPr id="14" name="TextBox 13"/>
          <p:cNvSpPr txBox="1"/>
          <p:nvPr/>
        </p:nvSpPr>
        <p:spPr>
          <a:xfrm>
            <a:off x="228600" y="3662587"/>
            <a:ext cx="3581400" cy="400110"/>
          </a:xfrm>
          <a:prstGeom prst="rect">
            <a:avLst/>
          </a:prstGeom>
          <a:noFill/>
        </p:spPr>
        <p:txBody>
          <a:bodyPr wrap="square" rtlCol="0">
            <a:spAutoFit/>
          </a:bodyPr>
          <a:lstStyle/>
          <a:p>
            <a:pPr algn="ctr" defTabSz="457200"/>
            <a:r>
              <a:rPr lang="en-US" sz="2000" b="1" dirty="0">
                <a:solidFill>
                  <a:prstClr val="black"/>
                </a:solidFill>
                <a:latin typeface="Calibri"/>
                <a:ea typeface="ＭＳ Ｐゴシック" pitchFamily="127" charset="-128"/>
              </a:rPr>
              <a:t>FOCAL COUNTRIES</a:t>
            </a:r>
          </a:p>
        </p:txBody>
      </p:sp>
      <p:sp>
        <p:nvSpPr>
          <p:cNvPr id="15" name="Rectangle 14"/>
          <p:cNvSpPr/>
          <p:nvPr/>
        </p:nvSpPr>
        <p:spPr>
          <a:xfrm>
            <a:off x="4150426" y="1066800"/>
            <a:ext cx="4800600" cy="3075045"/>
          </a:xfrm>
          <a:prstGeom prst="rect">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91440" bIns="274320" rtlCol="0" anchor="ctr"/>
          <a:lstStyle/>
          <a:p>
            <a:pPr marL="109538" indent="-109538" defTabSz="457200"/>
            <a:endParaRPr lang="en-US" sz="400" b="1" dirty="0">
              <a:solidFill>
                <a:prstClr val="black"/>
              </a:solidFill>
            </a:endParaRPr>
          </a:p>
          <a:p>
            <a:pPr marL="109538" indent="-109538" defTabSz="457200"/>
            <a:endParaRPr lang="en-US" sz="400" b="1" dirty="0">
              <a:solidFill>
                <a:prstClr val="black"/>
              </a:solidFill>
            </a:endParaRPr>
          </a:p>
          <a:p>
            <a:pPr marL="109538" indent="-109538" defTabSz="457200"/>
            <a:endParaRPr lang="en-US" sz="400" b="1" dirty="0">
              <a:solidFill>
                <a:prstClr val="black"/>
              </a:solidFill>
            </a:endParaRPr>
          </a:p>
          <a:p>
            <a:pPr marL="109538" indent="-109538" defTabSz="457200"/>
            <a:endParaRPr lang="en-US" sz="400" b="1" dirty="0">
              <a:solidFill>
                <a:prstClr val="black"/>
              </a:solidFill>
            </a:endParaRPr>
          </a:p>
          <a:p>
            <a:pPr defTabSz="457200"/>
            <a:endParaRPr lang="en-US" sz="1600" b="1" dirty="0">
              <a:solidFill>
                <a:prstClr val="black"/>
              </a:solidFill>
            </a:endParaRPr>
          </a:p>
          <a:p>
            <a:pPr defTabSz="457200"/>
            <a:r>
              <a:rPr lang="en-US" sz="1800" b="1" dirty="0">
                <a:solidFill>
                  <a:prstClr val="black"/>
                </a:solidFill>
              </a:rPr>
              <a:t>Optimal ARV </a:t>
            </a:r>
            <a:r>
              <a:rPr lang="en-US" sz="1800" b="1" dirty="0" smtClean="0">
                <a:solidFill>
                  <a:prstClr val="black"/>
                </a:solidFill>
              </a:rPr>
              <a:t>Project Focus Areas: </a:t>
            </a:r>
            <a:endParaRPr lang="en-US" sz="1800" b="1" dirty="0">
              <a:solidFill>
                <a:prstClr val="black"/>
              </a:solidFill>
            </a:endParaRPr>
          </a:p>
          <a:p>
            <a:pPr defTabSz="457200"/>
            <a:endParaRPr lang="en-US" sz="1400" i="1" dirty="0">
              <a:solidFill>
                <a:prstClr val="black"/>
              </a:solidFill>
            </a:endParaRPr>
          </a:p>
          <a:p>
            <a:pPr marL="342900" lvl="1" indent="-342900" defTabSz="457200">
              <a:buFont typeface="+mj-lt"/>
              <a:buAutoNum type="arabicPeriod"/>
            </a:pPr>
            <a:r>
              <a:rPr lang="en-US" sz="1600" dirty="0" smtClean="0">
                <a:solidFill>
                  <a:prstClr val="black"/>
                </a:solidFill>
              </a:rPr>
              <a:t>Engage with suppliers to accelerate </a:t>
            </a:r>
            <a:r>
              <a:rPr lang="en-US" sz="1600" dirty="0">
                <a:solidFill>
                  <a:prstClr val="black"/>
                </a:solidFill>
              </a:rPr>
              <a:t>time to market and optimal </a:t>
            </a:r>
            <a:r>
              <a:rPr lang="en-US" sz="1600" dirty="0" smtClean="0">
                <a:solidFill>
                  <a:prstClr val="black"/>
                </a:solidFill>
              </a:rPr>
              <a:t>pricing</a:t>
            </a:r>
          </a:p>
          <a:p>
            <a:pPr marL="342900" lvl="1" indent="-342900" defTabSz="457200">
              <a:buFont typeface="+mj-lt"/>
              <a:buAutoNum type="arabicPeriod"/>
            </a:pPr>
            <a:endParaRPr lang="en-US" sz="1600" dirty="0">
              <a:solidFill>
                <a:prstClr val="black"/>
              </a:solidFill>
            </a:endParaRPr>
          </a:p>
          <a:p>
            <a:pPr marL="342900" lvl="1" indent="-342900" defTabSz="457200">
              <a:buFont typeface="+mj-lt"/>
              <a:buAutoNum type="arabicPeriod"/>
            </a:pPr>
            <a:r>
              <a:rPr lang="en-US" sz="1600" dirty="0">
                <a:solidFill>
                  <a:prstClr val="black"/>
                </a:solidFill>
              </a:rPr>
              <a:t>I</a:t>
            </a:r>
            <a:r>
              <a:rPr lang="en-US" sz="1600" dirty="0" smtClean="0">
                <a:solidFill>
                  <a:prstClr val="black"/>
                </a:solidFill>
              </a:rPr>
              <a:t>dentify </a:t>
            </a:r>
            <a:r>
              <a:rPr lang="en-US" sz="1600" dirty="0">
                <a:solidFill>
                  <a:prstClr val="black"/>
                </a:solidFill>
              </a:rPr>
              <a:t>opportunities for cost reduction through process chemistry </a:t>
            </a:r>
            <a:r>
              <a:rPr lang="en-US" sz="1600" dirty="0" smtClean="0">
                <a:solidFill>
                  <a:prstClr val="black"/>
                </a:solidFill>
              </a:rPr>
              <a:t>improvements in a lab</a:t>
            </a:r>
            <a:endParaRPr lang="en-US" sz="1600" dirty="0">
              <a:solidFill>
                <a:prstClr val="black"/>
              </a:solidFill>
            </a:endParaRPr>
          </a:p>
          <a:p>
            <a:pPr marL="342900" lvl="1" indent="-342900" defTabSz="457200">
              <a:buFont typeface="+mj-lt"/>
              <a:buAutoNum type="arabicPeriod"/>
            </a:pPr>
            <a:endParaRPr lang="en-US" sz="1600" dirty="0">
              <a:solidFill>
                <a:prstClr val="black"/>
              </a:solidFill>
            </a:endParaRPr>
          </a:p>
          <a:p>
            <a:pPr marL="342900" lvl="1" indent="-342900" defTabSz="457200">
              <a:buFont typeface="+mj-lt"/>
              <a:buAutoNum type="arabicPeriod"/>
            </a:pPr>
            <a:r>
              <a:rPr lang="en-US" sz="1600" b="1" dirty="0" smtClean="0">
                <a:solidFill>
                  <a:prstClr val="black"/>
                </a:solidFill>
              </a:rPr>
              <a:t>Engage </a:t>
            </a:r>
            <a:r>
              <a:rPr lang="en-US" sz="1600" b="1" dirty="0">
                <a:solidFill>
                  <a:prstClr val="black"/>
                </a:solidFill>
              </a:rPr>
              <a:t>with </a:t>
            </a:r>
            <a:r>
              <a:rPr lang="en-US" sz="1600" b="1" dirty="0" err="1">
                <a:solidFill>
                  <a:prstClr val="black"/>
                </a:solidFill>
              </a:rPr>
              <a:t>MoH</a:t>
            </a:r>
            <a:r>
              <a:rPr lang="en-US" sz="1600" b="1" dirty="0">
                <a:solidFill>
                  <a:prstClr val="black"/>
                </a:solidFill>
              </a:rPr>
              <a:t>, civil society, and other stakeholders to support adoption and roll-out of optimal products, and  drive uptake in focal </a:t>
            </a:r>
            <a:r>
              <a:rPr lang="en-US" sz="1600" b="1" dirty="0" smtClean="0">
                <a:solidFill>
                  <a:prstClr val="black"/>
                </a:solidFill>
              </a:rPr>
              <a:t>countries</a:t>
            </a:r>
            <a:endParaRPr lang="en-US" sz="1300" b="1" i="1" dirty="0">
              <a:solidFill>
                <a:prstClr val="black"/>
              </a:solidFill>
            </a:endParaRPr>
          </a:p>
          <a:p>
            <a:pPr defTabSz="457200"/>
            <a:r>
              <a:rPr lang="en-US" sz="1300" i="1" dirty="0">
                <a:solidFill>
                  <a:prstClr val="black"/>
                </a:solidFill>
              </a:rPr>
              <a:t/>
            </a:r>
            <a:br>
              <a:rPr lang="en-US" sz="1300" i="1" dirty="0">
                <a:solidFill>
                  <a:prstClr val="black"/>
                </a:solidFill>
              </a:rPr>
            </a:br>
            <a:endParaRPr lang="en-US" sz="1300" i="1" dirty="0">
              <a:solidFill>
                <a:prstClr val="black"/>
              </a:solidFill>
            </a:endParaRPr>
          </a:p>
          <a:p>
            <a:pPr marL="109538" indent="-53975" defTabSz="457200">
              <a:buFont typeface="Arial" panose="020B0604020202020204" pitchFamily="34" charset="0"/>
              <a:buChar char="•"/>
            </a:pPr>
            <a:endParaRPr lang="en-US" sz="400" dirty="0">
              <a:solidFill>
                <a:prstClr val="black"/>
              </a:solidFill>
            </a:endParaRPr>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596" y="4034052"/>
            <a:ext cx="3146421" cy="21502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7" name="Table 16"/>
          <p:cNvGraphicFramePr>
            <a:graphicFrameLocks noGrp="1"/>
          </p:cNvGraphicFramePr>
          <p:nvPr>
            <p:extLst>
              <p:ext uri="{D42A27DB-BD31-4B8C-83A1-F6EECF244321}">
                <p14:modId xmlns:p14="http://schemas.microsoft.com/office/powerpoint/2010/main" val="3873845785"/>
              </p:ext>
            </p:extLst>
          </p:nvPr>
        </p:nvGraphicFramePr>
        <p:xfrm>
          <a:off x="4720352" y="4558351"/>
          <a:ext cx="3843130" cy="2148840"/>
        </p:xfrm>
        <a:graphic>
          <a:graphicData uri="http://schemas.openxmlformats.org/drawingml/2006/table">
            <a:tbl>
              <a:tblPr firstRow="1" bandRow="1">
                <a:tableStyleId>{6E25E649-3F16-4E02-A733-19D2CDBF48F0}</a:tableStyleId>
              </a:tblPr>
              <a:tblGrid>
                <a:gridCol w="1921565">
                  <a:extLst>
                    <a:ext uri="{9D8B030D-6E8A-4147-A177-3AD203B41FA5}">
                      <a16:colId xmlns:a16="http://schemas.microsoft.com/office/drawing/2014/main" xmlns="" val="20000"/>
                    </a:ext>
                  </a:extLst>
                </a:gridCol>
                <a:gridCol w="1921565">
                  <a:extLst>
                    <a:ext uri="{9D8B030D-6E8A-4147-A177-3AD203B41FA5}">
                      <a16:colId xmlns:a16="http://schemas.microsoft.com/office/drawing/2014/main" xmlns="" val="20001"/>
                    </a:ext>
                  </a:extLst>
                </a:gridCol>
              </a:tblGrid>
              <a:tr h="285485">
                <a:tc>
                  <a:txBody>
                    <a:bodyPr/>
                    <a:lstStyle/>
                    <a:p>
                      <a:pPr algn="ctr"/>
                      <a:r>
                        <a:rPr lang="en-US" sz="1500" dirty="0"/>
                        <a:t>Adul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2">
                        <a:lumMod val="75000"/>
                      </a:schemeClr>
                    </a:solidFill>
                  </a:tcPr>
                </a:tc>
                <a:tc>
                  <a:txBody>
                    <a:bodyPr/>
                    <a:lstStyle/>
                    <a:p>
                      <a:pPr algn="ctr"/>
                      <a:r>
                        <a:rPr lang="en-US" sz="1500" dirty="0"/>
                        <a:t>Pediatric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xmlns="" val="10000"/>
                  </a:ext>
                </a:extLst>
              </a:tr>
              <a:tr h="28548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500" dirty="0"/>
                        <a:t>EFV 4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500" dirty="0"/>
                        <a:t>LPV/r Pellet </a:t>
                      </a:r>
                      <a:r>
                        <a:rPr lang="en-US" sz="1500" i="1" dirty="0"/>
                        <a:t>(uptak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285485">
                <a:tc>
                  <a:txBody>
                    <a:bodyPr/>
                    <a:lstStyle/>
                    <a:p>
                      <a:pPr algn="ctr"/>
                      <a:r>
                        <a:rPr lang="en-US" sz="1500" dirty="0"/>
                        <a:t>DRV/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500" dirty="0"/>
                        <a:t>DRV/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285485">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500" dirty="0"/>
                        <a:t>DT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500" dirty="0"/>
                        <a:t>DT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285485">
                <a:tc rowSpan="2">
                  <a:txBody>
                    <a:bodyPr/>
                    <a:lstStyle/>
                    <a:p>
                      <a:pPr algn="ctr"/>
                      <a:r>
                        <a:rPr lang="en-US" sz="1500" dirty="0"/>
                        <a:t>TA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500" kern="1200" dirty="0">
                          <a:effectLst/>
                        </a:rPr>
                        <a:t>ABC/3TC/EFV </a:t>
                      </a:r>
                      <a:r>
                        <a:rPr lang="en-US" sz="1500" i="1" dirty="0"/>
                        <a:t>(uptak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489403">
                <a:tc v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500" dirty="0"/>
                        <a:t>Pipeline</a:t>
                      </a:r>
                      <a:r>
                        <a:rPr lang="en-US" sz="1500" baseline="0" dirty="0"/>
                        <a:t> FDC </a:t>
                      </a:r>
                      <a:br>
                        <a:rPr lang="en-US" sz="1500" baseline="0" dirty="0"/>
                      </a:br>
                      <a:r>
                        <a:rPr lang="en-US" sz="1500" i="1" baseline="0" dirty="0"/>
                        <a:t>(TAF/XTC/DTG, TBD)</a:t>
                      </a:r>
                      <a:endParaRPr lang="en-US" sz="1500"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bl>
          </a:graphicData>
        </a:graphic>
      </p:graphicFrame>
      <p:sp>
        <p:nvSpPr>
          <p:cNvPr id="18" name="TextBox 17"/>
          <p:cNvSpPr txBox="1"/>
          <p:nvPr/>
        </p:nvSpPr>
        <p:spPr>
          <a:xfrm>
            <a:off x="4114800" y="4231530"/>
            <a:ext cx="5029200" cy="369332"/>
          </a:xfrm>
          <a:prstGeom prst="rect">
            <a:avLst/>
          </a:prstGeom>
          <a:noFill/>
        </p:spPr>
        <p:txBody>
          <a:bodyPr wrap="square" rtlCol="0">
            <a:spAutoFit/>
          </a:bodyPr>
          <a:lstStyle/>
          <a:p>
            <a:pPr algn="ctr" defTabSz="457200"/>
            <a:r>
              <a:rPr lang="en-US" sz="1800" b="1" dirty="0">
                <a:solidFill>
                  <a:prstClr val="black"/>
                </a:solidFill>
                <a:latin typeface="Calibri"/>
                <a:ea typeface="ＭＳ Ｐゴシック" pitchFamily="127" charset="-128"/>
              </a:rPr>
              <a:t>TARGET PRODUCTS</a:t>
            </a:r>
          </a:p>
        </p:txBody>
      </p:sp>
      <p:sp>
        <p:nvSpPr>
          <p:cNvPr id="3" name="TextBox 2"/>
          <p:cNvSpPr txBox="1"/>
          <p:nvPr/>
        </p:nvSpPr>
        <p:spPr>
          <a:xfrm>
            <a:off x="252387" y="6060222"/>
            <a:ext cx="3862414" cy="738664"/>
          </a:xfrm>
          <a:prstGeom prst="rect">
            <a:avLst/>
          </a:prstGeom>
          <a:noFill/>
        </p:spPr>
        <p:txBody>
          <a:bodyPr wrap="square" rtlCol="0">
            <a:spAutoFit/>
          </a:bodyPr>
          <a:lstStyle/>
          <a:p>
            <a:pPr defTabSz="457200"/>
            <a:r>
              <a:rPr lang="en-US" sz="1400" b="1" dirty="0">
                <a:solidFill>
                  <a:prstClr val="black"/>
                </a:solidFill>
                <a:latin typeface="Calibri"/>
                <a:ea typeface="ＭＳ Ｐゴシック" pitchFamily="127" charset="-128"/>
              </a:rPr>
              <a:t>Cambodia, Kenya, Malawi, Nigeria, South Africa, Uganda, Zimbabwe </a:t>
            </a:r>
          </a:p>
          <a:p>
            <a:pPr defTabSz="457200"/>
            <a:r>
              <a:rPr lang="en-US" sz="1400" dirty="0">
                <a:solidFill>
                  <a:prstClr val="black"/>
                </a:solidFill>
                <a:latin typeface="Calibri"/>
                <a:ea typeface="ＭＳ Ｐゴシック" pitchFamily="127" charset="-128"/>
              </a:rPr>
              <a:t>and a </a:t>
            </a:r>
            <a:r>
              <a:rPr lang="en-US" sz="1400" dirty="0" err="1">
                <a:solidFill>
                  <a:prstClr val="black"/>
                </a:solidFill>
                <a:latin typeface="Calibri"/>
                <a:ea typeface="ＭＳ Ｐゴシック" pitchFamily="127" charset="-128"/>
              </a:rPr>
              <a:t>peds</a:t>
            </a:r>
            <a:r>
              <a:rPr lang="en-US" sz="1400" dirty="0">
                <a:solidFill>
                  <a:prstClr val="black"/>
                </a:solidFill>
                <a:latin typeface="Calibri"/>
                <a:ea typeface="ＭＳ Ｐゴシック" pitchFamily="127" charset="-128"/>
              </a:rPr>
              <a:t> focus in </a:t>
            </a:r>
            <a:r>
              <a:rPr lang="en-US" sz="1400" b="1" dirty="0">
                <a:solidFill>
                  <a:prstClr val="black"/>
                </a:solidFill>
                <a:latin typeface="Calibri"/>
                <a:ea typeface="ＭＳ Ｐゴシック" pitchFamily="127" charset="-128"/>
              </a:rPr>
              <a:t>Francophone West Africa </a:t>
            </a:r>
          </a:p>
        </p:txBody>
      </p:sp>
      <p:sp>
        <p:nvSpPr>
          <p:cNvPr id="4" name="TextBox 3"/>
          <p:cNvSpPr txBox="1"/>
          <p:nvPr/>
        </p:nvSpPr>
        <p:spPr>
          <a:xfrm>
            <a:off x="337764" y="2721114"/>
            <a:ext cx="3307643" cy="707886"/>
          </a:xfrm>
          <a:prstGeom prst="rect">
            <a:avLst/>
          </a:prstGeom>
          <a:noFill/>
        </p:spPr>
        <p:txBody>
          <a:bodyPr wrap="square" rtlCol="0">
            <a:spAutoFit/>
          </a:bodyPr>
          <a:lstStyle/>
          <a:p>
            <a:pPr algn="ctr" defTabSz="457200"/>
            <a:r>
              <a:rPr lang="en-US" sz="2000" b="1" dirty="0">
                <a:solidFill>
                  <a:prstClr val="white"/>
                </a:solidFill>
                <a:latin typeface="Calibri"/>
                <a:ea typeface="ＭＳ Ｐゴシック" pitchFamily="127" charset="-128"/>
              </a:rPr>
              <a:t>and improved </a:t>
            </a:r>
            <a:r>
              <a:rPr lang="en-US" sz="2000" b="1" dirty="0" smtClean="0">
                <a:solidFill>
                  <a:prstClr val="white"/>
                </a:solidFill>
                <a:latin typeface="Calibri"/>
                <a:ea typeface="ＭＳ Ｐゴシック" pitchFamily="127" charset="-128"/>
              </a:rPr>
              <a:t>clinical </a:t>
            </a:r>
            <a:r>
              <a:rPr lang="en-US" sz="2000" b="1" dirty="0">
                <a:solidFill>
                  <a:prstClr val="white"/>
                </a:solidFill>
                <a:latin typeface="Calibri"/>
                <a:ea typeface="ＭＳ Ｐゴシック" pitchFamily="127" charset="-128"/>
              </a:rPr>
              <a:t>outcomes for patients</a:t>
            </a:r>
          </a:p>
        </p:txBody>
      </p:sp>
      <p:sp>
        <p:nvSpPr>
          <p:cNvPr id="19" name="TextBox 18"/>
          <p:cNvSpPr txBox="1"/>
          <p:nvPr/>
        </p:nvSpPr>
        <p:spPr>
          <a:xfrm>
            <a:off x="457200" y="1302505"/>
            <a:ext cx="2985197" cy="477054"/>
          </a:xfrm>
          <a:prstGeom prst="rect">
            <a:avLst/>
          </a:prstGeom>
          <a:noFill/>
        </p:spPr>
        <p:txBody>
          <a:bodyPr wrap="square" rtlCol="0">
            <a:spAutoFit/>
          </a:bodyPr>
          <a:lstStyle/>
          <a:p>
            <a:pPr algn="ctr" defTabSz="457200"/>
            <a:r>
              <a:rPr lang="en-US" sz="2500" b="1" dirty="0">
                <a:solidFill>
                  <a:prstClr val="white"/>
                </a:solidFill>
                <a:latin typeface="Calibri"/>
                <a:ea typeface="ＭＳ Ｐゴシック" pitchFamily="127" charset="-128"/>
              </a:rPr>
              <a:t>IMPACT: </a:t>
            </a:r>
          </a:p>
        </p:txBody>
      </p:sp>
      <p:sp>
        <p:nvSpPr>
          <p:cNvPr id="5" name="Rectangle 4"/>
          <p:cNvSpPr/>
          <p:nvPr/>
        </p:nvSpPr>
        <p:spPr>
          <a:xfrm>
            <a:off x="4267200" y="3075057"/>
            <a:ext cx="4683826" cy="1066788"/>
          </a:xfrm>
          <a:prstGeom prst="rect">
            <a:avLst/>
          </a:prstGeom>
          <a:noFill/>
          <a:ln w="19050">
            <a:solidFill>
              <a:srgbClr val="FF0000"/>
            </a:solidFill>
            <a:prstDash val="lg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3748159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A coordinated approach with global and in-country partners will be critical to the success of this project</a:t>
            </a:r>
          </a:p>
        </p:txBody>
      </p:sp>
      <p:sp>
        <p:nvSpPr>
          <p:cNvPr id="7" name="Freeform 6"/>
          <p:cNvSpPr/>
          <p:nvPr/>
        </p:nvSpPr>
        <p:spPr>
          <a:xfrm>
            <a:off x="231144" y="1714410"/>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white"/>
                </a:solidFill>
              </a:rPr>
              <a:t>WHO</a:t>
            </a:r>
          </a:p>
        </p:txBody>
      </p:sp>
      <p:sp>
        <p:nvSpPr>
          <p:cNvPr id="8" name="Freeform 7"/>
          <p:cNvSpPr/>
          <p:nvPr/>
        </p:nvSpPr>
        <p:spPr>
          <a:xfrm>
            <a:off x="2452047" y="1714410"/>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bg1">
              <a:lumMod val="50000"/>
            </a:schemeClr>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white"/>
                </a:solidFill>
              </a:rPr>
              <a:t>Global Fund</a:t>
            </a:r>
          </a:p>
        </p:txBody>
      </p:sp>
      <p:sp>
        <p:nvSpPr>
          <p:cNvPr id="9" name="Freeform 8"/>
          <p:cNvSpPr/>
          <p:nvPr/>
        </p:nvSpPr>
        <p:spPr>
          <a:xfrm>
            <a:off x="4672950" y="1714410"/>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white"/>
                </a:solidFill>
              </a:rPr>
              <a:t>PEPFAR-OGAC, USAID/PSM</a:t>
            </a:r>
          </a:p>
        </p:txBody>
      </p:sp>
      <p:sp>
        <p:nvSpPr>
          <p:cNvPr id="10" name="Freeform 9"/>
          <p:cNvSpPr/>
          <p:nvPr/>
        </p:nvSpPr>
        <p:spPr>
          <a:xfrm>
            <a:off x="6893852" y="1714410"/>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rgbClr val="FFFF99"/>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black"/>
                </a:solidFill>
              </a:rPr>
              <a:t>ARV Procurement Working Group (APWG)</a:t>
            </a:r>
          </a:p>
        </p:txBody>
      </p:sp>
      <p:sp>
        <p:nvSpPr>
          <p:cNvPr id="11" name="Freeform 10"/>
          <p:cNvSpPr/>
          <p:nvPr/>
        </p:nvSpPr>
        <p:spPr>
          <a:xfrm>
            <a:off x="231144" y="3127712"/>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black"/>
                </a:solidFill>
              </a:rPr>
              <a:t>Ministries of Health</a:t>
            </a:r>
          </a:p>
        </p:txBody>
      </p:sp>
      <p:sp>
        <p:nvSpPr>
          <p:cNvPr id="12" name="Freeform 11"/>
          <p:cNvSpPr/>
          <p:nvPr/>
        </p:nvSpPr>
        <p:spPr>
          <a:xfrm>
            <a:off x="2452047" y="3127712"/>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smtClean="0">
                <a:solidFill>
                  <a:prstClr val="white"/>
                </a:solidFill>
              </a:rPr>
              <a:t>Community</a:t>
            </a:r>
            <a:endParaRPr lang="en-US" sz="1600" b="1" dirty="0">
              <a:solidFill>
                <a:prstClr val="white"/>
              </a:solidFill>
            </a:endParaRPr>
          </a:p>
        </p:txBody>
      </p:sp>
      <p:sp>
        <p:nvSpPr>
          <p:cNvPr id="13" name="Freeform 12"/>
          <p:cNvSpPr/>
          <p:nvPr/>
        </p:nvSpPr>
        <p:spPr>
          <a:xfrm>
            <a:off x="4672950" y="3127712"/>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bg1">
              <a:lumMod val="50000"/>
            </a:schemeClr>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a:solidFill>
                  <a:prstClr val="white"/>
                </a:solidFill>
              </a:rPr>
              <a:t>Regulatory Agencies</a:t>
            </a:r>
            <a:endParaRPr lang="en-US" sz="1600" b="1" dirty="0">
              <a:solidFill>
                <a:prstClr val="white"/>
              </a:solidFill>
            </a:endParaRPr>
          </a:p>
        </p:txBody>
      </p:sp>
      <p:sp>
        <p:nvSpPr>
          <p:cNvPr id="14" name="Freeform 13"/>
          <p:cNvSpPr/>
          <p:nvPr/>
        </p:nvSpPr>
        <p:spPr>
          <a:xfrm>
            <a:off x="6893852" y="3127712"/>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white"/>
                </a:solidFill>
              </a:rPr>
              <a:t>Innovator and Generic Suppliers</a:t>
            </a:r>
          </a:p>
        </p:txBody>
      </p:sp>
      <p:sp>
        <p:nvSpPr>
          <p:cNvPr id="15" name="Freeform 14"/>
          <p:cNvSpPr/>
          <p:nvPr/>
        </p:nvSpPr>
        <p:spPr>
          <a:xfrm>
            <a:off x="231144" y="4541013"/>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rgbClr val="FFFF99"/>
          </a:solid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black"/>
                </a:solidFill>
              </a:rPr>
              <a:t>MPP</a:t>
            </a:r>
          </a:p>
        </p:txBody>
      </p:sp>
      <p:sp>
        <p:nvSpPr>
          <p:cNvPr id="16" name="Freeform 15"/>
          <p:cNvSpPr/>
          <p:nvPr/>
        </p:nvSpPr>
        <p:spPr>
          <a:xfrm>
            <a:off x="2452047" y="4541013"/>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err="1">
                <a:solidFill>
                  <a:prstClr val="black"/>
                </a:solidFill>
              </a:rPr>
              <a:t>DNDi</a:t>
            </a:r>
            <a:endParaRPr lang="en-US" sz="1600" b="1" dirty="0">
              <a:solidFill>
                <a:prstClr val="black"/>
              </a:solidFill>
            </a:endParaRPr>
          </a:p>
        </p:txBody>
      </p:sp>
      <p:sp>
        <p:nvSpPr>
          <p:cNvPr id="17" name="Freeform 16"/>
          <p:cNvSpPr/>
          <p:nvPr/>
        </p:nvSpPr>
        <p:spPr>
          <a:xfrm>
            <a:off x="4672950" y="4541013"/>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white"/>
                </a:solidFill>
              </a:rPr>
              <a:t>Project OPTIMIZE and all its implementing partners – including ICAP and Wits</a:t>
            </a:r>
          </a:p>
        </p:txBody>
      </p:sp>
      <p:sp>
        <p:nvSpPr>
          <p:cNvPr id="18" name="Freeform 17"/>
          <p:cNvSpPr/>
          <p:nvPr/>
        </p:nvSpPr>
        <p:spPr>
          <a:xfrm>
            <a:off x="6893852" y="4541013"/>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bg1">
              <a:lumMod val="50000"/>
            </a:schemeClr>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a:solidFill>
                  <a:prstClr val="white"/>
                </a:solidFill>
              </a:rPr>
              <a:t>In-country implementing partners</a:t>
            </a:r>
            <a:endParaRPr lang="en-US" sz="1600" b="1" dirty="0">
              <a:solidFill>
                <a:prstClr val="white"/>
              </a:solidFill>
            </a:endParaRPr>
          </a:p>
        </p:txBody>
      </p:sp>
      <p:sp>
        <p:nvSpPr>
          <p:cNvPr id="27" name="Freeform 26"/>
          <p:cNvSpPr/>
          <p:nvPr/>
        </p:nvSpPr>
        <p:spPr>
          <a:xfrm>
            <a:off x="228600" y="3127712"/>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black"/>
                </a:solidFill>
              </a:rPr>
              <a:t>Ministries of Health</a:t>
            </a:r>
          </a:p>
        </p:txBody>
      </p:sp>
      <p:sp>
        <p:nvSpPr>
          <p:cNvPr id="28" name="Freeform 27"/>
          <p:cNvSpPr/>
          <p:nvPr/>
        </p:nvSpPr>
        <p:spPr>
          <a:xfrm>
            <a:off x="6893852" y="3127711"/>
            <a:ext cx="2019002" cy="1211401"/>
          </a:xfrm>
          <a:custGeom>
            <a:avLst/>
            <a:gdLst>
              <a:gd name="connsiteX0" fmla="*/ 0 w 2019002"/>
              <a:gd name="connsiteY0" fmla="*/ 0 h 1211401"/>
              <a:gd name="connsiteX1" fmla="*/ 2019002 w 2019002"/>
              <a:gd name="connsiteY1" fmla="*/ 0 h 1211401"/>
              <a:gd name="connsiteX2" fmla="*/ 2019002 w 2019002"/>
              <a:gd name="connsiteY2" fmla="*/ 1211401 h 1211401"/>
              <a:gd name="connsiteX3" fmla="*/ 0 w 2019002"/>
              <a:gd name="connsiteY3" fmla="*/ 1211401 h 1211401"/>
              <a:gd name="connsiteX4" fmla="*/ 0 w 2019002"/>
              <a:gd name="connsiteY4" fmla="*/ 0 h 12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002" h="1211401">
                <a:moveTo>
                  <a:pt x="0" y="0"/>
                </a:moveTo>
                <a:lnTo>
                  <a:pt x="2019002" y="0"/>
                </a:lnTo>
                <a:lnTo>
                  <a:pt x="2019002" y="1211401"/>
                </a:lnTo>
                <a:lnTo>
                  <a:pt x="0" y="1211401"/>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algn="ctr" defTabSz="711200">
              <a:lnSpc>
                <a:spcPct val="90000"/>
              </a:lnSpc>
              <a:spcAft>
                <a:spcPct val="35000"/>
              </a:spcAft>
            </a:pPr>
            <a:r>
              <a:rPr lang="en-US" sz="1600" b="1" dirty="0">
                <a:solidFill>
                  <a:prstClr val="white"/>
                </a:solidFill>
              </a:rPr>
              <a:t>Innovator and Generic Suppliers</a:t>
            </a:r>
          </a:p>
        </p:txBody>
      </p:sp>
      <p:sp>
        <p:nvSpPr>
          <p:cNvPr id="19" name="Rectangle 18"/>
          <p:cNvSpPr/>
          <p:nvPr/>
        </p:nvSpPr>
        <p:spPr>
          <a:xfrm>
            <a:off x="2348552" y="2986585"/>
            <a:ext cx="2223448" cy="1433015"/>
          </a:xfrm>
          <a:prstGeom prst="rect">
            <a:avLst/>
          </a:prstGeom>
          <a:noFill/>
          <a:ln w="34925">
            <a:solidFill>
              <a:schemeClr val="accent5"/>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000">
              <a:solidFill>
                <a:prstClr val="white"/>
              </a:solidFill>
            </a:endParaRPr>
          </a:p>
        </p:txBody>
      </p:sp>
    </p:spTree>
    <p:extLst>
      <p:ext uri="{BB962C8B-B14F-4D97-AF65-F5344CB8AC3E}">
        <p14:creationId xmlns:p14="http://schemas.microsoft.com/office/powerpoint/2010/main" val="8982318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79366"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6" name="Rectangle 2"/>
          <p:cNvSpPr>
            <a:spLocks noGrp="1" noChangeArrowheads="1"/>
          </p:cNvSpPr>
          <p:nvPr>
            <p:ph type="title"/>
            <p:custDataLst>
              <p:tags r:id="rId3"/>
            </p:custDataLst>
          </p:nvPr>
        </p:nvSpPr>
        <p:spPr bwMode="gray">
          <a:xfrm>
            <a:off x="0" y="0"/>
            <a:ext cx="9144000" cy="914400"/>
          </a:xfrm>
          <a:solidFill>
            <a:srgbClr val="003366"/>
          </a:solidFill>
        </p:spPr>
        <p:txBody>
          <a:bodyPr/>
          <a:lstStyle/>
          <a:p>
            <a:pPr marL="171450" algn="l"/>
            <a:r>
              <a:rPr lang="en-US" sz="2400" i="1" dirty="0" smtClean="0">
                <a:solidFill>
                  <a:schemeClr val="bg1"/>
                </a:solidFill>
                <a:latin typeface="Calibri" panose="020F0502020204030204" pitchFamily="34" charset="0"/>
              </a:rPr>
              <a:t>Question</a:t>
            </a:r>
            <a:r>
              <a:rPr lang="en-US" sz="2400" dirty="0" smtClean="0">
                <a:solidFill>
                  <a:schemeClr val="bg1"/>
                </a:solidFill>
                <a:latin typeface="Calibri" panose="020F0502020204030204" pitchFamily="34" charset="0"/>
              </a:rPr>
              <a:t>: Why is Community Engagement so Important to Optimal Treatment Access?</a:t>
            </a:r>
            <a:endParaRPr lang="en-US" sz="24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12942815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80390"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5" name="Slide Number Placeholder 3"/>
          <p:cNvSpPr>
            <a:spLocks noGrp="1"/>
          </p:cNvSpPr>
          <p:nvPr>
            <p:ph type="sldNum" sz="quarter" idx="11"/>
            <p:custDataLst>
              <p:tags r:id="rId3"/>
            </p:custDataLst>
          </p:nvPr>
        </p:nvSpPr>
        <p:spPr>
          <a:noFill/>
        </p:spPr>
        <p:txBody>
          <a:bodyPr/>
          <a:lstStyle/>
          <a:p>
            <a:fld id="{492152D1-46F3-4138-844B-62DA901DB5FF}" type="slidenum">
              <a:rPr lang="en-US" sz="1200" smtClean="0">
                <a:solidFill>
                  <a:srgbClr val="000000"/>
                </a:solidFill>
              </a:rPr>
              <a:pPr/>
              <a:t>15</a:t>
            </a:fld>
            <a:endParaRPr lang="en-US" sz="1200" dirty="0">
              <a:solidFill>
                <a:srgbClr val="000000"/>
              </a:solidFill>
            </a:endParaRPr>
          </a:p>
        </p:txBody>
      </p:sp>
      <p:sp>
        <p:nvSpPr>
          <p:cNvPr id="31746" name="Rectangle 2"/>
          <p:cNvSpPr>
            <a:spLocks noGrp="1" noChangeArrowheads="1"/>
          </p:cNvSpPr>
          <p:nvPr>
            <p:ph type="title"/>
            <p:custDataLst>
              <p:tags r:id="rId4"/>
            </p:custDataLst>
          </p:nvPr>
        </p:nvSpPr>
        <p:spPr bwMode="gray">
          <a:xfrm>
            <a:off x="0" y="0"/>
            <a:ext cx="9144000" cy="914400"/>
          </a:xfrm>
          <a:solidFill>
            <a:srgbClr val="003366"/>
          </a:solidFill>
        </p:spPr>
        <p:txBody>
          <a:bodyPr/>
          <a:lstStyle/>
          <a:p>
            <a:pPr marL="171450" algn="l"/>
            <a:r>
              <a:rPr lang="en-US" sz="2400" i="1" dirty="0" smtClean="0">
                <a:solidFill>
                  <a:schemeClr val="bg1"/>
                </a:solidFill>
                <a:latin typeface="Calibri" panose="020F0502020204030204" pitchFamily="34" charset="0"/>
              </a:rPr>
              <a:t>Answers</a:t>
            </a:r>
            <a:r>
              <a:rPr lang="en-US" sz="2400" dirty="0" smtClean="0">
                <a:solidFill>
                  <a:schemeClr val="bg1"/>
                </a:solidFill>
                <a:latin typeface="Calibri" panose="020F0502020204030204" pitchFamily="34" charset="0"/>
              </a:rPr>
              <a:t>: Why is Community Engagement so Important to Optimal Treatment Access?</a:t>
            </a:r>
            <a:endParaRPr lang="en-US" sz="2400" dirty="0">
              <a:solidFill>
                <a:schemeClr val="bg1"/>
              </a:solidFill>
              <a:latin typeface="Calibri" panose="020F0502020204030204" pitchFamily="34" charset="0"/>
            </a:endParaRPr>
          </a:p>
        </p:txBody>
      </p:sp>
      <p:graphicFrame>
        <p:nvGraphicFramePr>
          <p:cNvPr id="3" name="Diagram 2"/>
          <p:cNvGraphicFramePr/>
          <p:nvPr>
            <p:extLst>
              <p:ext uri="{D42A27DB-BD31-4B8C-83A1-F6EECF244321}">
                <p14:modId xmlns:p14="http://schemas.microsoft.com/office/powerpoint/2010/main" val="619455719"/>
              </p:ext>
            </p:extLst>
          </p:nvPr>
        </p:nvGraphicFramePr>
        <p:xfrm>
          <a:off x="0" y="1066800"/>
          <a:ext cx="9144000" cy="55626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1548996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091" y="0"/>
            <a:ext cx="8821009" cy="914400"/>
          </a:xfrm>
        </p:spPr>
        <p:txBody>
          <a:bodyPr>
            <a:normAutofit/>
          </a:bodyPr>
          <a:lstStyle/>
          <a:p>
            <a:r>
              <a:rPr lang="en-US" sz="2400" dirty="0"/>
              <a:t>CHAI’s </a:t>
            </a:r>
            <a:r>
              <a:rPr lang="en-US" sz="2400" dirty="0" smtClean="0"/>
              <a:t>work in countries consists </a:t>
            </a:r>
            <a:r>
              <a:rPr lang="en-US" sz="2400" dirty="0"/>
              <a:t>of a holistic set of interventions </a:t>
            </a:r>
            <a:r>
              <a:rPr lang="en-US" sz="2400" dirty="0" smtClean="0"/>
              <a:t>to accelerate </a:t>
            </a:r>
            <a:r>
              <a:rPr lang="en-US" sz="2400" dirty="0"/>
              <a:t>introduction of optimal new products for </a:t>
            </a:r>
            <a:r>
              <a:rPr lang="en-US" sz="2400" dirty="0" smtClean="0"/>
              <a:t>PLHIV</a:t>
            </a:r>
            <a:endParaRPr lang="en-US" sz="2400" dirty="0"/>
          </a:p>
        </p:txBody>
      </p:sp>
      <p:sp>
        <p:nvSpPr>
          <p:cNvPr id="28" name="Rectangle 27"/>
          <p:cNvSpPr/>
          <p:nvPr/>
        </p:nvSpPr>
        <p:spPr>
          <a:xfrm>
            <a:off x="53546" y="3083347"/>
            <a:ext cx="9036909" cy="1107996"/>
          </a:xfrm>
          <a:prstGeom prst="rect">
            <a:avLst/>
          </a:prstGeom>
          <a:solidFill>
            <a:srgbClr val="FFFF99"/>
          </a:solidFill>
          <a:ln w="28575">
            <a:solidFill>
              <a:schemeClr val="bg1">
                <a:lumMod val="50000"/>
              </a:schemeClr>
            </a:solidFill>
            <a:prstDash val="solid"/>
          </a:ln>
        </p:spPr>
        <p:txBody>
          <a:bodyPr wrap="square" anchor="ctr">
            <a:spAutoFit/>
          </a:bodyPr>
          <a:lstStyle/>
          <a:p>
            <a:pPr defTabSz="457200"/>
            <a:r>
              <a:rPr lang="en-US" sz="1800" b="1" dirty="0">
                <a:solidFill>
                  <a:prstClr val="black"/>
                </a:solidFill>
                <a:latin typeface="Calibri"/>
                <a:ea typeface="ＭＳ Ｐゴシック" pitchFamily="127" charset="-128"/>
              </a:rPr>
              <a:t>APPROACH: </a:t>
            </a:r>
            <a:r>
              <a:rPr lang="en-US" sz="1600" b="1" dirty="0">
                <a:solidFill>
                  <a:prstClr val="black"/>
                </a:solidFill>
                <a:latin typeface="Calibri"/>
                <a:ea typeface="ＭＳ Ｐゴシック" pitchFamily="127" charset="-128"/>
              </a:rPr>
              <a:t>CHAI provides end-to-end support </a:t>
            </a:r>
            <a:r>
              <a:rPr lang="en-US" sz="1600" b="1" dirty="0" smtClean="0">
                <a:solidFill>
                  <a:prstClr val="black"/>
                </a:solidFill>
                <a:latin typeface="Calibri"/>
                <a:ea typeface="ＭＳ Ｐゴシック" pitchFamily="127" charset="-128"/>
              </a:rPr>
              <a:t>in countries to </a:t>
            </a:r>
            <a:r>
              <a:rPr lang="en-US" sz="1600" b="1" dirty="0">
                <a:solidFill>
                  <a:prstClr val="black"/>
                </a:solidFill>
                <a:latin typeface="Calibri"/>
                <a:ea typeface="ＭＳ Ｐゴシック" pitchFamily="127" charset="-128"/>
              </a:rPr>
              <a:t>facilitate new product introduction.</a:t>
            </a:r>
          </a:p>
          <a:p>
            <a:pPr defTabSz="457200"/>
            <a:r>
              <a:rPr lang="en-US" sz="1600" b="1" dirty="0">
                <a:solidFill>
                  <a:prstClr val="black"/>
                </a:solidFill>
                <a:latin typeface="Calibri"/>
                <a:ea typeface="ＭＳ Ｐゴシック" pitchFamily="127" charset="-128"/>
              </a:rPr>
              <a:t> </a:t>
            </a:r>
          </a:p>
          <a:p>
            <a:pPr defTabSz="457200"/>
            <a:endParaRPr lang="en-US" sz="1600" dirty="0">
              <a:solidFill>
                <a:prstClr val="black"/>
              </a:solidFill>
              <a:latin typeface="Calibri"/>
              <a:ea typeface="ＭＳ Ｐゴシック" pitchFamily="127" charset="-128"/>
            </a:endParaRPr>
          </a:p>
          <a:p>
            <a:pPr defTabSz="457200"/>
            <a:endParaRPr lang="en-US" sz="1600" dirty="0">
              <a:solidFill>
                <a:prstClr val="black"/>
              </a:solidFill>
              <a:latin typeface="Calibri"/>
              <a:ea typeface="ＭＳ Ｐゴシック" pitchFamily="127" charset="-128"/>
            </a:endParaRPr>
          </a:p>
        </p:txBody>
      </p:sp>
      <p:sp>
        <p:nvSpPr>
          <p:cNvPr id="20" name="Rectangle 19"/>
          <p:cNvSpPr/>
          <p:nvPr/>
        </p:nvSpPr>
        <p:spPr bwMode="auto">
          <a:xfrm>
            <a:off x="3260236" y="1163777"/>
            <a:ext cx="2382277" cy="1371600"/>
          </a:xfrm>
          <a:prstGeom prst="rect">
            <a:avLst/>
          </a:prstGeom>
          <a:solidFill>
            <a:schemeClr val="accent5">
              <a:lumMod val="60000"/>
              <a:lumOff val="40000"/>
            </a:schemeClr>
          </a:solidFill>
          <a:ln w="25400" cap="flat" cmpd="sng" algn="ctr">
            <a:noFill/>
            <a:prstDash val="dash"/>
          </a:ln>
          <a:effectLst/>
        </p:spPr>
        <p:txBody>
          <a:bodyPr lIns="45720" rIns="0" rtlCol="0" anchor="ctr"/>
          <a:lstStyle>
            <a:defPPr>
              <a:defRPr lang="pt-PT"/>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defRPr/>
            </a:pPr>
            <a:r>
              <a:rPr lang="en-US" sz="1400" b="1" dirty="0">
                <a:solidFill>
                  <a:prstClr val="black"/>
                </a:solidFill>
                <a:cs typeface="Arial"/>
              </a:rPr>
              <a:t>COMMUNITY ENGAGEMENT</a:t>
            </a:r>
            <a:endParaRPr lang="en-US" sz="1400" b="1" u="sng" dirty="0">
              <a:solidFill>
                <a:prstClr val="black"/>
              </a:solidFill>
              <a:cs typeface="Arial"/>
            </a:endParaRPr>
          </a:p>
          <a:p>
            <a:pPr algn="ctr">
              <a:defRPr/>
            </a:pPr>
            <a:r>
              <a:rPr lang="en-US" altLang="en-US" sz="1400" i="1" dirty="0">
                <a:solidFill>
                  <a:srgbClr val="000000"/>
                </a:solidFill>
                <a:cs typeface="Arial"/>
              </a:rPr>
              <a:t>E.g.</a:t>
            </a:r>
            <a:r>
              <a:rPr lang="en-US" altLang="en-US" sz="1400" dirty="0">
                <a:solidFill>
                  <a:srgbClr val="000000"/>
                </a:solidFill>
                <a:cs typeface="Arial"/>
              </a:rPr>
              <a:t>: Establishment of a Community Advisory Board and collaboration on demand generation activities</a:t>
            </a:r>
          </a:p>
        </p:txBody>
      </p:sp>
      <p:sp>
        <p:nvSpPr>
          <p:cNvPr id="24" name="Rectangle 23"/>
          <p:cNvSpPr/>
          <p:nvPr/>
        </p:nvSpPr>
        <p:spPr bwMode="auto">
          <a:xfrm>
            <a:off x="7042068" y="4777234"/>
            <a:ext cx="1950356" cy="1828800"/>
          </a:xfrm>
          <a:prstGeom prst="rect">
            <a:avLst/>
          </a:prstGeom>
          <a:solidFill>
            <a:schemeClr val="bg1">
              <a:lumMod val="85000"/>
            </a:schemeClr>
          </a:solidFill>
          <a:ln w="25400" cap="flat" cmpd="sng" algn="ctr">
            <a:noFill/>
            <a:prstDash val="dash"/>
          </a:ln>
          <a:effectLst/>
        </p:spPr>
        <p:txBody>
          <a:bodyPr lIns="45720" rIns="0" rtlCol="0" anchor="ctr"/>
          <a:lstStyle>
            <a:defPPr>
              <a:defRPr lang="pt-PT"/>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defRPr/>
            </a:pPr>
            <a:r>
              <a:rPr lang="en-US" sz="1600" b="1" dirty="0">
                <a:solidFill>
                  <a:prstClr val="black"/>
                </a:solidFill>
                <a:cs typeface="Arial"/>
              </a:rPr>
              <a:t>PRODUCT ROLLOUT MONITORING </a:t>
            </a:r>
            <a:endParaRPr lang="en-US" sz="1600" b="1" u="sng" dirty="0">
              <a:solidFill>
                <a:prstClr val="black"/>
              </a:solidFill>
              <a:cs typeface="Arial"/>
            </a:endParaRPr>
          </a:p>
          <a:p>
            <a:pPr algn="ctr">
              <a:defRPr/>
            </a:pPr>
            <a:r>
              <a:rPr lang="en-US" sz="1600" i="1" dirty="0">
                <a:solidFill>
                  <a:prstClr val="black"/>
                </a:solidFill>
                <a:cs typeface="Arial"/>
              </a:rPr>
              <a:t>E.g</a:t>
            </a:r>
            <a:r>
              <a:rPr lang="en-US" sz="1600" dirty="0">
                <a:solidFill>
                  <a:prstClr val="black"/>
                </a:solidFill>
                <a:cs typeface="Arial"/>
              </a:rPr>
              <a:t>.: ABC/3TC 120/60</a:t>
            </a:r>
            <a:r>
              <a:rPr lang="en-US" altLang="en-US" sz="1600" dirty="0">
                <a:solidFill>
                  <a:srgbClr val="000000"/>
                </a:solidFill>
                <a:cs typeface="Arial"/>
              </a:rPr>
              <a:t>, product transition, scale-up, </a:t>
            </a:r>
            <a:r>
              <a:rPr lang="en-US" altLang="en-US" sz="1600" dirty="0">
                <a:solidFill>
                  <a:prstClr val="black"/>
                </a:solidFill>
                <a:cs typeface="Arial"/>
              </a:rPr>
              <a:t>and supply monitoring through APWG  </a:t>
            </a:r>
            <a:endParaRPr lang="en-US" sz="1300" dirty="0">
              <a:solidFill>
                <a:prstClr val="black"/>
              </a:solidFill>
              <a:cs typeface="Arial"/>
            </a:endParaRPr>
          </a:p>
        </p:txBody>
      </p:sp>
      <p:sp>
        <p:nvSpPr>
          <p:cNvPr id="26" name="Rectangle 25"/>
          <p:cNvSpPr/>
          <p:nvPr/>
        </p:nvSpPr>
        <p:spPr bwMode="auto">
          <a:xfrm>
            <a:off x="2459668" y="4777234"/>
            <a:ext cx="2111527" cy="1828800"/>
          </a:xfrm>
          <a:prstGeom prst="rect">
            <a:avLst/>
          </a:prstGeom>
          <a:solidFill>
            <a:schemeClr val="bg1">
              <a:lumMod val="85000"/>
            </a:schemeClr>
          </a:solidFill>
          <a:ln w="25400" cap="flat" cmpd="sng" algn="ctr">
            <a:noFill/>
            <a:prstDash val="dash"/>
          </a:ln>
          <a:effectLst/>
        </p:spPr>
        <p:txBody>
          <a:bodyPr lIns="45720" rIns="45720" rtlCol="0" anchor="ctr"/>
          <a:lstStyle>
            <a:defPPr>
              <a:defRPr lang="pt-PT"/>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defRPr/>
            </a:pPr>
            <a:r>
              <a:rPr lang="en-US" sz="1600" b="1" dirty="0">
                <a:solidFill>
                  <a:prstClr val="black"/>
                </a:solidFill>
                <a:cs typeface="Arial"/>
              </a:rPr>
              <a:t>TENDERING AND FORECASTING</a:t>
            </a:r>
            <a:endParaRPr lang="en-US" sz="1600" b="1" u="sng" dirty="0">
              <a:solidFill>
                <a:prstClr val="black"/>
              </a:solidFill>
              <a:cs typeface="Arial"/>
            </a:endParaRPr>
          </a:p>
          <a:p>
            <a:pPr algn="ctr">
              <a:defRPr/>
            </a:pPr>
            <a:r>
              <a:rPr lang="en-US" altLang="en-US" sz="1600" i="1" dirty="0">
                <a:solidFill>
                  <a:srgbClr val="000000"/>
                </a:solidFill>
                <a:cs typeface="Arial"/>
              </a:rPr>
              <a:t>E.g</a:t>
            </a:r>
            <a:r>
              <a:rPr lang="en-US" altLang="en-US" sz="1600" dirty="0">
                <a:solidFill>
                  <a:srgbClr val="000000"/>
                </a:solidFill>
                <a:cs typeface="Arial"/>
              </a:rPr>
              <a:t>.:  </a:t>
            </a:r>
            <a:r>
              <a:rPr lang="en-US" sz="1600" dirty="0">
                <a:solidFill>
                  <a:prstClr val="black"/>
                </a:solidFill>
                <a:cs typeface="Arial"/>
              </a:rPr>
              <a:t>RSA Tender support </a:t>
            </a:r>
          </a:p>
          <a:p>
            <a:pPr algn="ctr">
              <a:defRPr/>
            </a:pPr>
            <a:r>
              <a:rPr lang="en-US" altLang="en-US" sz="1600" dirty="0">
                <a:solidFill>
                  <a:srgbClr val="000000"/>
                </a:solidFill>
                <a:cs typeface="Arial"/>
              </a:rPr>
              <a:t>and development of database to monitor supplier performance</a:t>
            </a:r>
          </a:p>
        </p:txBody>
      </p:sp>
      <p:sp>
        <p:nvSpPr>
          <p:cNvPr id="19" name="Rectangle 18"/>
          <p:cNvSpPr/>
          <p:nvPr/>
        </p:nvSpPr>
        <p:spPr bwMode="auto">
          <a:xfrm>
            <a:off x="107090" y="4777234"/>
            <a:ext cx="2089845" cy="1828800"/>
          </a:xfrm>
          <a:prstGeom prst="rect">
            <a:avLst/>
          </a:prstGeom>
          <a:solidFill>
            <a:schemeClr val="bg1">
              <a:lumMod val="85000"/>
            </a:schemeClr>
          </a:solidFill>
          <a:ln w="25400" cap="flat" cmpd="sng" algn="ctr">
            <a:noFill/>
            <a:prstDash val="dash"/>
          </a:ln>
          <a:effectLst/>
        </p:spPr>
        <p:txBody>
          <a:bodyPr lIns="45720" rIns="45720" rtlCol="0" anchor="ctr"/>
          <a:lstStyle>
            <a:defPPr>
              <a:defRPr lang="pt-PT"/>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defRPr/>
            </a:pPr>
            <a:r>
              <a:rPr lang="en-US" sz="1600" b="1" dirty="0">
                <a:solidFill>
                  <a:prstClr val="black"/>
                </a:solidFill>
                <a:cs typeface="Arial"/>
              </a:rPr>
              <a:t>GUIDELINE ADOPTION </a:t>
            </a:r>
            <a:endParaRPr lang="en-US" altLang="en-US" sz="1600" b="1" u="sng" dirty="0">
              <a:solidFill>
                <a:srgbClr val="000000"/>
              </a:solidFill>
              <a:cs typeface="Arial"/>
            </a:endParaRPr>
          </a:p>
          <a:p>
            <a:pPr algn="ctr">
              <a:defRPr/>
            </a:pPr>
            <a:r>
              <a:rPr lang="en-US" altLang="en-US" sz="1600" i="1" dirty="0">
                <a:solidFill>
                  <a:srgbClr val="000000"/>
                </a:solidFill>
                <a:cs typeface="Arial"/>
              </a:rPr>
              <a:t>E.g</a:t>
            </a:r>
            <a:r>
              <a:rPr lang="en-US" altLang="en-US" sz="1600" dirty="0">
                <a:solidFill>
                  <a:srgbClr val="000000"/>
                </a:solidFill>
                <a:cs typeface="Arial"/>
              </a:rPr>
              <a:t>.: </a:t>
            </a:r>
            <a:r>
              <a:rPr lang="en-US" sz="1600" dirty="0">
                <a:solidFill>
                  <a:prstClr val="black"/>
                </a:solidFill>
              </a:rPr>
              <a:t>Developed WHO guideline costing tool and costing analysis in Nigeria, Uganda, Kenya, Cambodia, South Africa, Zimbabwe</a:t>
            </a:r>
            <a:endParaRPr lang="en-US" altLang="en-US" sz="1600" dirty="0">
              <a:solidFill>
                <a:prstClr val="black"/>
              </a:solidFill>
              <a:cs typeface="Arial"/>
            </a:endParaRPr>
          </a:p>
        </p:txBody>
      </p:sp>
      <p:sp>
        <p:nvSpPr>
          <p:cNvPr id="30" name="Rectangle 29"/>
          <p:cNvSpPr/>
          <p:nvPr/>
        </p:nvSpPr>
        <p:spPr bwMode="auto">
          <a:xfrm>
            <a:off x="225690" y="1163777"/>
            <a:ext cx="2551535" cy="1371600"/>
          </a:xfrm>
          <a:prstGeom prst="rect">
            <a:avLst/>
          </a:prstGeom>
          <a:solidFill>
            <a:schemeClr val="bg1">
              <a:lumMod val="85000"/>
            </a:schemeClr>
          </a:solidFill>
          <a:ln w="25400" cap="flat" cmpd="sng" algn="ctr">
            <a:noFill/>
            <a:prstDash val="dash"/>
          </a:ln>
          <a:effectLst/>
        </p:spPr>
        <p:txBody>
          <a:bodyPr lIns="45720" rIns="0" rtlCol="0" anchor="ctr"/>
          <a:lstStyle>
            <a:defPPr>
              <a:defRPr lang="pt-PT"/>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defRPr/>
            </a:pPr>
            <a:r>
              <a:rPr lang="en-US" sz="1600" b="1" dirty="0">
                <a:solidFill>
                  <a:prstClr val="black"/>
                </a:solidFill>
                <a:cs typeface="Arial"/>
              </a:rPr>
              <a:t>PRODUCT REGISTRATION </a:t>
            </a:r>
            <a:endParaRPr lang="en-US" sz="1600" b="1" u="sng" dirty="0">
              <a:solidFill>
                <a:prstClr val="black"/>
              </a:solidFill>
              <a:cs typeface="Arial"/>
            </a:endParaRPr>
          </a:p>
          <a:p>
            <a:pPr algn="ctr">
              <a:defRPr/>
            </a:pPr>
            <a:r>
              <a:rPr lang="en-US" sz="1600" i="1" dirty="0">
                <a:solidFill>
                  <a:prstClr val="black"/>
                </a:solidFill>
                <a:cs typeface="Arial"/>
              </a:rPr>
              <a:t>E.g., </a:t>
            </a:r>
            <a:r>
              <a:rPr lang="en-US" sz="1600" dirty="0">
                <a:solidFill>
                  <a:prstClr val="black"/>
                </a:solidFill>
                <a:cs typeface="Arial"/>
              </a:rPr>
              <a:t>Support</a:t>
            </a:r>
            <a:r>
              <a:rPr lang="en-US" sz="1600" b="1" i="1" dirty="0">
                <a:solidFill>
                  <a:prstClr val="black"/>
                </a:solidFill>
                <a:cs typeface="Arial"/>
              </a:rPr>
              <a:t> </a:t>
            </a:r>
            <a:r>
              <a:rPr lang="en-US" sz="1600" dirty="0">
                <a:solidFill>
                  <a:prstClr val="black"/>
                </a:solidFill>
                <a:cs typeface="Arial"/>
              </a:rPr>
              <a:t>for product waiver process to facilitate early access to DTG in Uganda and Nigeria</a:t>
            </a:r>
          </a:p>
        </p:txBody>
      </p:sp>
      <p:sp>
        <p:nvSpPr>
          <p:cNvPr id="33" name="Rectangle 32"/>
          <p:cNvSpPr/>
          <p:nvPr/>
        </p:nvSpPr>
        <p:spPr bwMode="auto">
          <a:xfrm>
            <a:off x="6125524" y="1163777"/>
            <a:ext cx="2689476" cy="1371600"/>
          </a:xfrm>
          <a:prstGeom prst="rect">
            <a:avLst/>
          </a:prstGeom>
          <a:solidFill>
            <a:schemeClr val="bg1">
              <a:lumMod val="85000"/>
            </a:schemeClr>
          </a:solidFill>
          <a:ln w="25400" cap="flat" cmpd="sng" algn="ctr">
            <a:noFill/>
            <a:prstDash val="dash"/>
          </a:ln>
          <a:effectLst/>
        </p:spPr>
        <p:txBody>
          <a:bodyPr lIns="45720" rIns="0" rtlCol="0" anchor="ctr"/>
          <a:lstStyle>
            <a:defPPr>
              <a:defRPr lang="pt-PT"/>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defRPr/>
            </a:pPr>
            <a:r>
              <a:rPr lang="en-US" sz="1600" b="1" dirty="0">
                <a:solidFill>
                  <a:prstClr val="black"/>
                </a:solidFill>
                <a:cs typeface="Arial"/>
              </a:rPr>
              <a:t>FACILITY-LEVEL PLANNING</a:t>
            </a:r>
            <a:endParaRPr lang="en-US" sz="1600" b="1" u="sng" dirty="0">
              <a:solidFill>
                <a:prstClr val="black"/>
              </a:solidFill>
              <a:cs typeface="Arial"/>
            </a:endParaRPr>
          </a:p>
          <a:p>
            <a:pPr algn="ctr">
              <a:defRPr/>
            </a:pPr>
            <a:r>
              <a:rPr lang="en-US" altLang="en-US" sz="1600" i="1" dirty="0">
                <a:solidFill>
                  <a:srgbClr val="000000"/>
                </a:solidFill>
                <a:cs typeface="Arial"/>
              </a:rPr>
              <a:t>E.g.</a:t>
            </a:r>
            <a:r>
              <a:rPr lang="en-US" altLang="en-US" sz="1600" dirty="0">
                <a:solidFill>
                  <a:srgbClr val="000000"/>
                </a:solidFill>
                <a:cs typeface="Arial"/>
              </a:rPr>
              <a:t>: In </a:t>
            </a:r>
            <a:r>
              <a:rPr lang="en-US" sz="1600" dirty="0">
                <a:solidFill>
                  <a:prstClr val="black"/>
                </a:solidFill>
                <a:cs typeface="Arial"/>
              </a:rPr>
              <a:t>Cameroon, supporting LPV/r pellet rollout, including  trainings and monitoring for facilities</a:t>
            </a:r>
          </a:p>
        </p:txBody>
      </p:sp>
      <p:sp>
        <p:nvSpPr>
          <p:cNvPr id="39" name="Rectangle 38"/>
          <p:cNvSpPr/>
          <p:nvPr/>
        </p:nvSpPr>
        <p:spPr bwMode="auto">
          <a:xfrm>
            <a:off x="4762005" y="4777234"/>
            <a:ext cx="2107511" cy="1828800"/>
          </a:xfrm>
          <a:prstGeom prst="rect">
            <a:avLst/>
          </a:prstGeom>
          <a:solidFill>
            <a:schemeClr val="bg1">
              <a:lumMod val="85000"/>
            </a:schemeClr>
          </a:solidFill>
          <a:ln w="25400" cap="flat" cmpd="sng" algn="ctr">
            <a:noFill/>
            <a:prstDash val="dash"/>
          </a:ln>
          <a:effectLst/>
        </p:spPr>
        <p:txBody>
          <a:bodyPr lIns="45720" rIns="0" rtlCol="0" anchor="ctr"/>
          <a:lstStyle>
            <a:defPPr>
              <a:defRPr lang="pt-PT"/>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defRPr/>
            </a:pPr>
            <a:r>
              <a:rPr lang="en-US" sz="1600" b="1" dirty="0">
                <a:solidFill>
                  <a:prstClr val="black"/>
                </a:solidFill>
                <a:cs typeface="Arial"/>
              </a:rPr>
              <a:t>PRODUCT TRANSITION PLANNING</a:t>
            </a:r>
            <a:endParaRPr lang="en-US" sz="1600" b="1" u="sng" dirty="0">
              <a:solidFill>
                <a:prstClr val="black"/>
              </a:solidFill>
              <a:cs typeface="Arial"/>
            </a:endParaRPr>
          </a:p>
          <a:p>
            <a:pPr algn="ctr">
              <a:defRPr/>
            </a:pPr>
            <a:r>
              <a:rPr lang="en-US" altLang="en-US" sz="1600" i="1" dirty="0">
                <a:solidFill>
                  <a:prstClr val="black"/>
                </a:solidFill>
                <a:cs typeface="Arial"/>
              </a:rPr>
              <a:t>E.g</a:t>
            </a:r>
            <a:r>
              <a:rPr lang="en-US" altLang="en-US" sz="1600" dirty="0">
                <a:solidFill>
                  <a:prstClr val="black"/>
                </a:solidFill>
                <a:cs typeface="Arial"/>
              </a:rPr>
              <a:t>.: Development and implementation of early adopter research for LPV/r pellets in </a:t>
            </a:r>
            <a:r>
              <a:rPr lang="en-US" sz="1600" dirty="0">
                <a:solidFill>
                  <a:prstClr val="black"/>
                </a:solidFill>
                <a:cs typeface="Arial"/>
              </a:rPr>
              <a:t>Zimbabwe</a:t>
            </a:r>
          </a:p>
        </p:txBody>
      </p:sp>
      <p:graphicFrame>
        <p:nvGraphicFramePr>
          <p:cNvPr id="38" name="Diagram 37"/>
          <p:cNvGraphicFramePr/>
          <p:nvPr>
            <p:extLst>
              <p:ext uri="{D42A27DB-BD31-4B8C-83A1-F6EECF244321}">
                <p14:modId xmlns:p14="http://schemas.microsoft.com/office/powerpoint/2010/main" val="1391521592"/>
              </p:ext>
            </p:extLst>
          </p:nvPr>
        </p:nvGraphicFramePr>
        <p:xfrm>
          <a:off x="199904" y="3299503"/>
          <a:ext cx="8885334" cy="10218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4" name="Straight Arrow Connector 3"/>
          <p:cNvCxnSpPr>
            <a:endCxn id="30" idx="2"/>
          </p:cNvCxnSpPr>
          <p:nvPr/>
        </p:nvCxnSpPr>
        <p:spPr>
          <a:xfrm flipH="1" flipV="1">
            <a:off x="1501458" y="2535377"/>
            <a:ext cx="115162" cy="54797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p:cNvCxnSpPr>
            <a:stCxn id="28" idx="0"/>
            <a:endCxn id="20" idx="2"/>
          </p:cNvCxnSpPr>
          <p:nvPr/>
        </p:nvCxnSpPr>
        <p:spPr>
          <a:xfrm flipH="1" flipV="1">
            <a:off x="4451375" y="2535377"/>
            <a:ext cx="120626" cy="54797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endCxn id="33" idx="2"/>
          </p:cNvCxnSpPr>
          <p:nvPr/>
        </p:nvCxnSpPr>
        <p:spPr>
          <a:xfrm flipV="1">
            <a:off x="6864644" y="2535377"/>
            <a:ext cx="605618" cy="547970"/>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a:endCxn id="19" idx="0"/>
          </p:cNvCxnSpPr>
          <p:nvPr/>
        </p:nvCxnSpPr>
        <p:spPr>
          <a:xfrm>
            <a:off x="676894" y="4191343"/>
            <a:ext cx="475119" cy="585891"/>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a:endCxn id="26" idx="0"/>
          </p:cNvCxnSpPr>
          <p:nvPr/>
        </p:nvCxnSpPr>
        <p:spPr>
          <a:xfrm>
            <a:off x="3240603" y="4191343"/>
            <a:ext cx="274829" cy="585891"/>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endCxn id="39" idx="0"/>
          </p:cNvCxnSpPr>
          <p:nvPr/>
        </p:nvCxnSpPr>
        <p:spPr>
          <a:xfrm>
            <a:off x="5815760" y="4191343"/>
            <a:ext cx="1" cy="585891"/>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endCxn id="24" idx="0"/>
          </p:cNvCxnSpPr>
          <p:nvPr/>
        </p:nvCxnSpPr>
        <p:spPr>
          <a:xfrm flipH="1">
            <a:off x="8017246" y="4191343"/>
            <a:ext cx="226002" cy="585891"/>
          </a:xfrm>
          <a:prstGeom prst="straightConnector1">
            <a:avLst/>
          </a:prstGeom>
          <a:ln>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1591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4" grpId="0" animBg="1"/>
      <p:bldP spid="26" grpId="0" animBg="1"/>
      <p:bldP spid="19" grpId="0" animBg="1"/>
      <p:bldP spid="30" grpId="0" animBg="1"/>
      <p:bldP spid="33" grpId="0" animBg="1"/>
      <p:bldP spid="3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6" name="Object 135" hidden="1"/>
          <p:cNvGraphicFramePr>
            <a:graphicFrameLocks noChangeAspect="1"/>
          </p:cNvGraphicFramePr>
          <p:nvPr>
            <p:custDataLst>
              <p:tags r:id="rId2"/>
            </p:custDataLst>
            <p:extLst>
              <p:ext uri="{D42A27DB-BD31-4B8C-83A1-F6EECF244321}">
                <p14:modId xmlns:p14="http://schemas.microsoft.com/office/powerpoint/2010/main" val="44441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4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reeform 4"/>
          <p:cNvSpPr>
            <a:spLocks/>
          </p:cNvSpPr>
          <p:nvPr/>
        </p:nvSpPr>
        <p:spPr bwMode="auto">
          <a:xfrm>
            <a:off x="3513138" y="1728689"/>
            <a:ext cx="757238" cy="673100"/>
          </a:xfrm>
          <a:custGeom>
            <a:avLst/>
            <a:gdLst>
              <a:gd name="T0" fmla="*/ 10 w 843"/>
              <a:gd name="T1" fmla="*/ 70 h 771"/>
              <a:gd name="T2" fmla="*/ 17 w 843"/>
              <a:gd name="T3" fmla="*/ 99 h 771"/>
              <a:gd name="T4" fmla="*/ 2 w 843"/>
              <a:gd name="T5" fmla="*/ 130 h 771"/>
              <a:gd name="T6" fmla="*/ 10 w 843"/>
              <a:gd name="T7" fmla="*/ 170 h 771"/>
              <a:gd name="T8" fmla="*/ 660 w 843"/>
              <a:gd name="T9" fmla="*/ 755 h 771"/>
              <a:gd name="T10" fmla="*/ 683 w 843"/>
              <a:gd name="T11" fmla="*/ 765 h 771"/>
              <a:gd name="T12" fmla="*/ 710 w 843"/>
              <a:gd name="T13" fmla="*/ 763 h 771"/>
              <a:gd name="T14" fmla="*/ 721 w 843"/>
              <a:gd name="T15" fmla="*/ 734 h 771"/>
              <a:gd name="T16" fmla="*/ 750 w 843"/>
              <a:gd name="T17" fmla="*/ 729 h 771"/>
              <a:gd name="T18" fmla="*/ 771 w 843"/>
              <a:gd name="T19" fmla="*/ 719 h 771"/>
              <a:gd name="T20" fmla="*/ 784 w 843"/>
              <a:gd name="T21" fmla="*/ 694 h 771"/>
              <a:gd name="T22" fmla="*/ 820 w 843"/>
              <a:gd name="T23" fmla="*/ 664 h 771"/>
              <a:gd name="T24" fmla="*/ 838 w 843"/>
              <a:gd name="T25" fmla="*/ 645 h 771"/>
              <a:gd name="T26" fmla="*/ 822 w 843"/>
              <a:gd name="T27" fmla="*/ 610 h 771"/>
              <a:gd name="T28" fmla="*/ 832 w 843"/>
              <a:gd name="T29" fmla="*/ 591 h 771"/>
              <a:gd name="T30" fmla="*/ 826 w 843"/>
              <a:gd name="T31" fmla="*/ 570 h 771"/>
              <a:gd name="T32" fmla="*/ 790 w 843"/>
              <a:gd name="T33" fmla="*/ 521 h 771"/>
              <a:gd name="T34" fmla="*/ 754 w 843"/>
              <a:gd name="T35" fmla="*/ 467 h 771"/>
              <a:gd name="T36" fmla="*/ 731 w 843"/>
              <a:gd name="T37" fmla="*/ 437 h 771"/>
              <a:gd name="T38" fmla="*/ 704 w 843"/>
              <a:gd name="T39" fmla="*/ 406 h 771"/>
              <a:gd name="T40" fmla="*/ 691 w 843"/>
              <a:gd name="T41" fmla="*/ 370 h 771"/>
              <a:gd name="T42" fmla="*/ 670 w 843"/>
              <a:gd name="T43" fmla="*/ 332 h 771"/>
              <a:gd name="T44" fmla="*/ 649 w 843"/>
              <a:gd name="T45" fmla="*/ 309 h 771"/>
              <a:gd name="T46" fmla="*/ 639 w 843"/>
              <a:gd name="T47" fmla="*/ 282 h 771"/>
              <a:gd name="T48" fmla="*/ 613 w 843"/>
              <a:gd name="T49" fmla="*/ 259 h 771"/>
              <a:gd name="T50" fmla="*/ 588 w 843"/>
              <a:gd name="T51" fmla="*/ 221 h 771"/>
              <a:gd name="T52" fmla="*/ 569 w 843"/>
              <a:gd name="T53" fmla="*/ 174 h 771"/>
              <a:gd name="T54" fmla="*/ 555 w 843"/>
              <a:gd name="T55" fmla="*/ 160 h 771"/>
              <a:gd name="T56" fmla="*/ 552 w 843"/>
              <a:gd name="T57" fmla="*/ 139 h 771"/>
              <a:gd name="T58" fmla="*/ 550 w 843"/>
              <a:gd name="T59" fmla="*/ 132 h 771"/>
              <a:gd name="T60" fmla="*/ 586 w 843"/>
              <a:gd name="T61" fmla="*/ 164 h 771"/>
              <a:gd name="T62" fmla="*/ 614 w 843"/>
              <a:gd name="T63" fmla="*/ 214 h 771"/>
              <a:gd name="T64" fmla="*/ 645 w 843"/>
              <a:gd name="T65" fmla="*/ 250 h 771"/>
              <a:gd name="T66" fmla="*/ 679 w 843"/>
              <a:gd name="T67" fmla="*/ 284 h 771"/>
              <a:gd name="T68" fmla="*/ 698 w 843"/>
              <a:gd name="T69" fmla="*/ 278 h 771"/>
              <a:gd name="T70" fmla="*/ 716 w 843"/>
              <a:gd name="T71" fmla="*/ 250 h 771"/>
              <a:gd name="T72" fmla="*/ 716 w 843"/>
              <a:gd name="T73" fmla="*/ 206 h 771"/>
              <a:gd name="T74" fmla="*/ 717 w 843"/>
              <a:gd name="T75" fmla="*/ 177 h 771"/>
              <a:gd name="T76" fmla="*/ 721 w 843"/>
              <a:gd name="T77" fmla="*/ 156 h 771"/>
              <a:gd name="T78" fmla="*/ 708 w 843"/>
              <a:gd name="T79" fmla="*/ 135 h 771"/>
              <a:gd name="T80" fmla="*/ 695 w 843"/>
              <a:gd name="T81" fmla="*/ 111 h 771"/>
              <a:gd name="T82" fmla="*/ 676 w 843"/>
              <a:gd name="T83" fmla="*/ 70 h 771"/>
              <a:gd name="T84" fmla="*/ 656 w 843"/>
              <a:gd name="T85" fmla="*/ 30 h 771"/>
              <a:gd name="T86" fmla="*/ 630 w 843"/>
              <a:gd name="T87" fmla="*/ 29 h 771"/>
              <a:gd name="T88" fmla="*/ 593 w 843"/>
              <a:gd name="T89" fmla="*/ 36 h 771"/>
              <a:gd name="T90" fmla="*/ 555 w 843"/>
              <a:gd name="T91" fmla="*/ 42 h 771"/>
              <a:gd name="T92" fmla="*/ 517 w 843"/>
              <a:gd name="T93" fmla="*/ 32 h 771"/>
              <a:gd name="T94" fmla="*/ 477 w 843"/>
              <a:gd name="T95" fmla="*/ 9 h 771"/>
              <a:gd name="T96" fmla="*/ 441 w 843"/>
              <a:gd name="T97" fmla="*/ 0 h 771"/>
              <a:gd name="T98" fmla="*/ 389 w 843"/>
              <a:gd name="T99" fmla="*/ 19 h 771"/>
              <a:gd name="T100" fmla="*/ 346 w 843"/>
              <a:gd name="T101" fmla="*/ 51 h 771"/>
              <a:gd name="T102" fmla="*/ 290 w 843"/>
              <a:gd name="T103" fmla="*/ 61 h 771"/>
              <a:gd name="T104" fmla="*/ 204 w 843"/>
              <a:gd name="T105" fmla="*/ 42 h 771"/>
              <a:gd name="T106" fmla="*/ 124 w 843"/>
              <a:gd name="T107" fmla="*/ 19 h 771"/>
              <a:gd name="T108" fmla="*/ 69 w 843"/>
              <a:gd name="T109" fmla="*/ 15 h 771"/>
              <a:gd name="T110" fmla="*/ 46 w 843"/>
              <a:gd name="T111" fmla="*/ 23 h 771"/>
              <a:gd name="T112" fmla="*/ 8 w 843"/>
              <a:gd name="T113" fmla="*/ 3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43" h="771">
                <a:moveTo>
                  <a:pt x="0" y="49"/>
                </a:moveTo>
                <a:lnTo>
                  <a:pt x="0" y="49"/>
                </a:lnTo>
                <a:lnTo>
                  <a:pt x="2" y="55"/>
                </a:lnTo>
                <a:lnTo>
                  <a:pt x="4" y="61"/>
                </a:lnTo>
                <a:lnTo>
                  <a:pt x="6" y="67"/>
                </a:lnTo>
                <a:lnTo>
                  <a:pt x="10" y="70"/>
                </a:lnTo>
                <a:lnTo>
                  <a:pt x="14" y="74"/>
                </a:lnTo>
                <a:lnTo>
                  <a:pt x="16" y="80"/>
                </a:lnTo>
                <a:lnTo>
                  <a:pt x="17" y="86"/>
                </a:lnTo>
                <a:lnTo>
                  <a:pt x="19" y="91"/>
                </a:lnTo>
                <a:lnTo>
                  <a:pt x="19" y="91"/>
                </a:lnTo>
                <a:lnTo>
                  <a:pt x="17" y="99"/>
                </a:lnTo>
                <a:lnTo>
                  <a:pt x="16" y="105"/>
                </a:lnTo>
                <a:lnTo>
                  <a:pt x="14" y="111"/>
                </a:lnTo>
                <a:lnTo>
                  <a:pt x="10" y="114"/>
                </a:lnTo>
                <a:lnTo>
                  <a:pt x="6" y="118"/>
                </a:lnTo>
                <a:lnTo>
                  <a:pt x="4" y="124"/>
                </a:lnTo>
                <a:lnTo>
                  <a:pt x="2" y="130"/>
                </a:lnTo>
                <a:lnTo>
                  <a:pt x="0" y="135"/>
                </a:lnTo>
                <a:lnTo>
                  <a:pt x="0" y="135"/>
                </a:lnTo>
                <a:lnTo>
                  <a:pt x="2" y="145"/>
                </a:lnTo>
                <a:lnTo>
                  <a:pt x="4" y="153"/>
                </a:lnTo>
                <a:lnTo>
                  <a:pt x="6" y="162"/>
                </a:lnTo>
                <a:lnTo>
                  <a:pt x="10" y="170"/>
                </a:lnTo>
                <a:lnTo>
                  <a:pt x="14" y="177"/>
                </a:lnTo>
                <a:lnTo>
                  <a:pt x="16" y="183"/>
                </a:lnTo>
                <a:lnTo>
                  <a:pt x="17" y="189"/>
                </a:lnTo>
                <a:lnTo>
                  <a:pt x="19" y="194"/>
                </a:lnTo>
                <a:lnTo>
                  <a:pt x="48" y="771"/>
                </a:lnTo>
                <a:lnTo>
                  <a:pt x="660" y="755"/>
                </a:lnTo>
                <a:lnTo>
                  <a:pt x="660" y="755"/>
                </a:lnTo>
                <a:lnTo>
                  <a:pt x="668" y="757"/>
                </a:lnTo>
                <a:lnTo>
                  <a:pt x="672" y="759"/>
                </a:lnTo>
                <a:lnTo>
                  <a:pt x="677" y="761"/>
                </a:lnTo>
                <a:lnTo>
                  <a:pt x="679" y="763"/>
                </a:lnTo>
                <a:lnTo>
                  <a:pt x="683" y="765"/>
                </a:lnTo>
                <a:lnTo>
                  <a:pt x="687" y="767"/>
                </a:lnTo>
                <a:lnTo>
                  <a:pt x="693" y="767"/>
                </a:lnTo>
                <a:lnTo>
                  <a:pt x="698" y="769"/>
                </a:lnTo>
                <a:lnTo>
                  <a:pt x="698" y="769"/>
                </a:lnTo>
                <a:lnTo>
                  <a:pt x="704" y="767"/>
                </a:lnTo>
                <a:lnTo>
                  <a:pt x="710" y="763"/>
                </a:lnTo>
                <a:lnTo>
                  <a:pt x="714" y="759"/>
                </a:lnTo>
                <a:lnTo>
                  <a:pt x="714" y="753"/>
                </a:lnTo>
                <a:lnTo>
                  <a:pt x="716" y="748"/>
                </a:lnTo>
                <a:lnTo>
                  <a:pt x="717" y="744"/>
                </a:lnTo>
                <a:lnTo>
                  <a:pt x="719" y="738"/>
                </a:lnTo>
                <a:lnTo>
                  <a:pt x="721" y="734"/>
                </a:lnTo>
                <a:lnTo>
                  <a:pt x="721" y="734"/>
                </a:lnTo>
                <a:lnTo>
                  <a:pt x="727" y="732"/>
                </a:lnTo>
                <a:lnTo>
                  <a:pt x="733" y="731"/>
                </a:lnTo>
                <a:lnTo>
                  <a:pt x="738" y="731"/>
                </a:lnTo>
                <a:lnTo>
                  <a:pt x="744" y="729"/>
                </a:lnTo>
                <a:lnTo>
                  <a:pt x="750" y="729"/>
                </a:lnTo>
                <a:lnTo>
                  <a:pt x="754" y="729"/>
                </a:lnTo>
                <a:lnTo>
                  <a:pt x="759" y="729"/>
                </a:lnTo>
                <a:lnTo>
                  <a:pt x="763" y="727"/>
                </a:lnTo>
                <a:lnTo>
                  <a:pt x="763" y="727"/>
                </a:lnTo>
                <a:lnTo>
                  <a:pt x="767" y="723"/>
                </a:lnTo>
                <a:lnTo>
                  <a:pt x="771" y="719"/>
                </a:lnTo>
                <a:lnTo>
                  <a:pt x="773" y="717"/>
                </a:lnTo>
                <a:lnTo>
                  <a:pt x="777" y="711"/>
                </a:lnTo>
                <a:lnTo>
                  <a:pt x="777" y="708"/>
                </a:lnTo>
                <a:lnTo>
                  <a:pt x="779" y="704"/>
                </a:lnTo>
                <a:lnTo>
                  <a:pt x="780" y="698"/>
                </a:lnTo>
                <a:lnTo>
                  <a:pt x="784" y="694"/>
                </a:lnTo>
                <a:lnTo>
                  <a:pt x="784" y="694"/>
                </a:lnTo>
                <a:lnTo>
                  <a:pt x="790" y="687"/>
                </a:lnTo>
                <a:lnTo>
                  <a:pt x="796" y="679"/>
                </a:lnTo>
                <a:lnTo>
                  <a:pt x="803" y="673"/>
                </a:lnTo>
                <a:lnTo>
                  <a:pt x="811" y="670"/>
                </a:lnTo>
                <a:lnTo>
                  <a:pt x="820" y="664"/>
                </a:lnTo>
                <a:lnTo>
                  <a:pt x="828" y="660"/>
                </a:lnTo>
                <a:lnTo>
                  <a:pt x="836" y="654"/>
                </a:lnTo>
                <a:lnTo>
                  <a:pt x="843" y="650"/>
                </a:lnTo>
                <a:lnTo>
                  <a:pt x="843" y="650"/>
                </a:lnTo>
                <a:lnTo>
                  <a:pt x="841" y="649"/>
                </a:lnTo>
                <a:lnTo>
                  <a:pt x="838" y="645"/>
                </a:lnTo>
                <a:lnTo>
                  <a:pt x="834" y="639"/>
                </a:lnTo>
                <a:lnTo>
                  <a:pt x="830" y="633"/>
                </a:lnTo>
                <a:lnTo>
                  <a:pt x="826" y="628"/>
                </a:lnTo>
                <a:lnTo>
                  <a:pt x="824" y="622"/>
                </a:lnTo>
                <a:lnTo>
                  <a:pt x="822" y="616"/>
                </a:lnTo>
                <a:lnTo>
                  <a:pt x="822" y="610"/>
                </a:lnTo>
                <a:lnTo>
                  <a:pt x="822" y="610"/>
                </a:lnTo>
                <a:lnTo>
                  <a:pt x="822" y="605"/>
                </a:lnTo>
                <a:lnTo>
                  <a:pt x="824" y="601"/>
                </a:lnTo>
                <a:lnTo>
                  <a:pt x="826" y="597"/>
                </a:lnTo>
                <a:lnTo>
                  <a:pt x="828" y="595"/>
                </a:lnTo>
                <a:lnTo>
                  <a:pt x="832" y="591"/>
                </a:lnTo>
                <a:lnTo>
                  <a:pt x="834" y="589"/>
                </a:lnTo>
                <a:lnTo>
                  <a:pt x="838" y="587"/>
                </a:lnTo>
                <a:lnTo>
                  <a:pt x="840" y="586"/>
                </a:lnTo>
                <a:lnTo>
                  <a:pt x="840" y="586"/>
                </a:lnTo>
                <a:lnTo>
                  <a:pt x="832" y="578"/>
                </a:lnTo>
                <a:lnTo>
                  <a:pt x="826" y="570"/>
                </a:lnTo>
                <a:lnTo>
                  <a:pt x="820" y="563"/>
                </a:lnTo>
                <a:lnTo>
                  <a:pt x="813" y="555"/>
                </a:lnTo>
                <a:lnTo>
                  <a:pt x="807" y="546"/>
                </a:lnTo>
                <a:lnTo>
                  <a:pt x="801" y="538"/>
                </a:lnTo>
                <a:lnTo>
                  <a:pt x="796" y="530"/>
                </a:lnTo>
                <a:lnTo>
                  <a:pt x="790" y="521"/>
                </a:lnTo>
                <a:lnTo>
                  <a:pt x="784" y="511"/>
                </a:lnTo>
                <a:lnTo>
                  <a:pt x="779" y="504"/>
                </a:lnTo>
                <a:lnTo>
                  <a:pt x="773" y="494"/>
                </a:lnTo>
                <a:lnTo>
                  <a:pt x="767" y="486"/>
                </a:lnTo>
                <a:lnTo>
                  <a:pt x="761" y="477"/>
                </a:lnTo>
                <a:lnTo>
                  <a:pt x="754" y="467"/>
                </a:lnTo>
                <a:lnTo>
                  <a:pt x="748" y="460"/>
                </a:lnTo>
                <a:lnTo>
                  <a:pt x="742" y="452"/>
                </a:lnTo>
                <a:lnTo>
                  <a:pt x="742" y="452"/>
                </a:lnTo>
                <a:lnTo>
                  <a:pt x="738" y="446"/>
                </a:lnTo>
                <a:lnTo>
                  <a:pt x="735" y="441"/>
                </a:lnTo>
                <a:lnTo>
                  <a:pt x="731" y="437"/>
                </a:lnTo>
                <a:lnTo>
                  <a:pt x="727" y="431"/>
                </a:lnTo>
                <a:lnTo>
                  <a:pt x="721" y="425"/>
                </a:lnTo>
                <a:lnTo>
                  <a:pt x="717" y="422"/>
                </a:lnTo>
                <a:lnTo>
                  <a:pt x="714" y="416"/>
                </a:lnTo>
                <a:lnTo>
                  <a:pt x="708" y="410"/>
                </a:lnTo>
                <a:lnTo>
                  <a:pt x="704" y="406"/>
                </a:lnTo>
                <a:lnTo>
                  <a:pt x="702" y="401"/>
                </a:lnTo>
                <a:lnTo>
                  <a:pt x="698" y="395"/>
                </a:lnTo>
                <a:lnTo>
                  <a:pt x="695" y="389"/>
                </a:lnTo>
                <a:lnTo>
                  <a:pt x="693" y="381"/>
                </a:lnTo>
                <a:lnTo>
                  <a:pt x="691" y="376"/>
                </a:lnTo>
                <a:lnTo>
                  <a:pt x="691" y="370"/>
                </a:lnTo>
                <a:lnTo>
                  <a:pt x="689" y="362"/>
                </a:lnTo>
                <a:lnTo>
                  <a:pt x="689" y="362"/>
                </a:lnTo>
                <a:lnTo>
                  <a:pt x="689" y="357"/>
                </a:lnTo>
                <a:lnTo>
                  <a:pt x="683" y="349"/>
                </a:lnTo>
                <a:lnTo>
                  <a:pt x="677" y="341"/>
                </a:lnTo>
                <a:lnTo>
                  <a:pt x="670" y="332"/>
                </a:lnTo>
                <a:lnTo>
                  <a:pt x="664" y="324"/>
                </a:lnTo>
                <a:lnTo>
                  <a:pt x="658" y="317"/>
                </a:lnTo>
                <a:lnTo>
                  <a:pt x="653" y="311"/>
                </a:lnTo>
                <a:lnTo>
                  <a:pt x="651" y="309"/>
                </a:lnTo>
                <a:lnTo>
                  <a:pt x="651" y="309"/>
                </a:lnTo>
                <a:lnTo>
                  <a:pt x="649" y="309"/>
                </a:lnTo>
                <a:lnTo>
                  <a:pt x="645" y="305"/>
                </a:lnTo>
                <a:lnTo>
                  <a:pt x="643" y="301"/>
                </a:lnTo>
                <a:lnTo>
                  <a:pt x="643" y="296"/>
                </a:lnTo>
                <a:lnTo>
                  <a:pt x="641" y="292"/>
                </a:lnTo>
                <a:lnTo>
                  <a:pt x="639" y="286"/>
                </a:lnTo>
                <a:lnTo>
                  <a:pt x="639" y="282"/>
                </a:lnTo>
                <a:lnTo>
                  <a:pt x="637" y="280"/>
                </a:lnTo>
                <a:lnTo>
                  <a:pt x="637" y="280"/>
                </a:lnTo>
                <a:lnTo>
                  <a:pt x="630" y="275"/>
                </a:lnTo>
                <a:lnTo>
                  <a:pt x="624" y="269"/>
                </a:lnTo>
                <a:lnTo>
                  <a:pt x="618" y="263"/>
                </a:lnTo>
                <a:lnTo>
                  <a:pt x="613" y="259"/>
                </a:lnTo>
                <a:lnTo>
                  <a:pt x="607" y="254"/>
                </a:lnTo>
                <a:lnTo>
                  <a:pt x="603" y="246"/>
                </a:lnTo>
                <a:lnTo>
                  <a:pt x="599" y="240"/>
                </a:lnTo>
                <a:lnTo>
                  <a:pt x="595" y="235"/>
                </a:lnTo>
                <a:lnTo>
                  <a:pt x="592" y="229"/>
                </a:lnTo>
                <a:lnTo>
                  <a:pt x="588" y="221"/>
                </a:lnTo>
                <a:lnTo>
                  <a:pt x="584" y="214"/>
                </a:lnTo>
                <a:lnTo>
                  <a:pt x="582" y="206"/>
                </a:lnTo>
                <a:lnTo>
                  <a:pt x="578" y="198"/>
                </a:lnTo>
                <a:lnTo>
                  <a:pt x="574" y="191"/>
                </a:lnTo>
                <a:lnTo>
                  <a:pt x="571" y="183"/>
                </a:lnTo>
                <a:lnTo>
                  <a:pt x="569" y="174"/>
                </a:lnTo>
                <a:lnTo>
                  <a:pt x="569" y="174"/>
                </a:lnTo>
                <a:lnTo>
                  <a:pt x="567" y="170"/>
                </a:lnTo>
                <a:lnTo>
                  <a:pt x="563" y="168"/>
                </a:lnTo>
                <a:lnTo>
                  <a:pt x="561" y="166"/>
                </a:lnTo>
                <a:lnTo>
                  <a:pt x="557" y="162"/>
                </a:lnTo>
                <a:lnTo>
                  <a:pt x="555" y="160"/>
                </a:lnTo>
                <a:lnTo>
                  <a:pt x="553" y="156"/>
                </a:lnTo>
                <a:lnTo>
                  <a:pt x="552" y="153"/>
                </a:lnTo>
                <a:lnTo>
                  <a:pt x="550" y="147"/>
                </a:lnTo>
                <a:lnTo>
                  <a:pt x="550" y="147"/>
                </a:lnTo>
                <a:lnTo>
                  <a:pt x="550" y="141"/>
                </a:lnTo>
                <a:lnTo>
                  <a:pt x="552" y="139"/>
                </a:lnTo>
                <a:lnTo>
                  <a:pt x="552" y="137"/>
                </a:lnTo>
                <a:lnTo>
                  <a:pt x="552" y="137"/>
                </a:lnTo>
                <a:lnTo>
                  <a:pt x="553" y="137"/>
                </a:lnTo>
                <a:lnTo>
                  <a:pt x="553" y="137"/>
                </a:lnTo>
                <a:lnTo>
                  <a:pt x="552" y="135"/>
                </a:lnTo>
                <a:lnTo>
                  <a:pt x="550" y="132"/>
                </a:lnTo>
                <a:lnTo>
                  <a:pt x="550" y="132"/>
                </a:lnTo>
                <a:lnTo>
                  <a:pt x="559" y="137"/>
                </a:lnTo>
                <a:lnTo>
                  <a:pt x="567" y="143"/>
                </a:lnTo>
                <a:lnTo>
                  <a:pt x="574" y="151"/>
                </a:lnTo>
                <a:lnTo>
                  <a:pt x="580" y="156"/>
                </a:lnTo>
                <a:lnTo>
                  <a:pt x="586" y="164"/>
                </a:lnTo>
                <a:lnTo>
                  <a:pt x="592" y="172"/>
                </a:lnTo>
                <a:lnTo>
                  <a:pt x="597" y="179"/>
                </a:lnTo>
                <a:lnTo>
                  <a:pt x="601" y="189"/>
                </a:lnTo>
                <a:lnTo>
                  <a:pt x="605" y="196"/>
                </a:lnTo>
                <a:lnTo>
                  <a:pt x="611" y="206"/>
                </a:lnTo>
                <a:lnTo>
                  <a:pt x="614" y="214"/>
                </a:lnTo>
                <a:lnTo>
                  <a:pt x="620" y="221"/>
                </a:lnTo>
                <a:lnTo>
                  <a:pt x="624" y="229"/>
                </a:lnTo>
                <a:lnTo>
                  <a:pt x="632" y="236"/>
                </a:lnTo>
                <a:lnTo>
                  <a:pt x="637" y="244"/>
                </a:lnTo>
                <a:lnTo>
                  <a:pt x="645" y="250"/>
                </a:lnTo>
                <a:lnTo>
                  <a:pt x="645" y="250"/>
                </a:lnTo>
                <a:lnTo>
                  <a:pt x="649" y="256"/>
                </a:lnTo>
                <a:lnTo>
                  <a:pt x="655" y="261"/>
                </a:lnTo>
                <a:lnTo>
                  <a:pt x="660" y="267"/>
                </a:lnTo>
                <a:lnTo>
                  <a:pt x="666" y="275"/>
                </a:lnTo>
                <a:lnTo>
                  <a:pt x="674" y="280"/>
                </a:lnTo>
                <a:lnTo>
                  <a:pt x="679" y="284"/>
                </a:lnTo>
                <a:lnTo>
                  <a:pt x="685" y="288"/>
                </a:lnTo>
                <a:lnTo>
                  <a:pt x="689" y="290"/>
                </a:lnTo>
                <a:lnTo>
                  <a:pt x="689" y="290"/>
                </a:lnTo>
                <a:lnTo>
                  <a:pt x="693" y="288"/>
                </a:lnTo>
                <a:lnTo>
                  <a:pt x="695" y="284"/>
                </a:lnTo>
                <a:lnTo>
                  <a:pt x="698" y="278"/>
                </a:lnTo>
                <a:lnTo>
                  <a:pt x="704" y="273"/>
                </a:lnTo>
                <a:lnTo>
                  <a:pt x="708" y="265"/>
                </a:lnTo>
                <a:lnTo>
                  <a:pt x="712" y="259"/>
                </a:lnTo>
                <a:lnTo>
                  <a:pt x="716" y="254"/>
                </a:lnTo>
                <a:lnTo>
                  <a:pt x="716" y="250"/>
                </a:lnTo>
                <a:lnTo>
                  <a:pt x="716" y="250"/>
                </a:lnTo>
                <a:lnTo>
                  <a:pt x="716" y="242"/>
                </a:lnTo>
                <a:lnTo>
                  <a:pt x="716" y="235"/>
                </a:lnTo>
                <a:lnTo>
                  <a:pt x="716" y="227"/>
                </a:lnTo>
                <a:lnTo>
                  <a:pt x="716" y="219"/>
                </a:lnTo>
                <a:lnTo>
                  <a:pt x="716" y="212"/>
                </a:lnTo>
                <a:lnTo>
                  <a:pt x="716" y="206"/>
                </a:lnTo>
                <a:lnTo>
                  <a:pt x="717" y="196"/>
                </a:lnTo>
                <a:lnTo>
                  <a:pt x="717" y="189"/>
                </a:lnTo>
                <a:lnTo>
                  <a:pt x="717" y="189"/>
                </a:lnTo>
                <a:lnTo>
                  <a:pt x="717" y="185"/>
                </a:lnTo>
                <a:lnTo>
                  <a:pt x="717" y="181"/>
                </a:lnTo>
                <a:lnTo>
                  <a:pt x="717" y="177"/>
                </a:lnTo>
                <a:lnTo>
                  <a:pt x="719" y="174"/>
                </a:lnTo>
                <a:lnTo>
                  <a:pt x="719" y="168"/>
                </a:lnTo>
                <a:lnTo>
                  <a:pt x="721" y="164"/>
                </a:lnTo>
                <a:lnTo>
                  <a:pt x="721" y="160"/>
                </a:lnTo>
                <a:lnTo>
                  <a:pt x="721" y="156"/>
                </a:lnTo>
                <a:lnTo>
                  <a:pt x="721" y="156"/>
                </a:lnTo>
                <a:lnTo>
                  <a:pt x="721" y="153"/>
                </a:lnTo>
                <a:lnTo>
                  <a:pt x="719" y="149"/>
                </a:lnTo>
                <a:lnTo>
                  <a:pt x="716" y="145"/>
                </a:lnTo>
                <a:lnTo>
                  <a:pt x="714" y="141"/>
                </a:lnTo>
                <a:lnTo>
                  <a:pt x="710" y="137"/>
                </a:lnTo>
                <a:lnTo>
                  <a:pt x="708" y="135"/>
                </a:lnTo>
                <a:lnTo>
                  <a:pt x="704" y="132"/>
                </a:lnTo>
                <a:lnTo>
                  <a:pt x="704" y="130"/>
                </a:lnTo>
                <a:lnTo>
                  <a:pt x="704" y="130"/>
                </a:lnTo>
                <a:lnTo>
                  <a:pt x="700" y="124"/>
                </a:lnTo>
                <a:lnTo>
                  <a:pt x="698" y="116"/>
                </a:lnTo>
                <a:lnTo>
                  <a:pt x="695" y="111"/>
                </a:lnTo>
                <a:lnTo>
                  <a:pt x="693" y="103"/>
                </a:lnTo>
                <a:lnTo>
                  <a:pt x="689" y="97"/>
                </a:lnTo>
                <a:lnTo>
                  <a:pt x="685" y="91"/>
                </a:lnTo>
                <a:lnTo>
                  <a:pt x="683" y="84"/>
                </a:lnTo>
                <a:lnTo>
                  <a:pt x="679" y="78"/>
                </a:lnTo>
                <a:lnTo>
                  <a:pt x="676" y="70"/>
                </a:lnTo>
                <a:lnTo>
                  <a:pt x="672" y="65"/>
                </a:lnTo>
                <a:lnTo>
                  <a:pt x="670" y="57"/>
                </a:lnTo>
                <a:lnTo>
                  <a:pt x="666" y="51"/>
                </a:lnTo>
                <a:lnTo>
                  <a:pt x="662" y="44"/>
                </a:lnTo>
                <a:lnTo>
                  <a:pt x="660" y="38"/>
                </a:lnTo>
                <a:lnTo>
                  <a:pt x="656" y="30"/>
                </a:lnTo>
                <a:lnTo>
                  <a:pt x="655" y="23"/>
                </a:lnTo>
                <a:lnTo>
                  <a:pt x="655" y="23"/>
                </a:lnTo>
                <a:lnTo>
                  <a:pt x="649" y="25"/>
                </a:lnTo>
                <a:lnTo>
                  <a:pt x="641" y="25"/>
                </a:lnTo>
                <a:lnTo>
                  <a:pt x="635" y="27"/>
                </a:lnTo>
                <a:lnTo>
                  <a:pt x="630" y="29"/>
                </a:lnTo>
                <a:lnTo>
                  <a:pt x="624" y="29"/>
                </a:lnTo>
                <a:lnTo>
                  <a:pt x="618" y="30"/>
                </a:lnTo>
                <a:lnTo>
                  <a:pt x="613" y="32"/>
                </a:lnTo>
                <a:lnTo>
                  <a:pt x="607" y="34"/>
                </a:lnTo>
                <a:lnTo>
                  <a:pt x="599" y="34"/>
                </a:lnTo>
                <a:lnTo>
                  <a:pt x="593" y="36"/>
                </a:lnTo>
                <a:lnTo>
                  <a:pt x="588" y="38"/>
                </a:lnTo>
                <a:lnTo>
                  <a:pt x="582" y="40"/>
                </a:lnTo>
                <a:lnTo>
                  <a:pt x="576" y="40"/>
                </a:lnTo>
                <a:lnTo>
                  <a:pt x="569" y="42"/>
                </a:lnTo>
                <a:lnTo>
                  <a:pt x="563" y="42"/>
                </a:lnTo>
                <a:lnTo>
                  <a:pt x="555" y="42"/>
                </a:lnTo>
                <a:lnTo>
                  <a:pt x="555" y="42"/>
                </a:lnTo>
                <a:lnTo>
                  <a:pt x="548" y="42"/>
                </a:lnTo>
                <a:lnTo>
                  <a:pt x="540" y="40"/>
                </a:lnTo>
                <a:lnTo>
                  <a:pt x="532" y="38"/>
                </a:lnTo>
                <a:lnTo>
                  <a:pt x="525" y="34"/>
                </a:lnTo>
                <a:lnTo>
                  <a:pt x="517" y="32"/>
                </a:lnTo>
                <a:lnTo>
                  <a:pt x="510" y="29"/>
                </a:lnTo>
                <a:lnTo>
                  <a:pt x="504" y="25"/>
                </a:lnTo>
                <a:lnTo>
                  <a:pt x="496" y="21"/>
                </a:lnTo>
                <a:lnTo>
                  <a:pt x="490" y="17"/>
                </a:lnTo>
                <a:lnTo>
                  <a:pt x="485" y="13"/>
                </a:lnTo>
                <a:lnTo>
                  <a:pt x="477" y="9"/>
                </a:lnTo>
                <a:lnTo>
                  <a:pt x="471" y="8"/>
                </a:lnTo>
                <a:lnTo>
                  <a:pt x="464" y="4"/>
                </a:lnTo>
                <a:lnTo>
                  <a:pt x="456" y="2"/>
                </a:lnTo>
                <a:lnTo>
                  <a:pt x="450" y="0"/>
                </a:lnTo>
                <a:lnTo>
                  <a:pt x="441" y="0"/>
                </a:lnTo>
                <a:lnTo>
                  <a:pt x="441" y="0"/>
                </a:lnTo>
                <a:lnTo>
                  <a:pt x="431" y="0"/>
                </a:lnTo>
                <a:lnTo>
                  <a:pt x="422" y="2"/>
                </a:lnTo>
                <a:lnTo>
                  <a:pt x="412" y="6"/>
                </a:lnTo>
                <a:lnTo>
                  <a:pt x="405" y="9"/>
                </a:lnTo>
                <a:lnTo>
                  <a:pt x="397" y="15"/>
                </a:lnTo>
                <a:lnTo>
                  <a:pt x="389" y="19"/>
                </a:lnTo>
                <a:lnTo>
                  <a:pt x="382" y="25"/>
                </a:lnTo>
                <a:lnTo>
                  <a:pt x="376" y="30"/>
                </a:lnTo>
                <a:lnTo>
                  <a:pt x="368" y="36"/>
                </a:lnTo>
                <a:lnTo>
                  <a:pt x="361" y="42"/>
                </a:lnTo>
                <a:lnTo>
                  <a:pt x="353" y="48"/>
                </a:lnTo>
                <a:lnTo>
                  <a:pt x="346" y="51"/>
                </a:lnTo>
                <a:lnTo>
                  <a:pt x="336" y="55"/>
                </a:lnTo>
                <a:lnTo>
                  <a:pt x="328" y="59"/>
                </a:lnTo>
                <a:lnTo>
                  <a:pt x="319" y="61"/>
                </a:lnTo>
                <a:lnTo>
                  <a:pt x="307" y="61"/>
                </a:lnTo>
                <a:lnTo>
                  <a:pt x="307" y="61"/>
                </a:lnTo>
                <a:lnTo>
                  <a:pt x="290" y="61"/>
                </a:lnTo>
                <a:lnTo>
                  <a:pt x="275" y="59"/>
                </a:lnTo>
                <a:lnTo>
                  <a:pt x="260" y="57"/>
                </a:lnTo>
                <a:lnTo>
                  <a:pt x="244" y="53"/>
                </a:lnTo>
                <a:lnTo>
                  <a:pt x="231" y="51"/>
                </a:lnTo>
                <a:lnTo>
                  <a:pt x="218" y="48"/>
                </a:lnTo>
                <a:lnTo>
                  <a:pt x="204" y="42"/>
                </a:lnTo>
                <a:lnTo>
                  <a:pt x="191" y="38"/>
                </a:lnTo>
                <a:lnTo>
                  <a:pt x="178" y="34"/>
                </a:lnTo>
                <a:lnTo>
                  <a:pt x="166" y="29"/>
                </a:lnTo>
                <a:lnTo>
                  <a:pt x="153" y="25"/>
                </a:lnTo>
                <a:lnTo>
                  <a:pt x="139" y="21"/>
                </a:lnTo>
                <a:lnTo>
                  <a:pt x="124" y="19"/>
                </a:lnTo>
                <a:lnTo>
                  <a:pt x="111" y="17"/>
                </a:lnTo>
                <a:lnTo>
                  <a:pt x="94" y="15"/>
                </a:lnTo>
                <a:lnTo>
                  <a:pt x="78" y="13"/>
                </a:lnTo>
                <a:lnTo>
                  <a:pt x="78" y="13"/>
                </a:lnTo>
                <a:lnTo>
                  <a:pt x="73" y="15"/>
                </a:lnTo>
                <a:lnTo>
                  <a:pt x="69" y="15"/>
                </a:lnTo>
                <a:lnTo>
                  <a:pt x="65" y="17"/>
                </a:lnTo>
                <a:lnTo>
                  <a:pt x="61" y="19"/>
                </a:lnTo>
                <a:lnTo>
                  <a:pt x="57" y="21"/>
                </a:lnTo>
                <a:lnTo>
                  <a:pt x="54" y="23"/>
                </a:lnTo>
                <a:lnTo>
                  <a:pt x="50" y="23"/>
                </a:lnTo>
                <a:lnTo>
                  <a:pt x="46" y="23"/>
                </a:lnTo>
                <a:lnTo>
                  <a:pt x="46" y="23"/>
                </a:lnTo>
                <a:lnTo>
                  <a:pt x="35" y="23"/>
                </a:lnTo>
                <a:lnTo>
                  <a:pt x="27" y="25"/>
                </a:lnTo>
                <a:lnTo>
                  <a:pt x="17" y="25"/>
                </a:lnTo>
                <a:lnTo>
                  <a:pt x="12" y="27"/>
                </a:lnTo>
                <a:lnTo>
                  <a:pt x="8" y="30"/>
                </a:lnTo>
                <a:lnTo>
                  <a:pt x="4" y="34"/>
                </a:lnTo>
                <a:lnTo>
                  <a:pt x="2" y="42"/>
                </a:lnTo>
                <a:lnTo>
                  <a:pt x="0" y="49"/>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 name="Freeform 5"/>
          <p:cNvSpPr>
            <a:spLocks/>
          </p:cNvSpPr>
          <p:nvPr/>
        </p:nvSpPr>
        <p:spPr bwMode="auto">
          <a:xfrm>
            <a:off x="4756150" y="3009802"/>
            <a:ext cx="115888" cy="125413"/>
          </a:xfrm>
          <a:custGeom>
            <a:avLst/>
            <a:gdLst>
              <a:gd name="T0" fmla="*/ 103 w 128"/>
              <a:gd name="T1" fmla="*/ 130 h 143"/>
              <a:gd name="T2" fmla="*/ 101 w 128"/>
              <a:gd name="T3" fmla="*/ 126 h 143"/>
              <a:gd name="T4" fmla="*/ 97 w 128"/>
              <a:gd name="T5" fmla="*/ 122 h 143"/>
              <a:gd name="T6" fmla="*/ 94 w 128"/>
              <a:gd name="T7" fmla="*/ 120 h 143"/>
              <a:gd name="T8" fmla="*/ 88 w 128"/>
              <a:gd name="T9" fmla="*/ 118 h 143"/>
              <a:gd name="T10" fmla="*/ 82 w 128"/>
              <a:gd name="T11" fmla="*/ 120 h 143"/>
              <a:gd name="T12" fmla="*/ 69 w 128"/>
              <a:gd name="T13" fmla="*/ 126 h 143"/>
              <a:gd name="T14" fmla="*/ 52 w 128"/>
              <a:gd name="T15" fmla="*/ 133 h 143"/>
              <a:gd name="T16" fmla="*/ 35 w 128"/>
              <a:gd name="T17" fmla="*/ 139 h 143"/>
              <a:gd name="T18" fmla="*/ 0 w 128"/>
              <a:gd name="T19" fmla="*/ 143 h 143"/>
              <a:gd name="T20" fmla="*/ 2 w 128"/>
              <a:gd name="T21" fmla="*/ 137 h 143"/>
              <a:gd name="T22" fmla="*/ 4 w 128"/>
              <a:gd name="T23" fmla="*/ 122 h 143"/>
              <a:gd name="T24" fmla="*/ 2 w 128"/>
              <a:gd name="T25" fmla="*/ 107 h 143"/>
              <a:gd name="T26" fmla="*/ 0 w 128"/>
              <a:gd name="T27" fmla="*/ 90 h 143"/>
              <a:gd name="T28" fmla="*/ 0 w 128"/>
              <a:gd name="T29" fmla="*/ 82 h 143"/>
              <a:gd name="T30" fmla="*/ 2 w 128"/>
              <a:gd name="T31" fmla="*/ 69 h 143"/>
              <a:gd name="T32" fmla="*/ 10 w 128"/>
              <a:gd name="T33" fmla="*/ 55 h 143"/>
              <a:gd name="T34" fmla="*/ 19 w 128"/>
              <a:gd name="T35" fmla="*/ 44 h 143"/>
              <a:gd name="T36" fmla="*/ 33 w 128"/>
              <a:gd name="T37" fmla="*/ 32 h 143"/>
              <a:gd name="T38" fmla="*/ 46 w 128"/>
              <a:gd name="T39" fmla="*/ 21 h 143"/>
              <a:gd name="T40" fmla="*/ 61 w 128"/>
              <a:gd name="T41" fmla="*/ 13 h 143"/>
              <a:gd name="T42" fmla="*/ 75 w 128"/>
              <a:gd name="T43" fmla="*/ 6 h 143"/>
              <a:gd name="T44" fmla="*/ 86 w 128"/>
              <a:gd name="T45" fmla="*/ 0 h 143"/>
              <a:gd name="T46" fmla="*/ 94 w 128"/>
              <a:gd name="T47" fmla="*/ 0 h 143"/>
              <a:gd name="T48" fmla="*/ 107 w 128"/>
              <a:gd name="T49" fmla="*/ 9 h 143"/>
              <a:gd name="T50" fmla="*/ 118 w 128"/>
              <a:gd name="T51" fmla="*/ 21 h 143"/>
              <a:gd name="T52" fmla="*/ 126 w 128"/>
              <a:gd name="T53" fmla="*/ 34 h 143"/>
              <a:gd name="T54" fmla="*/ 128 w 128"/>
              <a:gd name="T55" fmla="*/ 42 h 143"/>
              <a:gd name="T56" fmla="*/ 120 w 128"/>
              <a:gd name="T57" fmla="*/ 53 h 143"/>
              <a:gd name="T58" fmla="*/ 103 w 128"/>
              <a:gd name="T59" fmla="*/ 67 h 143"/>
              <a:gd name="T60" fmla="*/ 84 w 128"/>
              <a:gd name="T61" fmla="*/ 82 h 143"/>
              <a:gd name="T62" fmla="*/ 71 w 128"/>
              <a:gd name="T63" fmla="*/ 92 h 143"/>
              <a:gd name="T64" fmla="*/ 77 w 128"/>
              <a:gd name="T65" fmla="*/ 92 h 143"/>
              <a:gd name="T66" fmla="*/ 90 w 128"/>
              <a:gd name="T67" fmla="*/ 93 h 143"/>
              <a:gd name="T68" fmla="*/ 103 w 128"/>
              <a:gd name="T69" fmla="*/ 95 h 143"/>
              <a:gd name="T70" fmla="*/ 115 w 128"/>
              <a:gd name="T71" fmla="*/ 97 h 143"/>
              <a:gd name="T72" fmla="*/ 118 w 128"/>
              <a:gd name="T73" fmla="*/ 97 h 143"/>
              <a:gd name="T74" fmla="*/ 117 w 128"/>
              <a:gd name="T75" fmla="*/ 107 h 143"/>
              <a:gd name="T76" fmla="*/ 113 w 128"/>
              <a:gd name="T77" fmla="*/ 113 h 143"/>
              <a:gd name="T78" fmla="*/ 107 w 128"/>
              <a:gd name="T79" fmla="*/ 118 h 143"/>
              <a:gd name="T80" fmla="*/ 101 w 128"/>
              <a:gd name="T81" fmla="*/ 122 h 143"/>
              <a:gd name="T82" fmla="*/ 103 w 128"/>
              <a:gd name="T83" fmla="*/ 13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43">
                <a:moveTo>
                  <a:pt x="103" y="130"/>
                </a:moveTo>
                <a:lnTo>
                  <a:pt x="103" y="130"/>
                </a:lnTo>
                <a:lnTo>
                  <a:pt x="103" y="128"/>
                </a:lnTo>
                <a:lnTo>
                  <a:pt x="101" y="126"/>
                </a:lnTo>
                <a:lnTo>
                  <a:pt x="99" y="124"/>
                </a:lnTo>
                <a:lnTo>
                  <a:pt x="97" y="122"/>
                </a:lnTo>
                <a:lnTo>
                  <a:pt x="96" y="122"/>
                </a:lnTo>
                <a:lnTo>
                  <a:pt x="94" y="120"/>
                </a:lnTo>
                <a:lnTo>
                  <a:pt x="90" y="118"/>
                </a:lnTo>
                <a:lnTo>
                  <a:pt x="88" y="118"/>
                </a:lnTo>
                <a:lnTo>
                  <a:pt x="88" y="118"/>
                </a:lnTo>
                <a:lnTo>
                  <a:pt x="82" y="120"/>
                </a:lnTo>
                <a:lnTo>
                  <a:pt x="77" y="122"/>
                </a:lnTo>
                <a:lnTo>
                  <a:pt x="69" y="126"/>
                </a:lnTo>
                <a:lnTo>
                  <a:pt x="61" y="128"/>
                </a:lnTo>
                <a:lnTo>
                  <a:pt x="52" y="133"/>
                </a:lnTo>
                <a:lnTo>
                  <a:pt x="42" y="137"/>
                </a:lnTo>
                <a:lnTo>
                  <a:pt x="35" y="139"/>
                </a:lnTo>
                <a:lnTo>
                  <a:pt x="27" y="143"/>
                </a:lnTo>
                <a:lnTo>
                  <a:pt x="0" y="143"/>
                </a:lnTo>
                <a:lnTo>
                  <a:pt x="0" y="143"/>
                </a:lnTo>
                <a:lnTo>
                  <a:pt x="2" y="137"/>
                </a:lnTo>
                <a:lnTo>
                  <a:pt x="4" y="130"/>
                </a:lnTo>
                <a:lnTo>
                  <a:pt x="4" y="122"/>
                </a:lnTo>
                <a:lnTo>
                  <a:pt x="4" y="114"/>
                </a:lnTo>
                <a:lnTo>
                  <a:pt x="2" y="107"/>
                </a:lnTo>
                <a:lnTo>
                  <a:pt x="2" y="97"/>
                </a:lnTo>
                <a:lnTo>
                  <a:pt x="0" y="90"/>
                </a:lnTo>
                <a:lnTo>
                  <a:pt x="0" y="82"/>
                </a:lnTo>
                <a:lnTo>
                  <a:pt x="0" y="82"/>
                </a:lnTo>
                <a:lnTo>
                  <a:pt x="0" y="74"/>
                </a:lnTo>
                <a:lnTo>
                  <a:pt x="2" y="69"/>
                </a:lnTo>
                <a:lnTo>
                  <a:pt x="6" y="63"/>
                </a:lnTo>
                <a:lnTo>
                  <a:pt x="10" y="55"/>
                </a:lnTo>
                <a:lnTo>
                  <a:pt x="14" y="50"/>
                </a:lnTo>
                <a:lnTo>
                  <a:pt x="19" y="44"/>
                </a:lnTo>
                <a:lnTo>
                  <a:pt x="25" y="38"/>
                </a:lnTo>
                <a:lnTo>
                  <a:pt x="33" y="32"/>
                </a:lnTo>
                <a:lnTo>
                  <a:pt x="38" y="27"/>
                </a:lnTo>
                <a:lnTo>
                  <a:pt x="46" y="21"/>
                </a:lnTo>
                <a:lnTo>
                  <a:pt x="54" y="17"/>
                </a:lnTo>
                <a:lnTo>
                  <a:pt x="61" y="13"/>
                </a:lnTo>
                <a:lnTo>
                  <a:pt x="67" y="8"/>
                </a:lnTo>
                <a:lnTo>
                  <a:pt x="75" y="6"/>
                </a:lnTo>
                <a:lnTo>
                  <a:pt x="80" y="2"/>
                </a:lnTo>
                <a:lnTo>
                  <a:pt x="86" y="0"/>
                </a:lnTo>
                <a:lnTo>
                  <a:pt x="86" y="0"/>
                </a:lnTo>
                <a:lnTo>
                  <a:pt x="94" y="0"/>
                </a:lnTo>
                <a:lnTo>
                  <a:pt x="101" y="4"/>
                </a:lnTo>
                <a:lnTo>
                  <a:pt x="107" y="9"/>
                </a:lnTo>
                <a:lnTo>
                  <a:pt x="115" y="13"/>
                </a:lnTo>
                <a:lnTo>
                  <a:pt x="118" y="21"/>
                </a:lnTo>
                <a:lnTo>
                  <a:pt x="124" y="27"/>
                </a:lnTo>
                <a:lnTo>
                  <a:pt x="126" y="34"/>
                </a:lnTo>
                <a:lnTo>
                  <a:pt x="128" y="42"/>
                </a:lnTo>
                <a:lnTo>
                  <a:pt x="128" y="42"/>
                </a:lnTo>
                <a:lnTo>
                  <a:pt x="126" y="48"/>
                </a:lnTo>
                <a:lnTo>
                  <a:pt x="120" y="53"/>
                </a:lnTo>
                <a:lnTo>
                  <a:pt x="113" y="59"/>
                </a:lnTo>
                <a:lnTo>
                  <a:pt x="103" y="67"/>
                </a:lnTo>
                <a:lnTo>
                  <a:pt x="94" y="74"/>
                </a:lnTo>
                <a:lnTo>
                  <a:pt x="84" y="82"/>
                </a:lnTo>
                <a:lnTo>
                  <a:pt x="77" y="88"/>
                </a:lnTo>
                <a:lnTo>
                  <a:pt x="71" y="92"/>
                </a:lnTo>
                <a:lnTo>
                  <a:pt x="71" y="92"/>
                </a:lnTo>
                <a:lnTo>
                  <a:pt x="77" y="92"/>
                </a:lnTo>
                <a:lnTo>
                  <a:pt x="84" y="93"/>
                </a:lnTo>
                <a:lnTo>
                  <a:pt x="90" y="93"/>
                </a:lnTo>
                <a:lnTo>
                  <a:pt x="97" y="95"/>
                </a:lnTo>
                <a:lnTo>
                  <a:pt x="103" y="95"/>
                </a:lnTo>
                <a:lnTo>
                  <a:pt x="109" y="97"/>
                </a:lnTo>
                <a:lnTo>
                  <a:pt x="115" y="97"/>
                </a:lnTo>
                <a:lnTo>
                  <a:pt x="118" y="97"/>
                </a:lnTo>
                <a:lnTo>
                  <a:pt x="118" y="97"/>
                </a:lnTo>
                <a:lnTo>
                  <a:pt x="117" y="103"/>
                </a:lnTo>
                <a:lnTo>
                  <a:pt x="117" y="107"/>
                </a:lnTo>
                <a:lnTo>
                  <a:pt x="115" y="111"/>
                </a:lnTo>
                <a:lnTo>
                  <a:pt x="113" y="113"/>
                </a:lnTo>
                <a:lnTo>
                  <a:pt x="111" y="116"/>
                </a:lnTo>
                <a:lnTo>
                  <a:pt x="107" y="118"/>
                </a:lnTo>
                <a:lnTo>
                  <a:pt x="105" y="120"/>
                </a:lnTo>
                <a:lnTo>
                  <a:pt x="101" y="122"/>
                </a:lnTo>
                <a:lnTo>
                  <a:pt x="103" y="122"/>
                </a:lnTo>
                <a:lnTo>
                  <a:pt x="103" y="13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 name="Freeform 6"/>
          <p:cNvSpPr>
            <a:spLocks/>
          </p:cNvSpPr>
          <p:nvPr/>
        </p:nvSpPr>
        <p:spPr bwMode="auto">
          <a:xfrm>
            <a:off x="4732338" y="3024089"/>
            <a:ext cx="674688" cy="1011238"/>
          </a:xfrm>
          <a:custGeom>
            <a:avLst/>
            <a:gdLst>
              <a:gd name="T0" fmla="*/ 54 w 750"/>
              <a:gd name="T1" fmla="*/ 723 h 1160"/>
              <a:gd name="T2" fmla="*/ 29 w 750"/>
              <a:gd name="T3" fmla="*/ 763 h 1160"/>
              <a:gd name="T4" fmla="*/ 0 w 750"/>
              <a:gd name="T5" fmla="*/ 788 h 1160"/>
              <a:gd name="T6" fmla="*/ 60 w 750"/>
              <a:gd name="T7" fmla="*/ 1147 h 1160"/>
              <a:gd name="T8" fmla="*/ 81 w 750"/>
              <a:gd name="T9" fmla="*/ 1122 h 1160"/>
              <a:gd name="T10" fmla="*/ 104 w 750"/>
              <a:gd name="T11" fmla="*/ 1080 h 1160"/>
              <a:gd name="T12" fmla="*/ 138 w 750"/>
              <a:gd name="T13" fmla="*/ 1048 h 1160"/>
              <a:gd name="T14" fmla="*/ 168 w 750"/>
              <a:gd name="T15" fmla="*/ 1013 h 1160"/>
              <a:gd name="T16" fmla="*/ 218 w 750"/>
              <a:gd name="T17" fmla="*/ 962 h 1160"/>
              <a:gd name="T18" fmla="*/ 271 w 750"/>
              <a:gd name="T19" fmla="*/ 914 h 1160"/>
              <a:gd name="T20" fmla="*/ 329 w 750"/>
              <a:gd name="T21" fmla="*/ 866 h 1160"/>
              <a:gd name="T22" fmla="*/ 384 w 750"/>
              <a:gd name="T23" fmla="*/ 819 h 1160"/>
              <a:gd name="T24" fmla="*/ 434 w 750"/>
              <a:gd name="T25" fmla="*/ 767 h 1160"/>
              <a:gd name="T26" fmla="*/ 472 w 750"/>
              <a:gd name="T27" fmla="*/ 727 h 1160"/>
              <a:gd name="T28" fmla="*/ 508 w 750"/>
              <a:gd name="T29" fmla="*/ 685 h 1160"/>
              <a:gd name="T30" fmla="*/ 550 w 750"/>
              <a:gd name="T31" fmla="*/ 622 h 1160"/>
              <a:gd name="T32" fmla="*/ 590 w 750"/>
              <a:gd name="T33" fmla="*/ 555 h 1160"/>
              <a:gd name="T34" fmla="*/ 607 w 750"/>
              <a:gd name="T35" fmla="*/ 508 h 1160"/>
              <a:gd name="T36" fmla="*/ 619 w 750"/>
              <a:gd name="T37" fmla="*/ 468 h 1160"/>
              <a:gd name="T38" fmla="*/ 632 w 750"/>
              <a:gd name="T39" fmla="*/ 429 h 1160"/>
              <a:gd name="T40" fmla="*/ 651 w 750"/>
              <a:gd name="T41" fmla="*/ 389 h 1160"/>
              <a:gd name="T42" fmla="*/ 680 w 750"/>
              <a:gd name="T43" fmla="*/ 334 h 1160"/>
              <a:gd name="T44" fmla="*/ 704 w 750"/>
              <a:gd name="T45" fmla="*/ 283 h 1160"/>
              <a:gd name="T46" fmla="*/ 718 w 750"/>
              <a:gd name="T47" fmla="*/ 250 h 1160"/>
              <a:gd name="T48" fmla="*/ 729 w 750"/>
              <a:gd name="T49" fmla="*/ 218 h 1160"/>
              <a:gd name="T50" fmla="*/ 731 w 750"/>
              <a:gd name="T51" fmla="*/ 174 h 1160"/>
              <a:gd name="T52" fmla="*/ 737 w 750"/>
              <a:gd name="T53" fmla="*/ 138 h 1160"/>
              <a:gd name="T54" fmla="*/ 750 w 750"/>
              <a:gd name="T55" fmla="*/ 122 h 1160"/>
              <a:gd name="T56" fmla="*/ 744 w 750"/>
              <a:gd name="T57" fmla="*/ 88 h 1160"/>
              <a:gd name="T58" fmla="*/ 741 w 750"/>
              <a:gd name="T59" fmla="*/ 54 h 1160"/>
              <a:gd name="T60" fmla="*/ 743 w 750"/>
              <a:gd name="T61" fmla="*/ 31 h 1160"/>
              <a:gd name="T62" fmla="*/ 750 w 750"/>
              <a:gd name="T63" fmla="*/ 0 h 1160"/>
              <a:gd name="T64" fmla="*/ 737 w 750"/>
              <a:gd name="T65" fmla="*/ 0 h 1160"/>
              <a:gd name="T66" fmla="*/ 710 w 750"/>
              <a:gd name="T67" fmla="*/ 4 h 1160"/>
              <a:gd name="T68" fmla="*/ 687 w 750"/>
              <a:gd name="T69" fmla="*/ 25 h 1160"/>
              <a:gd name="T70" fmla="*/ 664 w 750"/>
              <a:gd name="T71" fmla="*/ 46 h 1160"/>
              <a:gd name="T72" fmla="*/ 611 w 750"/>
              <a:gd name="T73" fmla="*/ 59 h 1160"/>
              <a:gd name="T74" fmla="*/ 540 w 750"/>
              <a:gd name="T75" fmla="*/ 67 h 1160"/>
              <a:gd name="T76" fmla="*/ 464 w 750"/>
              <a:gd name="T77" fmla="*/ 84 h 1160"/>
              <a:gd name="T78" fmla="*/ 441 w 750"/>
              <a:gd name="T79" fmla="*/ 98 h 1160"/>
              <a:gd name="T80" fmla="*/ 414 w 750"/>
              <a:gd name="T81" fmla="*/ 118 h 1160"/>
              <a:gd name="T82" fmla="*/ 386 w 750"/>
              <a:gd name="T83" fmla="*/ 128 h 1160"/>
              <a:gd name="T84" fmla="*/ 355 w 750"/>
              <a:gd name="T85" fmla="*/ 120 h 1160"/>
              <a:gd name="T86" fmla="*/ 325 w 750"/>
              <a:gd name="T87" fmla="*/ 122 h 1160"/>
              <a:gd name="T88" fmla="*/ 294 w 750"/>
              <a:gd name="T89" fmla="*/ 145 h 1160"/>
              <a:gd name="T90" fmla="*/ 254 w 750"/>
              <a:gd name="T91" fmla="*/ 162 h 1160"/>
              <a:gd name="T92" fmla="*/ 212 w 750"/>
              <a:gd name="T93" fmla="*/ 153 h 1160"/>
              <a:gd name="T94" fmla="*/ 176 w 750"/>
              <a:gd name="T95" fmla="*/ 118 h 1160"/>
              <a:gd name="T96" fmla="*/ 145 w 750"/>
              <a:gd name="T97" fmla="*/ 82 h 1160"/>
              <a:gd name="T98" fmla="*/ 138 w 750"/>
              <a:gd name="T99" fmla="*/ 101 h 1160"/>
              <a:gd name="T100" fmla="*/ 119 w 750"/>
              <a:gd name="T101" fmla="*/ 117 h 1160"/>
              <a:gd name="T102" fmla="*/ 98 w 750"/>
              <a:gd name="T103" fmla="*/ 155 h 1160"/>
              <a:gd name="T104" fmla="*/ 117 w 750"/>
              <a:gd name="T105" fmla="*/ 174 h 1160"/>
              <a:gd name="T106" fmla="*/ 136 w 750"/>
              <a:gd name="T107" fmla="*/ 199 h 1160"/>
              <a:gd name="T108" fmla="*/ 165 w 750"/>
              <a:gd name="T109" fmla="*/ 241 h 1160"/>
              <a:gd name="T110" fmla="*/ 201 w 750"/>
              <a:gd name="T111" fmla="*/ 273 h 1160"/>
              <a:gd name="T112" fmla="*/ 304 w 750"/>
              <a:gd name="T113" fmla="*/ 611 h 1160"/>
              <a:gd name="T114" fmla="*/ 184 w 750"/>
              <a:gd name="T115" fmla="*/ 635 h 1160"/>
              <a:gd name="T116" fmla="*/ 130 w 750"/>
              <a:gd name="T117" fmla="*/ 670 h 1160"/>
              <a:gd name="T118" fmla="*/ 69 w 750"/>
              <a:gd name="T119" fmla="*/ 693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0" h="1160">
                <a:moveTo>
                  <a:pt x="60" y="695"/>
                </a:moveTo>
                <a:lnTo>
                  <a:pt x="60" y="695"/>
                </a:lnTo>
                <a:lnTo>
                  <a:pt x="60" y="702"/>
                </a:lnTo>
                <a:lnTo>
                  <a:pt x="58" y="708"/>
                </a:lnTo>
                <a:lnTo>
                  <a:pt x="58" y="716"/>
                </a:lnTo>
                <a:lnTo>
                  <a:pt x="54" y="723"/>
                </a:lnTo>
                <a:lnTo>
                  <a:pt x="52" y="729"/>
                </a:lnTo>
                <a:lnTo>
                  <a:pt x="48" y="737"/>
                </a:lnTo>
                <a:lnTo>
                  <a:pt x="44" y="744"/>
                </a:lnTo>
                <a:lnTo>
                  <a:pt x="39" y="750"/>
                </a:lnTo>
                <a:lnTo>
                  <a:pt x="35" y="758"/>
                </a:lnTo>
                <a:lnTo>
                  <a:pt x="29" y="763"/>
                </a:lnTo>
                <a:lnTo>
                  <a:pt x="25" y="769"/>
                </a:lnTo>
                <a:lnTo>
                  <a:pt x="20" y="773"/>
                </a:lnTo>
                <a:lnTo>
                  <a:pt x="16" y="779"/>
                </a:lnTo>
                <a:lnTo>
                  <a:pt x="10" y="782"/>
                </a:lnTo>
                <a:lnTo>
                  <a:pt x="6" y="786"/>
                </a:lnTo>
                <a:lnTo>
                  <a:pt x="0" y="788"/>
                </a:lnTo>
                <a:lnTo>
                  <a:pt x="0" y="1090"/>
                </a:lnTo>
                <a:lnTo>
                  <a:pt x="50" y="1160"/>
                </a:lnTo>
                <a:lnTo>
                  <a:pt x="50" y="1160"/>
                </a:lnTo>
                <a:lnTo>
                  <a:pt x="54" y="1156"/>
                </a:lnTo>
                <a:lnTo>
                  <a:pt x="58" y="1151"/>
                </a:lnTo>
                <a:lnTo>
                  <a:pt x="60" y="1147"/>
                </a:lnTo>
                <a:lnTo>
                  <a:pt x="63" y="1143"/>
                </a:lnTo>
                <a:lnTo>
                  <a:pt x="67" y="1137"/>
                </a:lnTo>
                <a:lnTo>
                  <a:pt x="73" y="1133"/>
                </a:lnTo>
                <a:lnTo>
                  <a:pt x="77" y="1128"/>
                </a:lnTo>
                <a:lnTo>
                  <a:pt x="81" y="1122"/>
                </a:lnTo>
                <a:lnTo>
                  <a:pt x="81" y="1122"/>
                </a:lnTo>
                <a:lnTo>
                  <a:pt x="83" y="1114"/>
                </a:lnTo>
                <a:lnTo>
                  <a:pt x="86" y="1107"/>
                </a:lnTo>
                <a:lnTo>
                  <a:pt x="90" y="1099"/>
                </a:lnTo>
                <a:lnTo>
                  <a:pt x="94" y="1091"/>
                </a:lnTo>
                <a:lnTo>
                  <a:pt x="100" y="1086"/>
                </a:lnTo>
                <a:lnTo>
                  <a:pt x="104" y="1080"/>
                </a:lnTo>
                <a:lnTo>
                  <a:pt x="109" y="1074"/>
                </a:lnTo>
                <a:lnTo>
                  <a:pt x="115" y="1069"/>
                </a:lnTo>
                <a:lnTo>
                  <a:pt x="119" y="1063"/>
                </a:lnTo>
                <a:lnTo>
                  <a:pt x="126" y="1059"/>
                </a:lnTo>
                <a:lnTo>
                  <a:pt x="132" y="1053"/>
                </a:lnTo>
                <a:lnTo>
                  <a:pt x="138" y="1048"/>
                </a:lnTo>
                <a:lnTo>
                  <a:pt x="144" y="1042"/>
                </a:lnTo>
                <a:lnTo>
                  <a:pt x="149" y="1036"/>
                </a:lnTo>
                <a:lnTo>
                  <a:pt x="155" y="1030"/>
                </a:lnTo>
                <a:lnTo>
                  <a:pt x="161" y="1023"/>
                </a:lnTo>
                <a:lnTo>
                  <a:pt x="161" y="1023"/>
                </a:lnTo>
                <a:lnTo>
                  <a:pt x="168" y="1013"/>
                </a:lnTo>
                <a:lnTo>
                  <a:pt x="176" y="1004"/>
                </a:lnTo>
                <a:lnTo>
                  <a:pt x="184" y="996"/>
                </a:lnTo>
                <a:lnTo>
                  <a:pt x="191" y="987"/>
                </a:lnTo>
                <a:lnTo>
                  <a:pt x="201" y="979"/>
                </a:lnTo>
                <a:lnTo>
                  <a:pt x="208" y="969"/>
                </a:lnTo>
                <a:lnTo>
                  <a:pt x="218" y="962"/>
                </a:lnTo>
                <a:lnTo>
                  <a:pt x="226" y="954"/>
                </a:lnTo>
                <a:lnTo>
                  <a:pt x="235" y="945"/>
                </a:lnTo>
                <a:lnTo>
                  <a:pt x="245" y="937"/>
                </a:lnTo>
                <a:lnTo>
                  <a:pt x="254" y="929"/>
                </a:lnTo>
                <a:lnTo>
                  <a:pt x="262" y="922"/>
                </a:lnTo>
                <a:lnTo>
                  <a:pt x="271" y="914"/>
                </a:lnTo>
                <a:lnTo>
                  <a:pt x="281" y="906"/>
                </a:lnTo>
                <a:lnTo>
                  <a:pt x="290" y="899"/>
                </a:lnTo>
                <a:lnTo>
                  <a:pt x="300" y="891"/>
                </a:lnTo>
                <a:lnTo>
                  <a:pt x="310" y="883"/>
                </a:lnTo>
                <a:lnTo>
                  <a:pt x="319" y="876"/>
                </a:lnTo>
                <a:lnTo>
                  <a:pt x="329" y="866"/>
                </a:lnTo>
                <a:lnTo>
                  <a:pt x="338" y="859"/>
                </a:lnTo>
                <a:lnTo>
                  <a:pt x="346" y="851"/>
                </a:lnTo>
                <a:lnTo>
                  <a:pt x="355" y="843"/>
                </a:lnTo>
                <a:lnTo>
                  <a:pt x="365" y="836"/>
                </a:lnTo>
                <a:lnTo>
                  <a:pt x="374" y="826"/>
                </a:lnTo>
                <a:lnTo>
                  <a:pt x="384" y="819"/>
                </a:lnTo>
                <a:lnTo>
                  <a:pt x="392" y="811"/>
                </a:lnTo>
                <a:lnTo>
                  <a:pt x="401" y="801"/>
                </a:lnTo>
                <a:lnTo>
                  <a:pt x="409" y="794"/>
                </a:lnTo>
                <a:lnTo>
                  <a:pt x="416" y="784"/>
                </a:lnTo>
                <a:lnTo>
                  <a:pt x="426" y="775"/>
                </a:lnTo>
                <a:lnTo>
                  <a:pt x="434" y="767"/>
                </a:lnTo>
                <a:lnTo>
                  <a:pt x="441" y="758"/>
                </a:lnTo>
                <a:lnTo>
                  <a:pt x="441" y="758"/>
                </a:lnTo>
                <a:lnTo>
                  <a:pt x="449" y="748"/>
                </a:lnTo>
                <a:lnTo>
                  <a:pt x="456" y="740"/>
                </a:lnTo>
                <a:lnTo>
                  <a:pt x="464" y="735"/>
                </a:lnTo>
                <a:lnTo>
                  <a:pt x="472" y="727"/>
                </a:lnTo>
                <a:lnTo>
                  <a:pt x="481" y="719"/>
                </a:lnTo>
                <a:lnTo>
                  <a:pt x="489" y="712"/>
                </a:lnTo>
                <a:lnTo>
                  <a:pt x="496" y="704"/>
                </a:lnTo>
                <a:lnTo>
                  <a:pt x="502" y="695"/>
                </a:lnTo>
                <a:lnTo>
                  <a:pt x="502" y="695"/>
                </a:lnTo>
                <a:lnTo>
                  <a:pt x="508" y="685"/>
                </a:lnTo>
                <a:lnTo>
                  <a:pt x="514" y="676"/>
                </a:lnTo>
                <a:lnTo>
                  <a:pt x="521" y="664"/>
                </a:lnTo>
                <a:lnTo>
                  <a:pt x="529" y="655"/>
                </a:lnTo>
                <a:lnTo>
                  <a:pt x="535" y="643"/>
                </a:lnTo>
                <a:lnTo>
                  <a:pt x="542" y="634"/>
                </a:lnTo>
                <a:lnTo>
                  <a:pt x="550" y="622"/>
                </a:lnTo>
                <a:lnTo>
                  <a:pt x="557" y="611"/>
                </a:lnTo>
                <a:lnTo>
                  <a:pt x="565" y="599"/>
                </a:lnTo>
                <a:lnTo>
                  <a:pt x="571" y="588"/>
                </a:lnTo>
                <a:lnTo>
                  <a:pt x="578" y="576"/>
                </a:lnTo>
                <a:lnTo>
                  <a:pt x="584" y="567"/>
                </a:lnTo>
                <a:lnTo>
                  <a:pt x="590" y="555"/>
                </a:lnTo>
                <a:lnTo>
                  <a:pt x="596" y="544"/>
                </a:lnTo>
                <a:lnTo>
                  <a:pt x="599" y="534"/>
                </a:lnTo>
                <a:lnTo>
                  <a:pt x="603" y="523"/>
                </a:lnTo>
                <a:lnTo>
                  <a:pt x="603" y="523"/>
                </a:lnTo>
                <a:lnTo>
                  <a:pt x="605" y="515"/>
                </a:lnTo>
                <a:lnTo>
                  <a:pt x="607" y="508"/>
                </a:lnTo>
                <a:lnTo>
                  <a:pt x="611" y="500"/>
                </a:lnTo>
                <a:lnTo>
                  <a:pt x="613" y="492"/>
                </a:lnTo>
                <a:lnTo>
                  <a:pt x="613" y="487"/>
                </a:lnTo>
                <a:lnTo>
                  <a:pt x="615" y="481"/>
                </a:lnTo>
                <a:lnTo>
                  <a:pt x="617" y="473"/>
                </a:lnTo>
                <a:lnTo>
                  <a:pt x="619" y="468"/>
                </a:lnTo>
                <a:lnTo>
                  <a:pt x="620" y="462"/>
                </a:lnTo>
                <a:lnTo>
                  <a:pt x="622" y="456"/>
                </a:lnTo>
                <a:lnTo>
                  <a:pt x="624" y="449"/>
                </a:lnTo>
                <a:lnTo>
                  <a:pt x="626" y="443"/>
                </a:lnTo>
                <a:lnTo>
                  <a:pt x="630" y="435"/>
                </a:lnTo>
                <a:lnTo>
                  <a:pt x="632" y="429"/>
                </a:lnTo>
                <a:lnTo>
                  <a:pt x="636" y="422"/>
                </a:lnTo>
                <a:lnTo>
                  <a:pt x="640" y="414"/>
                </a:lnTo>
                <a:lnTo>
                  <a:pt x="640" y="414"/>
                </a:lnTo>
                <a:lnTo>
                  <a:pt x="643" y="407"/>
                </a:lnTo>
                <a:lnTo>
                  <a:pt x="647" y="399"/>
                </a:lnTo>
                <a:lnTo>
                  <a:pt x="651" y="389"/>
                </a:lnTo>
                <a:lnTo>
                  <a:pt x="655" y="382"/>
                </a:lnTo>
                <a:lnTo>
                  <a:pt x="661" y="372"/>
                </a:lnTo>
                <a:lnTo>
                  <a:pt x="664" y="363"/>
                </a:lnTo>
                <a:lnTo>
                  <a:pt x="670" y="353"/>
                </a:lnTo>
                <a:lnTo>
                  <a:pt x="674" y="344"/>
                </a:lnTo>
                <a:lnTo>
                  <a:pt x="680" y="334"/>
                </a:lnTo>
                <a:lnTo>
                  <a:pt x="683" y="325"/>
                </a:lnTo>
                <a:lnTo>
                  <a:pt x="687" y="315"/>
                </a:lnTo>
                <a:lnTo>
                  <a:pt x="693" y="305"/>
                </a:lnTo>
                <a:lnTo>
                  <a:pt x="697" y="298"/>
                </a:lnTo>
                <a:lnTo>
                  <a:pt x="701" y="290"/>
                </a:lnTo>
                <a:lnTo>
                  <a:pt x="704" y="283"/>
                </a:lnTo>
                <a:lnTo>
                  <a:pt x="706" y="275"/>
                </a:lnTo>
                <a:lnTo>
                  <a:pt x="706" y="275"/>
                </a:lnTo>
                <a:lnTo>
                  <a:pt x="708" y="269"/>
                </a:lnTo>
                <a:lnTo>
                  <a:pt x="712" y="262"/>
                </a:lnTo>
                <a:lnTo>
                  <a:pt x="714" y="256"/>
                </a:lnTo>
                <a:lnTo>
                  <a:pt x="718" y="250"/>
                </a:lnTo>
                <a:lnTo>
                  <a:pt x="720" y="244"/>
                </a:lnTo>
                <a:lnTo>
                  <a:pt x="723" y="239"/>
                </a:lnTo>
                <a:lnTo>
                  <a:pt x="725" y="231"/>
                </a:lnTo>
                <a:lnTo>
                  <a:pt x="727" y="225"/>
                </a:lnTo>
                <a:lnTo>
                  <a:pt x="727" y="225"/>
                </a:lnTo>
                <a:lnTo>
                  <a:pt x="729" y="218"/>
                </a:lnTo>
                <a:lnTo>
                  <a:pt x="731" y="210"/>
                </a:lnTo>
                <a:lnTo>
                  <a:pt x="731" y="202"/>
                </a:lnTo>
                <a:lnTo>
                  <a:pt x="731" y="195"/>
                </a:lnTo>
                <a:lnTo>
                  <a:pt x="731" y="187"/>
                </a:lnTo>
                <a:lnTo>
                  <a:pt x="731" y="180"/>
                </a:lnTo>
                <a:lnTo>
                  <a:pt x="731" y="174"/>
                </a:lnTo>
                <a:lnTo>
                  <a:pt x="731" y="166"/>
                </a:lnTo>
                <a:lnTo>
                  <a:pt x="731" y="160"/>
                </a:lnTo>
                <a:lnTo>
                  <a:pt x="731" y="155"/>
                </a:lnTo>
                <a:lnTo>
                  <a:pt x="733" y="149"/>
                </a:lnTo>
                <a:lnTo>
                  <a:pt x="735" y="143"/>
                </a:lnTo>
                <a:lnTo>
                  <a:pt x="737" y="138"/>
                </a:lnTo>
                <a:lnTo>
                  <a:pt x="741" y="134"/>
                </a:lnTo>
                <a:lnTo>
                  <a:pt x="744" y="128"/>
                </a:lnTo>
                <a:lnTo>
                  <a:pt x="750" y="124"/>
                </a:lnTo>
                <a:lnTo>
                  <a:pt x="750" y="124"/>
                </a:lnTo>
                <a:lnTo>
                  <a:pt x="750" y="124"/>
                </a:lnTo>
                <a:lnTo>
                  <a:pt x="750" y="122"/>
                </a:lnTo>
                <a:lnTo>
                  <a:pt x="750" y="118"/>
                </a:lnTo>
                <a:lnTo>
                  <a:pt x="750" y="113"/>
                </a:lnTo>
                <a:lnTo>
                  <a:pt x="748" y="109"/>
                </a:lnTo>
                <a:lnTo>
                  <a:pt x="746" y="101"/>
                </a:lnTo>
                <a:lnTo>
                  <a:pt x="746" y="96"/>
                </a:lnTo>
                <a:lnTo>
                  <a:pt x="744" y="88"/>
                </a:lnTo>
                <a:lnTo>
                  <a:pt x="744" y="82"/>
                </a:lnTo>
                <a:lnTo>
                  <a:pt x="743" y="75"/>
                </a:lnTo>
                <a:lnTo>
                  <a:pt x="743" y="69"/>
                </a:lnTo>
                <a:lnTo>
                  <a:pt x="741" y="63"/>
                </a:lnTo>
                <a:lnTo>
                  <a:pt x="741" y="57"/>
                </a:lnTo>
                <a:lnTo>
                  <a:pt x="741" y="54"/>
                </a:lnTo>
                <a:lnTo>
                  <a:pt x="739" y="50"/>
                </a:lnTo>
                <a:lnTo>
                  <a:pt x="739" y="48"/>
                </a:lnTo>
                <a:lnTo>
                  <a:pt x="739" y="48"/>
                </a:lnTo>
                <a:lnTo>
                  <a:pt x="741" y="42"/>
                </a:lnTo>
                <a:lnTo>
                  <a:pt x="741" y="35"/>
                </a:lnTo>
                <a:lnTo>
                  <a:pt x="743" y="31"/>
                </a:lnTo>
                <a:lnTo>
                  <a:pt x="744" y="25"/>
                </a:lnTo>
                <a:lnTo>
                  <a:pt x="746" y="21"/>
                </a:lnTo>
                <a:lnTo>
                  <a:pt x="748" y="15"/>
                </a:lnTo>
                <a:lnTo>
                  <a:pt x="750" y="10"/>
                </a:lnTo>
                <a:lnTo>
                  <a:pt x="750" y="0"/>
                </a:lnTo>
                <a:lnTo>
                  <a:pt x="750" y="0"/>
                </a:lnTo>
                <a:lnTo>
                  <a:pt x="748" y="2"/>
                </a:lnTo>
                <a:lnTo>
                  <a:pt x="746" y="2"/>
                </a:lnTo>
                <a:lnTo>
                  <a:pt x="744" y="2"/>
                </a:lnTo>
                <a:lnTo>
                  <a:pt x="743" y="2"/>
                </a:lnTo>
                <a:lnTo>
                  <a:pt x="741" y="2"/>
                </a:lnTo>
                <a:lnTo>
                  <a:pt x="737" y="0"/>
                </a:lnTo>
                <a:lnTo>
                  <a:pt x="733" y="0"/>
                </a:lnTo>
                <a:lnTo>
                  <a:pt x="727" y="0"/>
                </a:lnTo>
                <a:lnTo>
                  <a:pt x="727" y="0"/>
                </a:lnTo>
                <a:lnTo>
                  <a:pt x="722" y="0"/>
                </a:lnTo>
                <a:lnTo>
                  <a:pt x="716" y="2"/>
                </a:lnTo>
                <a:lnTo>
                  <a:pt x="710" y="4"/>
                </a:lnTo>
                <a:lnTo>
                  <a:pt x="706" y="8"/>
                </a:lnTo>
                <a:lnTo>
                  <a:pt x="702" y="10"/>
                </a:lnTo>
                <a:lnTo>
                  <a:pt x="699" y="14"/>
                </a:lnTo>
                <a:lnTo>
                  <a:pt x="695" y="17"/>
                </a:lnTo>
                <a:lnTo>
                  <a:pt x="691" y="21"/>
                </a:lnTo>
                <a:lnTo>
                  <a:pt x="687" y="25"/>
                </a:lnTo>
                <a:lnTo>
                  <a:pt x="683" y="29"/>
                </a:lnTo>
                <a:lnTo>
                  <a:pt x="681" y="33"/>
                </a:lnTo>
                <a:lnTo>
                  <a:pt x="678" y="36"/>
                </a:lnTo>
                <a:lnTo>
                  <a:pt x="674" y="40"/>
                </a:lnTo>
                <a:lnTo>
                  <a:pt x="668" y="44"/>
                </a:lnTo>
                <a:lnTo>
                  <a:pt x="664" y="46"/>
                </a:lnTo>
                <a:lnTo>
                  <a:pt x="659" y="48"/>
                </a:lnTo>
                <a:lnTo>
                  <a:pt x="659" y="48"/>
                </a:lnTo>
                <a:lnTo>
                  <a:pt x="647" y="52"/>
                </a:lnTo>
                <a:lnTo>
                  <a:pt x="634" y="56"/>
                </a:lnTo>
                <a:lnTo>
                  <a:pt x="622" y="57"/>
                </a:lnTo>
                <a:lnTo>
                  <a:pt x="611" y="59"/>
                </a:lnTo>
                <a:lnTo>
                  <a:pt x="599" y="61"/>
                </a:lnTo>
                <a:lnTo>
                  <a:pt x="588" y="63"/>
                </a:lnTo>
                <a:lnTo>
                  <a:pt x="577" y="63"/>
                </a:lnTo>
                <a:lnTo>
                  <a:pt x="563" y="65"/>
                </a:lnTo>
                <a:lnTo>
                  <a:pt x="552" y="67"/>
                </a:lnTo>
                <a:lnTo>
                  <a:pt x="540" y="67"/>
                </a:lnTo>
                <a:lnTo>
                  <a:pt x="529" y="69"/>
                </a:lnTo>
                <a:lnTo>
                  <a:pt x="516" y="71"/>
                </a:lnTo>
                <a:lnTo>
                  <a:pt x="504" y="73"/>
                </a:lnTo>
                <a:lnTo>
                  <a:pt x="491" y="77"/>
                </a:lnTo>
                <a:lnTo>
                  <a:pt x="477" y="78"/>
                </a:lnTo>
                <a:lnTo>
                  <a:pt x="464" y="84"/>
                </a:lnTo>
                <a:lnTo>
                  <a:pt x="464" y="84"/>
                </a:lnTo>
                <a:lnTo>
                  <a:pt x="458" y="86"/>
                </a:lnTo>
                <a:lnTo>
                  <a:pt x="454" y="88"/>
                </a:lnTo>
                <a:lnTo>
                  <a:pt x="449" y="92"/>
                </a:lnTo>
                <a:lnTo>
                  <a:pt x="445" y="94"/>
                </a:lnTo>
                <a:lnTo>
                  <a:pt x="441" y="98"/>
                </a:lnTo>
                <a:lnTo>
                  <a:pt x="437" y="101"/>
                </a:lnTo>
                <a:lnTo>
                  <a:pt x="434" y="105"/>
                </a:lnTo>
                <a:lnTo>
                  <a:pt x="428" y="109"/>
                </a:lnTo>
                <a:lnTo>
                  <a:pt x="424" y="113"/>
                </a:lnTo>
                <a:lnTo>
                  <a:pt x="420" y="117"/>
                </a:lnTo>
                <a:lnTo>
                  <a:pt x="414" y="118"/>
                </a:lnTo>
                <a:lnTo>
                  <a:pt x="411" y="122"/>
                </a:lnTo>
                <a:lnTo>
                  <a:pt x="405" y="124"/>
                </a:lnTo>
                <a:lnTo>
                  <a:pt x="399" y="126"/>
                </a:lnTo>
                <a:lnTo>
                  <a:pt x="392" y="126"/>
                </a:lnTo>
                <a:lnTo>
                  <a:pt x="386" y="128"/>
                </a:lnTo>
                <a:lnTo>
                  <a:pt x="386" y="128"/>
                </a:lnTo>
                <a:lnTo>
                  <a:pt x="380" y="126"/>
                </a:lnTo>
                <a:lnTo>
                  <a:pt x="374" y="126"/>
                </a:lnTo>
                <a:lnTo>
                  <a:pt x="371" y="124"/>
                </a:lnTo>
                <a:lnTo>
                  <a:pt x="365" y="122"/>
                </a:lnTo>
                <a:lnTo>
                  <a:pt x="361" y="122"/>
                </a:lnTo>
                <a:lnTo>
                  <a:pt x="355" y="120"/>
                </a:lnTo>
                <a:lnTo>
                  <a:pt x="351" y="118"/>
                </a:lnTo>
                <a:lnTo>
                  <a:pt x="346" y="118"/>
                </a:lnTo>
                <a:lnTo>
                  <a:pt x="346" y="118"/>
                </a:lnTo>
                <a:lnTo>
                  <a:pt x="338" y="118"/>
                </a:lnTo>
                <a:lnTo>
                  <a:pt x="332" y="120"/>
                </a:lnTo>
                <a:lnTo>
                  <a:pt x="325" y="122"/>
                </a:lnTo>
                <a:lnTo>
                  <a:pt x="319" y="126"/>
                </a:lnTo>
                <a:lnTo>
                  <a:pt x="315" y="130"/>
                </a:lnTo>
                <a:lnTo>
                  <a:pt x="310" y="134"/>
                </a:lnTo>
                <a:lnTo>
                  <a:pt x="304" y="138"/>
                </a:lnTo>
                <a:lnTo>
                  <a:pt x="300" y="141"/>
                </a:lnTo>
                <a:lnTo>
                  <a:pt x="294" y="145"/>
                </a:lnTo>
                <a:lnTo>
                  <a:pt x="289" y="149"/>
                </a:lnTo>
                <a:lnTo>
                  <a:pt x="283" y="153"/>
                </a:lnTo>
                <a:lnTo>
                  <a:pt x="277" y="157"/>
                </a:lnTo>
                <a:lnTo>
                  <a:pt x="269" y="159"/>
                </a:lnTo>
                <a:lnTo>
                  <a:pt x="262" y="160"/>
                </a:lnTo>
                <a:lnTo>
                  <a:pt x="254" y="162"/>
                </a:lnTo>
                <a:lnTo>
                  <a:pt x="245" y="162"/>
                </a:lnTo>
                <a:lnTo>
                  <a:pt x="245" y="162"/>
                </a:lnTo>
                <a:lnTo>
                  <a:pt x="237" y="162"/>
                </a:lnTo>
                <a:lnTo>
                  <a:pt x="227" y="160"/>
                </a:lnTo>
                <a:lnTo>
                  <a:pt x="220" y="157"/>
                </a:lnTo>
                <a:lnTo>
                  <a:pt x="212" y="153"/>
                </a:lnTo>
                <a:lnTo>
                  <a:pt x="207" y="149"/>
                </a:lnTo>
                <a:lnTo>
                  <a:pt x="199" y="143"/>
                </a:lnTo>
                <a:lnTo>
                  <a:pt x="193" y="138"/>
                </a:lnTo>
                <a:lnTo>
                  <a:pt x="187" y="132"/>
                </a:lnTo>
                <a:lnTo>
                  <a:pt x="180" y="126"/>
                </a:lnTo>
                <a:lnTo>
                  <a:pt x="176" y="118"/>
                </a:lnTo>
                <a:lnTo>
                  <a:pt x="168" y="111"/>
                </a:lnTo>
                <a:lnTo>
                  <a:pt x="165" y="105"/>
                </a:lnTo>
                <a:lnTo>
                  <a:pt x="159" y="99"/>
                </a:lnTo>
                <a:lnTo>
                  <a:pt x="155" y="94"/>
                </a:lnTo>
                <a:lnTo>
                  <a:pt x="149" y="88"/>
                </a:lnTo>
                <a:lnTo>
                  <a:pt x="145" y="82"/>
                </a:lnTo>
                <a:lnTo>
                  <a:pt x="145" y="82"/>
                </a:lnTo>
                <a:lnTo>
                  <a:pt x="144" y="88"/>
                </a:lnTo>
                <a:lnTo>
                  <a:pt x="144" y="92"/>
                </a:lnTo>
                <a:lnTo>
                  <a:pt x="142" y="96"/>
                </a:lnTo>
                <a:lnTo>
                  <a:pt x="140" y="98"/>
                </a:lnTo>
                <a:lnTo>
                  <a:pt x="138" y="101"/>
                </a:lnTo>
                <a:lnTo>
                  <a:pt x="134" y="103"/>
                </a:lnTo>
                <a:lnTo>
                  <a:pt x="132" y="105"/>
                </a:lnTo>
                <a:lnTo>
                  <a:pt x="128" y="107"/>
                </a:lnTo>
                <a:lnTo>
                  <a:pt x="128" y="107"/>
                </a:lnTo>
                <a:lnTo>
                  <a:pt x="123" y="111"/>
                </a:lnTo>
                <a:lnTo>
                  <a:pt x="119" y="117"/>
                </a:lnTo>
                <a:lnTo>
                  <a:pt x="113" y="122"/>
                </a:lnTo>
                <a:lnTo>
                  <a:pt x="109" y="130"/>
                </a:lnTo>
                <a:lnTo>
                  <a:pt x="105" y="138"/>
                </a:lnTo>
                <a:lnTo>
                  <a:pt x="102" y="143"/>
                </a:lnTo>
                <a:lnTo>
                  <a:pt x="98" y="149"/>
                </a:lnTo>
                <a:lnTo>
                  <a:pt x="98" y="155"/>
                </a:lnTo>
                <a:lnTo>
                  <a:pt x="98" y="155"/>
                </a:lnTo>
                <a:lnTo>
                  <a:pt x="100" y="157"/>
                </a:lnTo>
                <a:lnTo>
                  <a:pt x="102" y="159"/>
                </a:lnTo>
                <a:lnTo>
                  <a:pt x="105" y="162"/>
                </a:lnTo>
                <a:lnTo>
                  <a:pt x="111" y="168"/>
                </a:lnTo>
                <a:lnTo>
                  <a:pt x="117" y="174"/>
                </a:lnTo>
                <a:lnTo>
                  <a:pt x="121" y="178"/>
                </a:lnTo>
                <a:lnTo>
                  <a:pt x="123" y="181"/>
                </a:lnTo>
                <a:lnTo>
                  <a:pt x="124" y="183"/>
                </a:lnTo>
                <a:lnTo>
                  <a:pt x="124" y="183"/>
                </a:lnTo>
                <a:lnTo>
                  <a:pt x="130" y="191"/>
                </a:lnTo>
                <a:lnTo>
                  <a:pt x="136" y="199"/>
                </a:lnTo>
                <a:lnTo>
                  <a:pt x="140" y="206"/>
                </a:lnTo>
                <a:lnTo>
                  <a:pt x="145" y="214"/>
                </a:lnTo>
                <a:lnTo>
                  <a:pt x="149" y="222"/>
                </a:lnTo>
                <a:lnTo>
                  <a:pt x="155" y="227"/>
                </a:lnTo>
                <a:lnTo>
                  <a:pt x="159" y="235"/>
                </a:lnTo>
                <a:lnTo>
                  <a:pt x="165" y="241"/>
                </a:lnTo>
                <a:lnTo>
                  <a:pt x="168" y="246"/>
                </a:lnTo>
                <a:lnTo>
                  <a:pt x="174" y="254"/>
                </a:lnTo>
                <a:lnTo>
                  <a:pt x="180" y="260"/>
                </a:lnTo>
                <a:lnTo>
                  <a:pt x="187" y="263"/>
                </a:lnTo>
                <a:lnTo>
                  <a:pt x="193" y="269"/>
                </a:lnTo>
                <a:lnTo>
                  <a:pt x="201" y="273"/>
                </a:lnTo>
                <a:lnTo>
                  <a:pt x="208" y="277"/>
                </a:lnTo>
                <a:lnTo>
                  <a:pt x="216" y="281"/>
                </a:lnTo>
                <a:lnTo>
                  <a:pt x="435" y="349"/>
                </a:lnTo>
                <a:lnTo>
                  <a:pt x="521" y="349"/>
                </a:lnTo>
                <a:lnTo>
                  <a:pt x="521" y="346"/>
                </a:lnTo>
                <a:lnTo>
                  <a:pt x="304" y="611"/>
                </a:lnTo>
                <a:lnTo>
                  <a:pt x="210" y="611"/>
                </a:lnTo>
                <a:lnTo>
                  <a:pt x="210" y="611"/>
                </a:lnTo>
                <a:lnTo>
                  <a:pt x="205" y="618"/>
                </a:lnTo>
                <a:lnTo>
                  <a:pt x="197" y="624"/>
                </a:lnTo>
                <a:lnTo>
                  <a:pt x="191" y="630"/>
                </a:lnTo>
                <a:lnTo>
                  <a:pt x="184" y="635"/>
                </a:lnTo>
                <a:lnTo>
                  <a:pt x="176" y="643"/>
                </a:lnTo>
                <a:lnTo>
                  <a:pt x="166" y="649"/>
                </a:lnTo>
                <a:lnTo>
                  <a:pt x="159" y="655"/>
                </a:lnTo>
                <a:lnTo>
                  <a:pt x="149" y="660"/>
                </a:lnTo>
                <a:lnTo>
                  <a:pt x="140" y="664"/>
                </a:lnTo>
                <a:lnTo>
                  <a:pt x="130" y="670"/>
                </a:lnTo>
                <a:lnTo>
                  <a:pt x="121" y="676"/>
                </a:lnTo>
                <a:lnTo>
                  <a:pt x="111" y="679"/>
                </a:lnTo>
                <a:lnTo>
                  <a:pt x="102" y="683"/>
                </a:lnTo>
                <a:lnTo>
                  <a:pt x="90" y="687"/>
                </a:lnTo>
                <a:lnTo>
                  <a:pt x="81" y="691"/>
                </a:lnTo>
                <a:lnTo>
                  <a:pt x="69" y="693"/>
                </a:lnTo>
                <a:lnTo>
                  <a:pt x="60" y="695"/>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 name="Freeform 7"/>
          <p:cNvSpPr>
            <a:spLocks/>
          </p:cNvSpPr>
          <p:nvPr/>
        </p:nvSpPr>
        <p:spPr bwMode="auto">
          <a:xfrm>
            <a:off x="4238625" y="3581302"/>
            <a:ext cx="546100" cy="673100"/>
          </a:xfrm>
          <a:custGeom>
            <a:avLst/>
            <a:gdLst>
              <a:gd name="T0" fmla="*/ 4 w 609"/>
              <a:gd name="T1" fmla="*/ 471 h 771"/>
              <a:gd name="T2" fmla="*/ 10 w 609"/>
              <a:gd name="T3" fmla="*/ 447 h 771"/>
              <a:gd name="T4" fmla="*/ 21 w 609"/>
              <a:gd name="T5" fmla="*/ 431 h 771"/>
              <a:gd name="T6" fmla="*/ 42 w 609"/>
              <a:gd name="T7" fmla="*/ 428 h 771"/>
              <a:gd name="T8" fmla="*/ 63 w 609"/>
              <a:gd name="T9" fmla="*/ 416 h 771"/>
              <a:gd name="T10" fmla="*/ 46 w 609"/>
              <a:gd name="T11" fmla="*/ 410 h 771"/>
              <a:gd name="T12" fmla="*/ 13 w 609"/>
              <a:gd name="T13" fmla="*/ 410 h 771"/>
              <a:gd name="T14" fmla="*/ 2 w 609"/>
              <a:gd name="T15" fmla="*/ 401 h 771"/>
              <a:gd name="T16" fmla="*/ 4 w 609"/>
              <a:gd name="T17" fmla="*/ 387 h 771"/>
              <a:gd name="T18" fmla="*/ 10 w 609"/>
              <a:gd name="T19" fmla="*/ 368 h 771"/>
              <a:gd name="T20" fmla="*/ 33 w 609"/>
              <a:gd name="T21" fmla="*/ 334 h 771"/>
              <a:gd name="T22" fmla="*/ 57 w 609"/>
              <a:gd name="T23" fmla="*/ 304 h 771"/>
              <a:gd name="T24" fmla="*/ 78 w 609"/>
              <a:gd name="T25" fmla="*/ 269 h 771"/>
              <a:gd name="T26" fmla="*/ 84 w 609"/>
              <a:gd name="T27" fmla="*/ 237 h 771"/>
              <a:gd name="T28" fmla="*/ 75 w 609"/>
              <a:gd name="T29" fmla="*/ 181 h 771"/>
              <a:gd name="T30" fmla="*/ 54 w 609"/>
              <a:gd name="T31" fmla="*/ 132 h 771"/>
              <a:gd name="T32" fmla="*/ 27 w 609"/>
              <a:gd name="T33" fmla="*/ 88 h 771"/>
              <a:gd name="T34" fmla="*/ 4 w 609"/>
              <a:gd name="T35" fmla="*/ 44 h 771"/>
              <a:gd name="T36" fmla="*/ 15 w 609"/>
              <a:gd name="T37" fmla="*/ 33 h 771"/>
              <a:gd name="T38" fmla="*/ 25 w 609"/>
              <a:gd name="T39" fmla="*/ 19 h 771"/>
              <a:gd name="T40" fmla="*/ 139 w 609"/>
              <a:gd name="T41" fmla="*/ 0 h 771"/>
              <a:gd name="T42" fmla="*/ 141 w 609"/>
              <a:gd name="T43" fmla="*/ 8 h 771"/>
              <a:gd name="T44" fmla="*/ 145 w 609"/>
              <a:gd name="T45" fmla="*/ 17 h 771"/>
              <a:gd name="T46" fmla="*/ 170 w 609"/>
              <a:gd name="T47" fmla="*/ 27 h 771"/>
              <a:gd name="T48" fmla="*/ 212 w 609"/>
              <a:gd name="T49" fmla="*/ 42 h 771"/>
              <a:gd name="T50" fmla="*/ 250 w 609"/>
              <a:gd name="T51" fmla="*/ 56 h 771"/>
              <a:gd name="T52" fmla="*/ 288 w 609"/>
              <a:gd name="T53" fmla="*/ 77 h 771"/>
              <a:gd name="T54" fmla="*/ 366 w 609"/>
              <a:gd name="T55" fmla="*/ 92 h 771"/>
              <a:gd name="T56" fmla="*/ 391 w 609"/>
              <a:gd name="T57" fmla="*/ 101 h 771"/>
              <a:gd name="T58" fmla="*/ 422 w 609"/>
              <a:gd name="T59" fmla="*/ 107 h 771"/>
              <a:gd name="T60" fmla="*/ 441 w 609"/>
              <a:gd name="T61" fmla="*/ 99 h 771"/>
              <a:gd name="T62" fmla="*/ 464 w 609"/>
              <a:gd name="T63" fmla="*/ 78 h 771"/>
              <a:gd name="T64" fmla="*/ 487 w 609"/>
              <a:gd name="T65" fmla="*/ 52 h 771"/>
              <a:gd name="T66" fmla="*/ 513 w 609"/>
              <a:gd name="T67" fmla="*/ 36 h 771"/>
              <a:gd name="T68" fmla="*/ 536 w 609"/>
              <a:gd name="T69" fmla="*/ 40 h 771"/>
              <a:gd name="T70" fmla="*/ 553 w 609"/>
              <a:gd name="T71" fmla="*/ 56 h 771"/>
              <a:gd name="T72" fmla="*/ 572 w 609"/>
              <a:gd name="T73" fmla="*/ 59 h 771"/>
              <a:gd name="T74" fmla="*/ 593 w 609"/>
              <a:gd name="T75" fmla="*/ 57 h 771"/>
              <a:gd name="T76" fmla="*/ 609 w 609"/>
              <a:gd name="T77" fmla="*/ 54 h 771"/>
              <a:gd name="T78" fmla="*/ 603 w 609"/>
              <a:gd name="T79" fmla="*/ 82 h 771"/>
              <a:gd name="T80" fmla="*/ 588 w 609"/>
              <a:gd name="T81" fmla="*/ 109 h 771"/>
              <a:gd name="T82" fmla="*/ 569 w 609"/>
              <a:gd name="T83" fmla="*/ 132 h 771"/>
              <a:gd name="T84" fmla="*/ 549 w 609"/>
              <a:gd name="T85" fmla="*/ 147 h 771"/>
              <a:gd name="T86" fmla="*/ 597 w 609"/>
              <a:gd name="T87" fmla="*/ 523 h 771"/>
              <a:gd name="T88" fmla="*/ 586 w 609"/>
              <a:gd name="T89" fmla="*/ 540 h 771"/>
              <a:gd name="T90" fmla="*/ 567 w 609"/>
              <a:gd name="T91" fmla="*/ 561 h 771"/>
              <a:gd name="T92" fmla="*/ 548 w 609"/>
              <a:gd name="T93" fmla="*/ 580 h 771"/>
              <a:gd name="T94" fmla="*/ 538 w 609"/>
              <a:gd name="T95" fmla="*/ 588 h 771"/>
              <a:gd name="T96" fmla="*/ 509 w 609"/>
              <a:gd name="T97" fmla="*/ 605 h 771"/>
              <a:gd name="T98" fmla="*/ 490 w 609"/>
              <a:gd name="T99" fmla="*/ 637 h 771"/>
              <a:gd name="T100" fmla="*/ 485 w 609"/>
              <a:gd name="T101" fmla="*/ 664 h 771"/>
              <a:gd name="T102" fmla="*/ 466 w 609"/>
              <a:gd name="T103" fmla="*/ 702 h 771"/>
              <a:gd name="T104" fmla="*/ 441 w 609"/>
              <a:gd name="T105" fmla="*/ 739 h 771"/>
              <a:gd name="T106" fmla="*/ 416 w 609"/>
              <a:gd name="T107" fmla="*/ 767 h 771"/>
              <a:gd name="T108" fmla="*/ 288 w 609"/>
              <a:gd name="T109" fmla="*/ 672 h 771"/>
              <a:gd name="T110" fmla="*/ 292 w 609"/>
              <a:gd name="T111" fmla="*/ 655 h 771"/>
              <a:gd name="T112" fmla="*/ 6 w 609"/>
              <a:gd name="T113" fmla="*/ 479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9" h="771">
                <a:moveTo>
                  <a:pt x="6" y="479"/>
                </a:moveTo>
                <a:lnTo>
                  <a:pt x="0" y="475"/>
                </a:lnTo>
                <a:lnTo>
                  <a:pt x="0" y="475"/>
                </a:lnTo>
                <a:lnTo>
                  <a:pt x="4" y="471"/>
                </a:lnTo>
                <a:lnTo>
                  <a:pt x="6" y="468"/>
                </a:lnTo>
                <a:lnTo>
                  <a:pt x="8" y="460"/>
                </a:lnTo>
                <a:lnTo>
                  <a:pt x="8" y="454"/>
                </a:lnTo>
                <a:lnTo>
                  <a:pt x="10" y="447"/>
                </a:lnTo>
                <a:lnTo>
                  <a:pt x="12" y="441"/>
                </a:lnTo>
                <a:lnTo>
                  <a:pt x="15" y="435"/>
                </a:lnTo>
                <a:lnTo>
                  <a:pt x="21" y="431"/>
                </a:lnTo>
                <a:lnTo>
                  <a:pt x="21" y="431"/>
                </a:lnTo>
                <a:lnTo>
                  <a:pt x="27" y="429"/>
                </a:lnTo>
                <a:lnTo>
                  <a:pt x="33" y="428"/>
                </a:lnTo>
                <a:lnTo>
                  <a:pt x="38" y="428"/>
                </a:lnTo>
                <a:lnTo>
                  <a:pt x="42" y="428"/>
                </a:lnTo>
                <a:lnTo>
                  <a:pt x="48" y="426"/>
                </a:lnTo>
                <a:lnTo>
                  <a:pt x="54" y="426"/>
                </a:lnTo>
                <a:lnTo>
                  <a:pt x="57" y="422"/>
                </a:lnTo>
                <a:lnTo>
                  <a:pt x="63" y="416"/>
                </a:lnTo>
                <a:lnTo>
                  <a:pt x="63" y="416"/>
                </a:lnTo>
                <a:lnTo>
                  <a:pt x="57" y="412"/>
                </a:lnTo>
                <a:lnTo>
                  <a:pt x="52" y="410"/>
                </a:lnTo>
                <a:lnTo>
                  <a:pt x="46" y="410"/>
                </a:lnTo>
                <a:lnTo>
                  <a:pt x="38" y="412"/>
                </a:lnTo>
                <a:lnTo>
                  <a:pt x="31" y="412"/>
                </a:lnTo>
                <a:lnTo>
                  <a:pt x="23" y="412"/>
                </a:lnTo>
                <a:lnTo>
                  <a:pt x="13" y="410"/>
                </a:lnTo>
                <a:lnTo>
                  <a:pt x="2" y="408"/>
                </a:lnTo>
                <a:lnTo>
                  <a:pt x="2" y="408"/>
                </a:lnTo>
                <a:lnTo>
                  <a:pt x="2" y="405"/>
                </a:lnTo>
                <a:lnTo>
                  <a:pt x="2" y="401"/>
                </a:lnTo>
                <a:lnTo>
                  <a:pt x="4" y="397"/>
                </a:lnTo>
                <a:lnTo>
                  <a:pt x="4" y="393"/>
                </a:lnTo>
                <a:lnTo>
                  <a:pt x="4" y="391"/>
                </a:lnTo>
                <a:lnTo>
                  <a:pt x="4" y="387"/>
                </a:lnTo>
                <a:lnTo>
                  <a:pt x="6" y="382"/>
                </a:lnTo>
                <a:lnTo>
                  <a:pt x="6" y="378"/>
                </a:lnTo>
                <a:lnTo>
                  <a:pt x="6" y="378"/>
                </a:lnTo>
                <a:lnTo>
                  <a:pt x="10" y="368"/>
                </a:lnTo>
                <a:lnTo>
                  <a:pt x="15" y="359"/>
                </a:lnTo>
                <a:lnTo>
                  <a:pt x="21" y="349"/>
                </a:lnTo>
                <a:lnTo>
                  <a:pt x="27" y="342"/>
                </a:lnTo>
                <a:lnTo>
                  <a:pt x="33" y="334"/>
                </a:lnTo>
                <a:lnTo>
                  <a:pt x="38" y="326"/>
                </a:lnTo>
                <a:lnTo>
                  <a:pt x="46" y="319"/>
                </a:lnTo>
                <a:lnTo>
                  <a:pt x="52" y="311"/>
                </a:lnTo>
                <a:lnTo>
                  <a:pt x="57" y="304"/>
                </a:lnTo>
                <a:lnTo>
                  <a:pt x="63" y="296"/>
                </a:lnTo>
                <a:lnTo>
                  <a:pt x="69" y="286"/>
                </a:lnTo>
                <a:lnTo>
                  <a:pt x="75" y="279"/>
                </a:lnTo>
                <a:lnTo>
                  <a:pt x="78" y="269"/>
                </a:lnTo>
                <a:lnTo>
                  <a:pt x="80" y="260"/>
                </a:lnTo>
                <a:lnTo>
                  <a:pt x="82" y="248"/>
                </a:lnTo>
                <a:lnTo>
                  <a:pt x="84" y="237"/>
                </a:lnTo>
                <a:lnTo>
                  <a:pt x="84" y="237"/>
                </a:lnTo>
                <a:lnTo>
                  <a:pt x="82" y="222"/>
                </a:lnTo>
                <a:lnTo>
                  <a:pt x="80" y="208"/>
                </a:lnTo>
                <a:lnTo>
                  <a:pt x="78" y="195"/>
                </a:lnTo>
                <a:lnTo>
                  <a:pt x="75" y="181"/>
                </a:lnTo>
                <a:lnTo>
                  <a:pt x="71" y="170"/>
                </a:lnTo>
                <a:lnTo>
                  <a:pt x="65" y="157"/>
                </a:lnTo>
                <a:lnTo>
                  <a:pt x="59" y="145"/>
                </a:lnTo>
                <a:lnTo>
                  <a:pt x="54" y="132"/>
                </a:lnTo>
                <a:lnTo>
                  <a:pt x="46" y="120"/>
                </a:lnTo>
                <a:lnTo>
                  <a:pt x="40" y="109"/>
                </a:lnTo>
                <a:lnTo>
                  <a:pt x="33" y="98"/>
                </a:lnTo>
                <a:lnTo>
                  <a:pt x="27" y="88"/>
                </a:lnTo>
                <a:lnTo>
                  <a:pt x="19" y="77"/>
                </a:lnTo>
                <a:lnTo>
                  <a:pt x="13" y="65"/>
                </a:lnTo>
                <a:lnTo>
                  <a:pt x="10" y="56"/>
                </a:lnTo>
                <a:lnTo>
                  <a:pt x="4" y="44"/>
                </a:lnTo>
                <a:lnTo>
                  <a:pt x="4" y="44"/>
                </a:lnTo>
                <a:lnTo>
                  <a:pt x="8" y="40"/>
                </a:lnTo>
                <a:lnTo>
                  <a:pt x="12" y="36"/>
                </a:lnTo>
                <a:lnTo>
                  <a:pt x="15" y="33"/>
                </a:lnTo>
                <a:lnTo>
                  <a:pt x="17" y="29"/>
                </a:lnTo>
                <a:lnTo>
                  <a:pt x="21" y="27"/>
                </a:lnTo>
                <a:lnTo>
                  <a:pt x="23" y="23"/>
                </a:lnTo>
                <a:lnTo>
                  <a:pt x="25" y="19"/>
                </a:lnTo>
                <a:lnTo>
                  <a:pt x="27" y="17"/>
                </a:lnTo>
                <a:lnTo>
                  <a:pt x="145" y="17"/>
                </a:lnTo>
                <a:lnTo>
                  <a:pt x="139" y="0"/>
                </a:lnTo>
                <a:lnTo>
                  <a:pt x="139" y="0"/>
                </a:lnTo>
                <a:lnTo>
                  <a:pt x="139" y="0"/>
                </a:lnTo>
                <a:lnTo>
                  <a:pt x="139" y="2"/>
                </a:lnTo>
                <a:lnTo>
                  <a:pt x="139" y="4"/>
                </a:lnTo>
                <a:lnTo>
                  <a:pt x="141" y="8"/>
                </a:lnTo>
                <a:lnTo>
                  <a:pt x="141" y="10"/>
                </a:lnTo>
                <a:lnTo>
                  <a:pt x="143" y="12"/>
                </a:lnTo>
                <a:lnTo>
                  <a:pt x="143" y="14"/>
                </a:lnTo>
                <a:lnTo>
                  <a:pt x="145" y="17"/>
                </a:lnTo>
                <a:lnTo>
                  <a:pt x="145" y="17"/>
                </a:lnTo>
                <a:lnTo>
                  <a:pt x="145" y="17"/>
                </a:lnTo>
                <a:lnTo>
                  <a:pt x="158" y="23"/>
                </a:lnTo>
                <a:lnTo>
                  <a:pt x="170" y="27"/>
                </a:lnTo>
                <a:lnTo>
                  <a:pt x="181" y="31"/>
                </a:lnTo>
                <a:lnTo>
                  <a:pt x="193" y="35"/>
                </a:lnTo>
                <a:lnTo>
                  <a:pt x="202" y="38"/>
                </a:lnTo>
                <a:lnTo>
                  <a:pt x="212" y="42"/>
                </a:lnTo>
                <a:lnTo>
                  <a:pt x="221" y="44"/>
                </a:lnTo>
                <a:lnTo>
                  <a:pt x="231" y="48"/>
                </a:lnTo>
                <a:lnTo>
                  <a:pt x="240" y="52"/>
                </a:lnTo>
                <a:lnTo>
                  <a:pt x="250" y="56"/>
                </a:lnTo>
                <a:lnTo>
                  <a:pt x="260" y="59"/>
                </a:lnTo>
                <a:lnTo>
                  <a:pt x="269" y="65"/>
                </a:lnTo>
                <a:lnTo>
                  <a:pt x="279" y="71"/>
                </a:lnTo>
                <a:lnTo>
                  <a:pt x="288" y="77"/>
                </a:lnTo>
                <a:lnTo>
                  <a:pt x="298" y="84"/>
                </a:lnTo>
                <a:lnTo>
                  <a:pt x="307" y="92"/>
                </a:lnTo>
                <a:lnTo>
                  <a:pt x="366" y="92"/>
                </a:lnTo>
                <a:lnTo>
                  <a:pt x="366" y="92"/>
                </a:lnTo>
                <a:lnTo>
                  <a:pt x="372" y="96"/>
                </a:lnTo>
                <a:lnTo>
                  <a:pt x="378" y="98"/>
                </a:lnTo>
                <a:lnTo>
                  <a:pt x="384" y="99"/>
                </a:lnTo>
                <a:lnTo>
                  <a:pt x="391" y="101"/>
                </a:lnTo>
                <a:lnTo>
                  <a:pt x="399" y="103"/>
                </a:lnTo>
                <a:lnTo>
                  <a:pt x="408" y="105"/>
                </a:lnTo>
                <a:lnTo>
                  <a:pt x="414" y="105"/>
                </a:lnTo>
                <a:lnTo>
                  <a:pt x="422" y="107"/>
                </a:lnTo>
                <a:lnTo>
                  <a:pt x="422" y="107"/>
                </a:lnTo>
                <a:lnTo>
                  <a:pt x="429" y="105"/>
                </a:lnTo>
                <a:lnTo>
                  <a:pt x="435" y="103"/>
                </a:lnTo>
                <a:lnTo>
                  <a:pt x="441" y="99"/>
                </a:lnTo>
                <a:lnTo>
                  <a:pt x="448" y="96"/>
                </a:lnTo>
                <a:lnTo>
                  <a:pt x="452" y="90"/>
                </a:lnTo>
                <a:lnTo>
                  <a:pt x="458" y="84"/>
                </a:lnTo>
                <a:lnTo>
                  <a:pt x="464" y="78"/>
                </a:lnTo>
                <a:lnTo>
                  <a:pt x="469" y="71"/>
                </a:lnTo>
                <a:lnTo>
                  <a:pt x="475" y="65"/>
                </a:lnTo>
                <a:lnTo>
                  <a:pt x="481" y="57"/>
                </a:lnTo>
                <a:lnTo>
                  <a:pt x="487" y="52"/>
                </a:lnTo>
                <a:lnTo>
                  <a:pt x="492" y="48"/>
                </a:lnTo>
                <a:lnTo>
                  <a:pt x="500" y="42"/>
                </a:lnTo>
                <a:lnTo>
                  <a:pt x="508" y="38"/>
                </a:lnTo>
                <a:lnTo>
                  <a:pt x="513" y="36"/>
                </a:lnTo>
                <a:lnTo>
                  <a:pt x="523" y="36"/>
                </a:lnTo>
                <a:lnTo>
                  <a:pt x="523" y="36"/>
                </a:lnTo>
                <a:lnTo>
                  <a:pt x="530" y="36"/>
                </a:lnTo>
                <a:lnTo>
                  <a:pt x="536" y="40"/>
                </a:lnTo>
                <a:lnTo>
                  <a:pt x="540" y="44"/>
                </a:lnTo>
                <a:lnTo>
                  <a:pt x="544" y="48"/>
                </a:lnTo>
                <a:lnTo>
                  <a:pt x="548" y="52"/>
                </a:lnTo>
                <a:lnTo>
                  <a:pt x="553" y="56"/>
                </a:lnTo>
                <a:lnTo>
                  <a:pt x="559" y="57"/>
                </a:lnTo>
                <a:lnTo>
                  <a:pt x="569" y="59"/>
                </a:lnTo>
                <a:lnTo>
                  <a:pt x="569" y="59"/>
                </a:lnTo>
                <a:lnTo>
                  <a:pt x="572" y="59"/>
                </a:lnTo>
                <a:lnTo>
                  <a:pt x="578" y="59"/>
                </a:lnTo>
                <a:lnTo>
                  <a:pt x="584" y="57"/>
                </a:lnTo>
                <a:lnTo>
                  <a:pt x="590" y="57"/>
                </a:lnTo>
                <a:lnTo>
                  <a:pt x="593" y="57"/>
                </a:lnTo>
                <a:lnTo>
                  <a:pt x="599" y="57"/>
                </a:lnTo>
                <a:lnTo>
                  <a:pt x="605" y="56"/>
                </a:lnTo>
                <a:lnTo>
                  <a:pt x="609" y="54"/>
                </a:lnTo>
                <a:lnTo>
                  <a:pt x="609" y="54"/>
                </a:lnTo>
                <a:lnTo>
                  <a:pt x="609" y="61"/>
                </a:lnTo>
                <a:lnTo>
                  <a:pt x="607" y="67"/>
                </a:lnTo>
                <a:lnTo>
                  <a:pt x="607" y="75"/>
                </a:lnTo>
                <a:lnTo>
                  <a:pt x="603" y="82"/>
                </a:lnTo>
                <a:lnTo>
                  <a:pt x="601" y="88"/>
                </a:lnTo>
                <a:lnTo>
                  <a:pt x="597" y="96"/>
                </a:lnTo>
                <a:lnTo>
                  <a:pt x="593" y="103"/>
                </a:lnTo>
                <a:lnTo>
                  <a:pt x="588" y="109"/>
                </a:lnTo>
                <a:lnTo>
                  <a:pt x="584" y="117"/>
                </a:lnTo>
                <a:lnTo>
                  <a:pt x="578" y="122"/>
                </a:lnTo>
                <a:lnTo>
                  <a:pt x="574" y="128"/>
                </a:lnTo>
                <a:lnTo>
                  <a:pt x="569" y="132"/>
                </a:lnTo>
                <a:lnTo>
                  <a:pt x="565" y="138"/>
                </a:lnTo>
                <a:lnTo>
                  <a:pt x="559" y="141"/>
                </a:lnTo>
                <a:lnTo>
                  <a:pt x="555" y="145"/>
                </a:lnTo>
                <a:lnTo>
                  <a:pt x="549" y="147"/>
                </a:lnTo>
                <a:lnTo>
                  <a:pt x="549" y="449"/>
                </a:lnTo>
                <a:lnTo>
                  <a:pt x="599" y="519"/>
                </a:lnTo>
                <a:lnTo>
                  <a:pt x="599" y="519"/>
                </a:lnTo>
                <a:lnTo>
                  <a:pt x="597" y="523"/>
                </a:lnTo>
                <a:lnTo>
                  <a:pt x="595" y="527"/>
                </a:lnTo>
                <a:lnTo>
                  <a:pt x="593" y="531"/>
                </a:lnTo>
                <a:lnTo>
                  <a:pt x="590" y="534"/>
                </a:lnTo>
                <a:lnTo>
                  <a:pt x="586" y="540"/>
                </a:lnTo>
                <a:lnTo>
                  <a:pt x="582" y="546"/>
                </a:lnTo>
                <a:lnTo>
                  <a:pt x="576" y="550"/>
                </a:lnTo>
                <a:lnTo>
                  <a:pt x="572" y="555"/>
                </a:lnTo>
                <a:lnTo>
                  <a:pt x="567" y="561"/>
                </a:lnTo>
                <a:lnTo>
                  <a:pt x="563" y="565"/>
                </a:lnTo>
                <a:lnTo>
                  <a:pt x="557" y="571"/>
                </a:lnTo>
                <a:lnTo>
                  <a:pt x="553" y="574"/>
                </a:lnTo>
                <a:lnTo>
                  <a:pt x="548" y="580"/>
                </a:lnTo>
                <a:lnTo>
                  <a:pt x="544" y="584"/>
                </a:lnTo>
                <a:lnTo>
                  <a:pt x="542" y="586"/>
                </a:lnTo>
                <a:lnTo>
                  <a:pt x="538" y="588"/>
                </a:lnTo>
                <a:lnTo>
                  <a:pt x="538" y="588"/>
                </a:lnTo>
                <a:lnTo>
                  <a:pt x="532" y="594"/>
                </a:lnTo>
                <a:lnTo>
                  <a:pt x="525" y="597"/>
                </a:lnTo>
                <a:lnTo>
                  <a:pt x="517" y="601"/>
                </a:lnTo>
                <a:lnTo>
                  <a:pt x="509" y="605"/>
                </a:lnTo>
                <a:lnTo>
                  <a:pt x="504" y="613"/>
                </a:lnTo>
                <a:lnTo>
                  <a:pt x="498" y="618"/>
                </a:lnTo>
                <a:lnTo>
                  <a:pt x="494" y="628"/>
                </a:lnTo>
                <a:lnTo>
                  <a:pt x="490" y="637"/>
                </a:lnTo>
                <a:lnTo>
                  <a:pt x="490" y="637"/>
                </a:lnTo>
                <a:lnTo>
                  <a:pt x="488" y="647"/>
                </a:lnTo>
                <a:lnTo>
                  <a:pt x="487" y="655"/>
                </a:lnTo>
                <a:lnTo>
                  <a:pt x="485" y="664"/>
                </a:lnTo>
                <a:lnTo>
                  <a:pt x="481" y="674"/>
                </a:lnTo>
                <a:lnTo>
                  <a:pt x="475" y="683"/>
                </a:lnTo>
                <a:lnTo>
                  <a:pt x="471" y="693"/>
                </a:lnTo>
                <a:lnTo>
                  <a:pt x="466" y="702"/>
                </a:lnTo>
                <a:lnTo>
                  <a:pt x="460" y="712"/>
                </a:lnTo>
                <a:lnTo>
                  <a:pt x="454" y="721"/>
                </a:lnTo>
                <a:lnTo>
                  <a:pt x="448" y="729"/>
                </a:lnTo>
                <a:lnTo>
                  <a:pt x="441" y="739"/>
                </a:lnTo>
                <a:lnTo>
                  <a:pt x="435" y="746"/>
                </a:lnTo>
                <a:lnTo>
                  <a:pt x="429" y="754"/>
                </a:lnTo>
                <a:lnTo>
                  <a:pt x="422" y="759"/>
                </a:lnTo>
                <a:lnTo>
                  <a:pt x="416" y="767"/>
                </a:lnTo>
                <a:lnTo>
                  <a:pt x="410" y="771"/>
                </a:lnTo>
                <a:lnTo>
                  <a:pt x="286" y="677"/>
                </a:lnTo>
                <a:lnTo>
                  <a:pt x="286" y="677"/>
                </a:lnTo>
                <a:lnTo>
                  <a:pt x="288" y="672"/>
                </a:lnTo>
                <a:lnTo>
                  <a:pt x="290" y="668"/>
                </a:lnTo>
                <a:lnTo>
                  <a:pt x="290" y="664"/>
                </a:lnTo>
                <a:lnTo>
                  <a:pt x="292" y="658"/>
                </a:lnTo>
                <a:lnTo>
                  <a:pt x="292" y="655"/>
                </a:lnTo>
                <a:lnTo>
                  <a:pt x="294" y="651"/>
                </a:lnTo>
                <a:lnTo>
                  <a:pt x="296" y="647"/>
                </a:lnTo>
                <a:lnTo>
                  <a:pt x="296" y="641"/>
                </a:lnTo>
                <a:lnTo>
                  <a:pt x="6" y="479"/>
                </a:lnTo>
              </a:path>
            </a:pathLst>
          </a:custGeom>
          <a:solidFill>
            <a:srgbClr val="003366"/>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 name="Freeform 8"/>
          <p:cNvSpPr>
            <a:spLocks/>
          </p:cNvSpPr>
          <p:nvPr/>
        </p:nvSpPr>
        <p:spPr bwMode="auto">
          <a:xfrm>
            <a:off x="3870325" y="4013102"/>
            <a:ext cx="147638" cy="119063"/>
          </a:xfrm>
          <a:custGeom>
            <a:avLst/>
            <a:gdLst>
              <a:gd name="T0" fmla="*/ 124 w 164"/>
              <a:gd name="T1" fmla="*/ 100 h 136"/>
              <a:gd name="T2" fmla="*/ 126 w 164"/>
              <a:gd name="T3" fmla="*/ 100 h 136"/>
              <a:gd name="T4" fmla="*/ 132 w 164"/>
              <a:gd name="T5" fmla="*/ 100 h 136"/>
              <a:gd name="T6" fmla="*/ 137 w 164"/>
              <a:gd name="T7" fmla="*/ 100 h 136"/>
              <a:gd name="T8" fmla="*/ 145 w 164"/>
              <a:gd name="T9" fmla="*/ 100 h 136"/>
              <a:gd name="T10" fmla="*/ 151 w 164"/>
              <a:gd name="T11" fmla="*/ 100 h 136"/>
              <a:gd name="T12" fmla="*/ 156 w 164"/>
              <a:gd name="T13" fmla="*/ 96 h 136"/>
              <a:gd name="T14" fmla="*/ 162 w 164"/>
              <a:gd name="T15" fmla="*/ 88 h 136"/>
              <a:gd name="T16" fmla="*/ 164 w 164"/>
              <a:gd name="T17" fmla="*/ 77 h 136"/>
              <a:gd name="T18" fmla="*/ 164 w 164"/>
              <a:gd name="T19" fmla="*/ 71 h 136"/>
              <a:gd name="T20" fmla="*/ 162 w 164"/>
              <a:gd name="T21" fmla="*/ 65 h 136"/>
              <a:gd name="T22" fmla="*/ 158 w 164"/>
              <a:gd name="T23" fmla="*/ 61 h 136"/>
              <a:gd name="T24" fmla="*/ 155 w 164"/>
              <a:gd name="T25" fmla="*/ 56 h 136"/>
              <a:gd name="T26" fmla="*/ 153 w 164"/>
              <a:gd name="T27" fmla="*/ 48 h 136"/>
              <a:gd name="T28" fmla="*/ 153 w 164"/>
              <a:gd name="T29" fmla="*/ 40 h 136"/>
              <a:gd name="T30" fmla="*/ 147 w 164"/>
              <a:gd name="T31" fmla="*/ 27 h 136"/>
              <a:gd name="T32" fmla="*/ 139 w 164"/>
              <a:gd name="T33" fmla="*/ 17 h 136"/>
              <a:gd name="T34" fmla="*/ 132 w 164"/>
              <a:gd name="T35" fmla="*/ 6 h 136"/>
              <a:gd name="T36" fmla="*/ 128 w 164"/>
              <a:gd name="T37" fmla="*/ 0 h 136"/>
              <a:gd name="T38" fmla="*/ 116 w 164"/>
              <a:gd name="T39" fmla="*/ 6 h 136"/>
              <a:gd name="T40" fmla="*/ 109 w 164"/>
              <a:gd name="T41" fmla="*/ 14 h 136"/>
              <a:gd name="T42" fmla="*/ 99 w 164"/>
              <a:gd name="T43" fmla="*/ 19 h 136"/>
              <a:gd name="T44" fmla="*/ 86 w 164"/>
              <a:gd name="T45" fmla="*/ 23 h 136"/>
              <a:gd name="T46" fmla="*/ 84 w 164"/>
              <a:gd name="T47" fmla="*/ 23 h 136"/>
              <a:gd name="T48" fmla="*/ 78 w 164"/>
              <a:gd name="T49" fmla="*/ 17 h 136"/>
              <a:gd name="T50" fmla="*/ 74 w 164"/>
              <a:gd name="T51" fmla="*/ 17 h 136"/>
              <a:gd name="T52" fmla="*/ 57 w 164"/>
              <a:gd name="T53" fmla="*/ 21 h 136"/>
              <a:gd name="T54" fmla="*/ 42 w 164"/>
              <a:gd name="T55" fmla="*/ 33 h 136"/>
              <a:gd name="T56" fmla="*/ 29 w 164"/>
              <a:gd name="T57" fmla="*/ 46 h 136"/>
              <a:gd name="T58" fmla="*/ 25 w 164"/>
              <a:gd name="T59" fmla="*/ 61 h 136"/>
              <a:gd name="T60" fmla="*/ 25 w 164"/>
              <a:gd name="T61" fmla="*/ 65 h 136"/>
              <a:gd name="T62" fmla="*/ 27 w 164"/>
              <a:gd name="T63" fmla="*/ 71 h 136"/>
              <a:gd name="T64" fmla="*/ 27 w 164"/>
              <a:gd name="T65" fmla="*/ 77 h 136"/>
              <a:gd name="T66" fmla="*/ 25 w 164"/>
              <a:gd name="T67" fmla="*/ 82 h 136"/>
              <a:gd name="T68" fmla="*/ 23 w 164"/>
              <a:gd name="T69" fmla="*/ 84 h 136"/>
              <a:gd name="T70" fmla="*/ 15 w 164"/>
              <a:gd name="T71" fmla="*/ 88 h 136"/>
              <a:gd name="T72" fmla="*/ 8 w 164"/>
              <a:gd name="T73" fmla="*/ 92 h 136"/>
              <a:gd name="T74" fmla="*/ 4 w 164"/>
              <a:gd name="T75" fmla="*/ 100 h 136"/>
              <a:gd name="T76" fmla="*/ 0 w 164"/>
              <a:gd name="T77" fmla="*/ 111 h 136"/>
              <a:gd name="T78" fmla="*/ 2 w 164"/>
              <a:gd name="T79" fmla="*/ 115 h 136"/>
              <a:gd name="T80" fmla="*/ 4 w 164"/>
              <a:gd name="T81" fmla="*/ 121 h 136"/>
              <a:gd name="T82" fmla="*/ 6 w 164"/>
              <a:gd name="T83" fmla="*/ 124 h 136"/>
              <a:gd name="T84" fmla="*/ 10 w 164"/>
              <a:gd name="T85" fmla="*/ 130 h 136"/>
              <a:gd name="T86" fmla="*/ 11 w 164"/>
              <a:gd name="T87" fmla="*/ 132 h 136"/>
              <a:gd name="T88" fmla="*/ 11 w 164"/>
              <a:gd name="T89" fmla="*/ 130 h 136"/>
              <a:gd name="T90" fmla="*/ 13 w 164"/>
              <a:gd name="T91" fmla="*/ 126 h 136"/>
              <a:gd name="T92" fmla="*/ 17 w 164"/>
              <a:gd name="T93" fmla="*/ 122 h 136"/>
              <a:gd name="T94" fmla="*/ 23 w 164"/>
              <a:gd name="T95" fmla="*/ 121 h 136"/>
              <a:gd name="T96" fmla="*/ 25 w 164"/>
              <a:gd name="T97" fmla="*/ 121 h 136"/>
              <a:gd name="T98" fmla="*/ 34 w 164"/>
              <a:gd name="T99" fmla="*/ 122 h 136"/>
              <a:gd name="T100" fmla="*/ 40 w 164"/>
              <a:gd name="T101" fmla="*/ 128 h 136"/>
              <a:gd name="T102" fmla="*/ 48 w 164"/>
              <a:gd name="T103" fmla="*/ 134 h 136"/>
              <a:gd name="T104" fmla="*/ 57 w 164"/>
              <a:gd name="T105" fmla="*/ 136 h 136"/>
              <a:gd name="T106" fmla="*/ 69 w 164"/>
              <a:gd name="T107" fmla="*/ 136 h 136"/>
              <a:gd name="T108" fmla="*/ 84 w 164"/>
              <a:gd name="T109" fmla="*/ 124 h 136"/>
              <a:gd name="T110" fmla="*/ 93 w 164"/>
              <a:gd name="T111" fmla="*/ 109 h 136"/>
              <a:gd name="T112" fmla="*/ 107 w 164"/>
              <a:gd name="T113" fmla="*/ 98 h 136"/>
              <a:gd name="T114" fmla="*/ 118 w 164"/>
              <a:gd name="T115" fmla="*/ 96 h 136"/>
              <a:gd name="T116" fmla="*/ 124 w 164"/>
              <a:gd name="T117" fmla="*/ 98 h 136"/>
              <a:gd name="T118" fmla="*/ 128 w 164"/>
              <a:gd name="T119" fmla="*/ 10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4" h="136">
                <a:moveTo>
                  <a:pt x="124" y="100"/>
                </a:moveTo>
                <a:lnTo>
                  <a:pt x="124" y="100"/>
                </a:lnTo>
                <a:lnTo>
                  <a:pt x="126" y="100"/>
                </a:lnTo>
                <a:lnTo>
                  <a:pt x="126" y="100"/>
                </a:lnTo>
                <a:lnTo>
                  <a:pt x="128" y="100"/>
                </a:lnTo>
                <a:lnTo>
                  <a:pt x="132" y="100"/>
                </a:lnTo>
                <a:lnTo>
                  <a:pt x="134" y="100"/>
                </a:lnTo>
                <a:lnTo>
                  <a:pt x="137" y="100"/>
                </a:lnTo>
                <a:lnTo>
                  <a:pt x="141" y="100"/>
                </a:lnTo>
                <a:lnTo>
                  <a:pt x="145" y="100"/>
                </a:lnTo>
                <a:lnTo>
                  <a:pt x="145" y="100"/>
                </a:lnTo>
                <a:lnTo>
                  <a:pt x="151" y="100"/>
                </a:lnTo>
                <a:lnTo>
                  <a:pt x="155" y="98"/>
                </a:lnTo>
                <a:lnTo>
                  <a:pt x="156" y="96"/>
                </a:lnTo>
                <a:lnTo>
                  <a:pt x="160" y="92"/>
                </a:lnTo>
                <a:lnTo>
                  <a:pt x="162" y="88"/>
                </a:lnTo>
                <a:lnTo>
                  <a:pt x="162" y="84"/>
                </a:lnTo>
                <a:lnTo>
                  <a:pt x="164" y="77"/>
                </a:lnTo>
                <a:lnTo>
                  <a:pt x="164" y="71"/>
                </a:lnTo>
                <a:lnTo>
                  <a:pt x="164" y="71"/>
                </a:lnTo>
                <a:lnTo>
                  <a:pt x="164" y="69"/>
                </a:lnTo>
                <a:lnTo>
                  <a:pt x="162" y="65"/>
                </a:lnTo>
                <a:lnTo>
                  <a:pt x="160" y="63"/>
                </a:lnTo>
                <a:lnTo>
                  <a:pt x="158" y="61"/>
                </a:lnTo>
                <a:lnTo>
                  <a:pt x="156" y="59"/>
                </a:lnTo>
                <a:lnTo>
                  <a:pt x="155" y="56"/>
                </a:lnTo>
                <a:lnTo>
                  <a:pt x="155" y="52"/>
                </a:lnTo>
                <a:lnTo>
                  <a:pt x="153" y="48"/>
                </a:lnTo>
                <a:lnTo>
                  <a:pt x="153" y="48"/>
                </a:lnTo>
                <a:lnTo>
                  <a:pt x="153" y="40"/>
                </a:lnTo>
                <a:lnTo>
                  <a:pt x="151" y="33"/>
                </a:lnTo>
                <a:lnTo>
                  <a:pt x="147" y="27"/>
                </a:lnTo>
                <a:lnTo>
                  <a:pt x="143" y="21"/>
                </a:lnTo>
                <a:lnTo>
                  <a:pt x="139" y="17"/>
                </a:lnTo>
                <a:lnTo>
                  <a:pt x="135" y="12"/>
                </a:lnTo>
                <a:lnTo>
                  <a:pt x="132" y="6"/>
                </a:lnTo>
                <a:lnTo>
                  <a:pt x="128" y="0"/>
                </a:lnTo>
                <a:lnTo>
                  <a:pt x="128" y="0"/>
                </a:lnTo>
                <a:lnTo>
                  <a:pt x="122" y="2"/>
                </a:lnTo>
                <a:lnTo>
                  <a:pt x="116" y="6"/>
                </a:lnTo>
                <a:lnTo>
                  <a:pt x="113" y="8"/>
                </a:lnTo>
                <a:lnTo>
                  <a:pt x="109" y="14"/>
                </a:lnTo>
                <a:lnTo>
                  <a:pt x="103" y="17"/>
                </a:lnTo>
                <a:lnTo>
                  <a:pt x="99" y="19"/>
                </a:lnTo>
                <a:lnTo>
                  <a:pt x="93" y="23"/>
                </a:lnTo>
                <a:lnTo>
                  <a:pt x="86" y="23"/>
                </a:lnTo>
                <a:lnTo>
                  <a:pt x="86" y="23"/>
                </a:lnTo>
                <a:lnTo>
                  <a:pt x="84" y="23"/>
                </a:lnTo>
                <a:lnTo>
                  <a:pt x="82" y="21"/>
                </a:lnTo>
                <a:lnTo>
                  <a:pt x="78" y="17"/>
                </a:lnTo>
                <a:lnTo>
                  <a:pt x="74" y="17"/>
                </a:lnTo>
                <a:lnTo>
                  <a:pt x="74" y="17"/>
                </a:lnTo>
                <a:lnTo>
                  <a:pt x="67" y="19"/>
                </a:lnTo>
                <a:lnTo>
                  <a:pt x="57" y="21"/>
                </a:lnTo>
                <a:lnTo>
                  <a:pt x="50" y="27"/>
                </a:lnTo>
                <a:lnTo>
                  <a:pt x="42" y="33"/>
                </a:lnTo>
                <a:lnTo>
                  <a:pt x="34" y="38"/>
                </a:lnTo>
                <a:lnTo>
                  <a:pt x="29" y="46"/>
                </a:lnTo>
                <a:lnTo>
                  <a:pt x="25" y="54"/>
                </a:lnTo>
                <a:lnTo>
                  <a:pt x="25" y="61"/>
                </a:lnTo>
                <a:lnTo>
                  <a:pt x="25" y="61"/>
                </a:lnTo>
                <a:lnTo>
                  <a:pt x="25" y="65"/>
                </a:lnTo>
                <a:lnTo>
                  <a:pt x="25" y="67"/>
                </a:lnTo>
                <a:lnTo>
                  <a:pt x="27" y="71"/>
                </a:lnTo>
                <a:lnTo>
                  <a:pt x="27" y="75"/>
                </a:lnTo>
                <a:lnTo>
                  <a:pt x="27" y="77"/>
                </a:lnTo>
                <a:lnTo>
                  <a:pt x="27" y="80"/>
                </a:lnTo>
                <a:lnTo>
                  <a:pt x="25" y="82"/>
                </a:lnTo>
                <a:lnTo>
                  <a:pt x="23" y="84"/>
                </a:lnTo>
                <a:lnTo>
                  <a:pt x="23" y="84"/>
                </a:lnTo>
                <a:lnTo>
                  <a:pt x="19" y="86"/>
                </a:lnTo>
                <a:lnTo>
                  <a:pt x="15" y="88"/>
                </a:lnTo>
                <a:lnTo>
                  <a:pt x="11" y="90"/>
                </a:lnTo>
                <a:lnTo>
                  <a:pt x="8" y="92"/>
                </a:lnTo>
                <a:lnTo>
                  <a:pt x="6" y="96"/>
                </a:lnTo>
                <a:lnTo>
                  <a:pt x="4" y="100"/>
                </a:lnTo>
                <a:lnTo>
                  <a:pt x="2" y="105"/>
                </a:lnTo>
                <a:lnTo>
                  <a:pt x="0" y="111"/>
                </a:lnTo>
                <a:lnTo>
                  <a:pt x="0" y="111"/>
                </a:lnTo>
                <a:lnTo>
                  <a:pt x="2" y="115"/>
                </a:lnTo>
                <a:lnTo>
                  <a:pt x="2" y="117"/>
                </a:lnTo>
                <a:lnTo>
                  <a:pt x="4" y="121"/>
                </a:lnTo>
                <a:lnTo>
                  <a:pt x="4" y="122"/>
                </a:lnTo>
                <a:lnTo>
                  <a:pt x="6" y="124"/>
                </a:lnTo>
                <a:lnTo>
                  <a:pt x="8" y="128"/>
                </a:lnTo>
                <a:lnTo>
                  <a:pt x="10" y="130"/>
                </a:lnTo>
                <a:lnTo>
                  <a:pt x="11" y="132"/>
                </a:lnTo>
                <a:lnTo>
                  <a:pt x="11" y="132"/>
                </a:lnTo>
                <a:lnTo>
                  <a:pt x="11" y="132"/>
                </a:lnTo>
                <a:lnTo>
                  <a:pt x="11" y="130"/>
                </a:lnTo>
                <a:lnTo>
                  <a:pt x="13" y="128"/>
                </a:lnTo>
                <a:lnTo>
                  <a:pt x="13" y="126"/>
                </a:lnTo>
                <a:lnTo>
                  <a:pt x="15" y="124"/>
                </a:lnTo>
                <a:lnTo>
                  <a:pt x="17" y="122"/>
                </a:lnTo>
                <a:lnTo>
                  <a:pt x="19" y="121"/>
                </a:lnTo>
                <a:lnTo>
                  <a:pt x="23" y="121"/>
                </a:lnTo>
                <a:lnTo>
                  <a:pt x="25" y="121"/>
                </a:lnTo>
                <a:lnTo>
                  <a:pt x="25" y="121"/>
                </a:lnTo>
                <a:lnTo>
                  <a:pt x="29" y="121"/>
                </a:lnTo>
                <a:lnTo>
                  <a:pt x="34" y="122"/>
                </a:lnTo>
                <a:lnTo>
                  <a:pt x="38" y="126"/>
                </a:lnTo>
                <a:lnTo>
                  <a:pt x="40" y="128"/>
                </a:lnTo>
                <a:lnTo>
                  <a:pt x="44" y="132"/>
                </a:lnTo>
                <a:lnTo>
                  <a:pt x="48" y="134"/>
                </a:lnTo>
                <a:lnTo>
                  <a:pt x="53" y="136"/>
                </a:lnTo>
                <a:lnTo>
                  <a:pt x="57" y="136"/>
                </a:lnTo>
                <a:lnTo>
                  <a:pt x="57" y="136"/>
                </a:lnTo>
                <a:lnTo>
                  <a:pt x="69" y="136"/>
                </a:lnTo>
                <a:lnTo>
                  <a:pt x="78" y="130"/>
                </a:lnTo>
                <a:lnTo>
                  <a:pt x="84" y="124"/>
                </a:lnTo>
                <a:lnTo>
                  <a:pt x="88" y="117"/>
                </a:lnTo>
                <a:lnTo>
                  <a:pt x="93" y="109"/>
                </a:lnTo>
                <a:lnTo>
                  <a:pt x="99" y="103"/>
                </a:lnTo>
                <a:lnTo>
                  <a:pt x="107" y="98"/>
                </a:lnTo>
                <a:lnTo>
                  <a:pt x="118" y="96"/>
                </a:lnTo>
                <a:lnTo>
                  <a:pt x="118" y="96"/>
                </a:lnTo>
                <a:lnTo>
                  <a:pt x="122" y="96"/>
                </a:lnTo>
                <a:lnTo>
                  <a:pt x="124" y="98"/>
                </a:lnTo>
                <a:lnTo>
                  <a:pt x="126" y="98"/>
                </a:lnTo>
                <a:lnTo>
                  <a:pt x="128" y="100"/>
                </a:lnTo>
                <a:lnTo>
                  <a:pt x="124" y="100"/>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9" name="Freeform 9"/>
          <p:cNvSpPr>
            <a:spLocks/>
          </p:cNvSpPr>
          <p:nvPr/>
        </p:nvSpPr>
        <p:spPr bwMode="auto">
          <a:xfrm>
            <a:off x="3925888" y="3995639"/>
            <a:ext cx="742950" cy="739775"/>
          </a:xfrm>
          <a:custGeom>
            <a:avLst/>
            <a:gdLst>
              <a:gd name="T0" fmla="*/ 641 w 826"/>
              <a:gd name="T1" fmla="*/ 178 h 849"/>
              <a:gd name="T2" fmla="*/ 341 w 826"/>
              <a:gd name="T3" fmla="*/ 14 h 849"/>
              <a:gd name="T4" fmla="*/ 320 w 826"/>
              <a:gd name="T5" fmla="*/ 52 h 849"/>
              <a:gd name="T6" fmla="*/ 294 w 826"/>
              <a:gd name="T7" fmla="*/ 82 h 849"/>
              <a:gd name="T8" fmla="*/ 319 w 826"/>
              <a:gd name="T9" fmla="*/ 113 h 849"/>
              <a:gd name="T10" fmla="*/ 292 w 826"/>
              <a:gd name="T11" fmla="*/ 126 h 849"/>
              <a:gd name="T12" fmla="*/ 277 w 826"/>
              <a:gd name="T13" fmla="*/ 119 h 849"/>
              <a:gd name="T14" fmla="*/ 256 w 826"/>
              <a:gd name="T15" fmla="*/ 130 h 849"/>
              <a:gd name="T16" fmla="*/ 217 w 826"/>
              <a:gd name="T17" fmla="*/ 113 h 849"/>
              <a:gd name="T18" fmla="*/ 185 w 826"/>
              <a:gd name="T19" fmla="*/ 134 h 849"/>
              <a:gd name="T20" fmla="*/ 179 w 826"/>
              <a:gd name="T21" fmla="*/ 126 h 849"/>
              <a:gd name="T22" fmla="*/ 179 w 826"/>
              <a:gd name="T23" fmla="*/ 107 h 849"/>
              <a:gd name="T24" fmla="*/ 168 w 826"/>
              <a:gd name="T25" fmla="*/ 86 h 849"/>
              <a:gd name="T26" fmla="*/ 183 w 826"/>
              <a:gd name="T27" fmla="*/ 38 h 849"/>
              <a:gd name="T28" fmla="*/ 181 w 826"/>
              <a:gd name="T29" fmla="*/ 10 h 849"/>
              <a:gd name="T30" fmla="*/ 65 w 826"/>
              <a:gd name="T31" fmla="*/ 21 h 849"/>
              <a:gd name="T32" fmla="*/ 90 w 826"/>
              <a:gd name="T33" fmla="*/ 69 h 849"/>
              <a:gd name="T34" fmla="*/ 101 w 826"/>
              <a:gd name="T35" fmla="*/ 92 h 849"/>
              <a:gd name="T36" fmla="*/ 82 w 826"/>
              <a:gd name="T37" fmla="*/ 121 h 849"/>
              <a:gd name="T38" fmla="*/ 61 w 826"/>
              <a:gd name="T39" fmla="*/ 121 h 849"/>
              <a:gd name="T40" fmla="*/ 84 w 826"/>
              <a:gd name="T41" fmla="*/ 168 h 849"/>
              <a:gd name="T42" fmla="*/ 93 w 826"/>
              <a:gd name="T43" fmla="*/ 174 h 849"/>
              <a:gd name="T44" fmla="*/ 69 w 826"/>
              <a:gd name="T45" fmla="*/ 214 h 849"/>
              <a:gd name="T46" fmla="*/ 30 w 826"/>
              <a:gd name="T47" fmla="*/ 275 h 849"/>
              <a:gd name="T48" fmla="*/ 0 w 826"/>
              <a:gd name="T49" fmla="*/ 286 h 849"/>
              <a:gd name="T50" fmla="*/ 11 w 826"/>
              <a:gd name="T51" fmla="*/ 332 h 849"/>
              <a:gd name="T52" fmla="*/ 27 w 826"/>
              <a:gd name="T53" fmla="*/ 388 h 849"/>
              <a:gd name="T54" fmla="*/ 11 w 826"/>
              <a:gd name="T55" fmla="*/ 424 h 849"/>
              <a:gd name="T56" fmla="*/ 48 w 826"/>
              <a:gd name="T57" fmla="*/ 454 h 849"/>
              <a:gd name="T58" fmla="*/ 76 w 826"/>
              <a:gd name="T59" fmla="*/ 517 h 849"/>
              <a:gd name="T60" fmla="*/ 103 w 826"/>
              <a:gd name="T61" fmla="*/ 582 h 849"/>
              <a:gd name="T62" fmla="*/ 126 w 826"/>
              <a:gd name="T63" fmla="*/ 624 h 849"/>
              <a:gd name="T64" fmla="*/ 141 w 826"/>
              <a:gd name="T65" fmla="*/ 622 h 849"/>
              <a:gd name="T66" fmla="*/ 162 w 826"/>
              <a:gd name="T67" fmla="*/ 639 h 849"/>
              <a:gd name="T68" fmla="*/ 219 w 826"/>
              <a:gd name="T69" fmla="*/ 660 h 849"/>
              <a:gd name="T70" fmla="*/ 278 w 826"/>
              <a:gd name="T71" fmla="*/ 689 h 849"/>
              <a:gd name="T72" fmla="*/ 334 w 826"/>
              <a:gd name="T73" fmla="*/ 691 h 849"/>
              <a:gd name="T74" fmla="*/ 370 w 826"/>
              <a:gd name="T75" fmla="*/ 725 h 849"/>
              <a:gd name="T76" fmla="*/ 385 w 826"/>
              <a:gd name="T77" fmla="*/ 805 h 849"/>
              <a:gd name="T78" fmla="*/ 391 w 826"/>
              <a:gd name="T79" fmla="*/ 836 h 849"/>
              <a:gd name="T80" fmla="*/ 420 w 826"/>
              <a:gd name="T81" fmla="*/ 842 h 849"/>
              <a:gd name="T82" fmla="*/ 462 w 826"/>
              <a:gd name="T83" fmla="*/ 828 h 849"/>
              <a:gd name="T84" fmla="*/ 494 w 826"/>
              <a:gd name="T85" fmla="*/ 836 h 849"/>
              <a:gd name="T86" fmla="*/ 540 w 826"/>
              <a:gd name="T87" fmla="*/ 847 h 849"/>
              <a:gd name="T88" fmla="*/ 595 w 826"/>
              <a:gd name="T89" fmla="*/ 842 h 849"/>
              <a:gd name="T90" fmla="*/ 641 w 826"/>
              <a:gd name="T91" fmla="*/ 819 h 849"/>
              <a:gd name="T92" fmla="*/ 675 w 826"/>
              <a:gd name="T93" fmla="*/ 817 h 849"/>
              <a:gd name="T94" fmla="*/ 742 w 826"/>
              <a:gd name="T95" fmla="*/ 803 h 849"/>
              <a:gd name="T96" fmla="*/ 822 w 826"/>
              <a:gd name="T97" fmla="*/ 750 h 849"/>
              <a:gd name="T98" fmla="*/ 795 w 826"/>
              <a:gd name="T99" fmla="*/ 721 h 849"/>
              <a:gd name="T100" fmla="*/ 782 w 826"/>
              <a:gd name="T101" fmla="*/ 670 h 849"/>
              <a:gd name="T102" fmla="*/ 761 w 826"/>
              <a:gd name="T103" fmla="*/ 605 h 849"/>
              <a:gd name="T104" fmla="*/ 771 w 826"/>
              <a:gd name="T105" fmla="*/ 565 h 849"/>
              <a:gd name="T106" fmla="*/ 761 w 826"/>
              <a:gd name="T107" fmla="*/ 531 h 849"/>
              <a:gd name="T108" fmla="*/ 782 w 826"/>
              <a:gd name="T109" fmla="*/ 493 h 849"/>
              <a:gd name="T110" fmla="*/ 782 w 826"/>
              <a:gd name="T111" fmla="*/ 479 h 849"/>
              <a:gd name="T112" fmla="*/ 750 w 826"/>
              <a:gd name="T113" fmla="*/ 451 h 849"/>
              <a:gd name="T114" fmla="*/ 727 w 826"/>
              <a:gd name="T115" fmla="*/ 410 h 849"/>
              <a:gd name="T116" fmla="*/ 746 w 826"/>
              <a:gd name="T117" fmla="*/ 34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6" h="849">
                <a:moveTo>
                  <a:pt x="757" y="298"/>
                </a:moveTo>
                <a:lnTo>
                  <a:pt x="633" y="204"/>
                </a:lnTo>
                <a:lnTo>
                  <a:pt x="633" y="204"/>
                </a:lnTo>
                <a:lnTo>
                  <a:pt x="635" y="199"/>
                </a:lnTo>
                <a:lnTo>
                  <a:pt x="637" y="195"/>
                </a:lnTo>
                <a:lnTo>
                  <a:pt x="637" y="191"/>
                </a:lnTo>
                <a:lnTo>
                  <a:pt x="639" y="185"/>
                </a:lnTo>
                <a:lnTo>
                  <a:pt x="639" y="182"/>
                </a:lnTo>
                <a:lnTo>
                  <a:pt x="641" y="178"/>
                </a:lnTo>
                <a:lnTo>
                  <a:pt x="643" y="174"/>
                </a:lnTo>
                <a:lnTo>
                  <a:pt x="643" y="168"/>
                </a:lnTo>
                <a:lnTo>
                  <a:pt x="353" y="6"/>
                </a:lnTo>
                <a:lnTo>
                  <a:pt x="353" y="6"/>
                </a:lnTo>
                <a:lnTo>
                  <a:pt x="349" y="0"/>
                </a:lnTo>
                <a:lnTo>
                  <a:pt x="349" y="0"/>
                </a:lnTo>
                <a:lnTo>
                  <a:pt x="347" y="4"/>
                </a:lnTo>
                <a:lnTo>
                  <a:pt x="343" y="10"/>
                </a:lnTo>
                <a:lnTo>
                  <a:pt x="341" y="14"/>
                </a:lnTo>
                <a:lnTo>
                  <a:pt x="338" y="18"/>
                </a:lnTo>
                <a:lnTo>
                  <a:pt x="336" y="23"/>
                </a:lnTo>
                <a:lnTo>
                  <a:pt x="334" y="27"/>
                </a:lnTo>
                <a:lnTo>
                  <a:pt x="332" y="31"/>
                </a:lnTo>
                <a:lnTo>
                  <a:pt x="328" y="35"/>
                </a:lnTo>
                <a:lnTo>
                  <a:pt x="326" y="38"/>
                </a:lnTo>
                <a:lnTo>
                  <a:pt x="324" y="42"/>
                </a:lnTo>
                <a:lnTo>
                  <a:pt x="322" y="48"/>
                </a:lnTo>
                <a:lnTo>
                  <a:pt x="320" y="52"/>
                </a:lnTo>
                <a:lnTo>
                  <a:pt x="319" y="56"/>
                </a:lnTo>
                <a:lnTo>
                  <a:pt x="317" y="59"/>
                </a:lnTo>
                <a:lnTo>
                  <a:pt x="315" y="63"/>
                </a:lnTo>
                <a:lnTo>
                  <a:pt x="313" y="67"/>
                </a:lnTo>
                <a:lnTo>
                  <a:pt x="313" y="67"/>
                </a:lnTo>
                <a:lnTo>
                  <a:pt x="309" y="73"/>
                </a:lnTo>
                <a:lnTo>
                  <a:pt x="305" y="77"/>
                </a:lnTo>
                <a:lnTo>
                  <a:pt x="299" y="79"/>
                </a:lnTo>
                <a:lnTo>
                  <a:pt x="294" y="82"/>
                </a:lnTo>
                <a:lnTo>
                  <a:pt x="290" y="84"/>
                </a:lnTo>
                <a:lnTo>
                  <a:pt x="286" y="86"/>
                </a:lnTo>
                <a:lnTo>
                  <a:pt x="282" y="92"/>
                </a:lnTo>
                <a:lnTo>
                  <a:pt x="278" y="96"/>
                </a:lnTo>
                <a:lnTo>
                  <a:pt x="326" y="96"/>
                </a:lnTo>
                <a:lnTo>
                  <a:pt x="326" y="96"/>
                </a:lnTo>
                <a:lnTo>
                  <a:pt x="324" y="101"/>
                </a:lnTo>
                <a:lnTo>
                  <a:pt x="322" y="107"/>
                </a:lnTo>
                <a:lnTo>
                  <a:pt x="319" y="113"/>
                </a:lnTo>
                <a:lnTo>
                  <a:pt x="315" y="117"/>
                </a:lnTo>
                <a:lnTo>
                  <a:pt x="311" y="121"/>
                </a:lnTo>
                <a:lnTo>
                  <a:pt x="307" y="124"/>
                </a:lnTo>
                <a:lnTo>
                  <a:pt x="303" y="128"/>
                </a:lnTo>
                <a:lnTo>
                  <a:pt x="301" y="132"/>
                </a:lnTo>
                <a:lnTo>
                  <a:pt x="301" y="132"/>
                </a:lnTo>
                <a:lnTo>
                  <a:pt x="298" y="130"/>
                </a:lnTo>
                <a:lnTo>
                  <a:pt x="294" y="128"/>
                </a:lnTo>
                <a:lnTo>
                  <a:pt x="292" y="126"/>
                </a:lnTo>
                <a:lnTo>
                  <a:pt x="292" y="124"/>
                </a:lnTo>
                <a:lnTo>
                  <a:pt x="292" y="124"/>
                </a:lnTo>
                <a:lnTo>
                  <a:pt x="288" y="122"/>
                </a:lnTo>
                <a:lnTo>
                  <a:pt x="286" y="122"/>
                </a:lnTo>
                <a:lnTo>
                  <a:pt x="284" y="122"/>
                </a:lnTo>
                <a:lnTo>
                  <a:pt x="282" y="121"/>
                </a:lnTo>
                <a:lnTo>
                  <a:pt x="280" y="121"/>
                </a:lnTo>
                <a:lnTo>
                  <a:pt x="278" y="119"/>
                </a:lnTo>
                <a:lnTo>
                  <a:pt x="277" y="119"/>
                </a:lnTo>
                <a:lnTo>
                  <a:pt x="273" y="117"/>
                </a:lnTo>
                <a:lnTo>
                  <a:pt x="273" y="117"/>
                </a:lnTo>
                <a:lnTo>
                  <a:pt x="269" y="119"/>
                </a:lnTo>
                <a:lnTo>
                  <a:pt x="265" y="121"/>
                </a:lnTo>
                <a:lnTo>
                  <a:pt x="263" y="121"/>
                </a:lnTo>
                <a:lnTo>
                  <a:pt x="261" y="122"/>
                </a:lnTo>
                <a:lnTo>
                  <a:pt x="259" y="126"/>
                </a:lnTo>
                <a:lnTo>
                  <a:pt x="257" y="128"/>
                </a:lnTo>
                <a:lnTo>
                  <a:pt x="256" y="130"/>
                </a:lnTo>
                <a:lnTo>
                  <a:pt x="254" y="130"/>
                </a:lnTo>
                <a:lnTo>
                  <a:pt x="254" y="130"/>
                </a:lnTo>
                <a:lnTo>
                  <a:pt x="250" y="128"/>
                </a:lnTo>
                <a:lnTo>
                  <a:pt x="244" y="126"/>
                </a:lnTo>
                <a:lnTo>
                  <a:pt x="240" y="124"/>
                </a:lnTo>
                <a:lnTo>
                  <a:pt x="235" y="121"/>
                </a:lnTo>
                <a:lnTo>
                  <a:pt x="229" y="117"/>
                </a:lnTo>
                <a:lnTo>
                  <a:pt x="223" y="115"/>
                </a:lnTo>
                <a:lnTo>
                  <a:pt x="217" y="113"/>
                </a:lnTo>
                <a:lnTo>
                  <a:pt x="214" y="111"/>
                </a:lnTo>
                <a:lnTo>
                  <a:pt x="214" y="111"/>
                </a:lnTo>
                <a:lnTo>
                  <a:pt x="208" y="113"/>
                </a:lnTo>
                <a:lnTo>
                  <a:pt x="204" y="115"/>
                </a:lnTo>
                <a:lnTo>
                  <a:pt x="198" y="117"/>
                </a:lnTo>
                <a:lnTo>
                  <a:pt x="195" y="121"/>
                </a:lnTo>
                <a:lnTo>
                  <a:pt x="193" y="126"/>
                </a:lnTo>
                <a:lnTo>
                  <a:pt x="189" y="130"/>
                </a:lnTo>
                <a:lnTo>
                  <a:pt x="185" y="134"/>
                </a:lnTo>
                <a:lnTo>
                  <a:pt x="183" y="138"/>
                </a:lnTo>
                <a:lnTo>
                  <a:pt x="183" y="138"/>
                </a:lnTo>
                <a:lnTo>
                  <a:pt x="181" y="138"/>
                </a:lnTo>
                <a:lnTo>
                  <a:pt x="179" y="136"/>
                </a:lnTo>
                <a:lnTo>
                  <a:pt x="177" y="134"/>
                </a:lnTo>
                <a:lnTo>
                  <a:pt x="177" y="132"/>
                </a:lnTo>
                <a:lnTo>
                  <a:pt x="177" y="132"/>
                </a:lnTo>
                <a:lnTo>
                  <a:pt x="177" y="130"/>
                </a:lnTo>
                <a:lnTo>
                  <a:pt x="179" y="126"/>
                </a:lnTo>
                <a:lnTo>
                  <a:pt x="179" y="124"/>
                </a:lnTo>
                <a:lnTo>
                  <a:pt x="181" y="122"/>
                </a:lnTo>
                <a:lnTo>
                  <a:pt x="181" y="121"/>
                </a:lnTo>
                <a:lnTo>
                  <a:pt x="183" y="117"/>
                </a:lnTo>
                <a:lnTo>
                  <a:pt x="183" y="115"/>
                </a:lnTo>
                <a:lnTo>
                  <a:pt x="183" y="111"/>
                </a:lnTo>
                <a:lnTo>
                  <a:pt x="183" y="111"/>
                </a:lnTo>
                <a:lnTo>
                  <a:pt x="183" y="107"/>
                </a:lnTo>
                <a:lnTo>
                  <a:pt x="179" y="107"/>
                </a:lnTo>
                <a:lnTo>
                  <a:pt x="175" y="105"/>
                </a:lnTo>
                <a:lnTo>
                  <a:pt x="172" y="105"/>
                </a:lnTo>
                <a:lnTo>
                  <a:pt x="172" y="105"/>
                </a:lnTo>
                <a:lnTo>
                  <a:pt x="172" y="103"/>
                </a:lnTo>
                <a:lnTo>
                  <a:pt x="170" y="101"/>
                </a:lnTo>
                <a:lnTo>
                  <a:pt x="170" y="98"/>
                </a:lnTo>
                <a:lnTo>
                  <a:pt x="170" y="94"/>
                </a:lnTo>
                <a:lnTo>
                  <a:pt x="168" y="88"/>
                </a:lnTo>
                <a:lnTo>
                  <a:pt x="168" y="86"/>
                </a:lnTo>
                <a:lnTo>
                  <a:pt x="168" y="82"/>
                </a:lnTo>
                <a:lnTo>
                  <a:pt x="168" y="80"/>
                </a:lnTo>
                <a:lnTo>
                  <a:pt x="168" y="80"/>
                </a:lnTo>
                <a:lnTo>
                  <a:pt x="170" y="71"/>
                </a:lnTo>
                <a:lnTo>
                  <a:pt x="170" y="63"/>
                </a:lnTo>
                <a:lnTo>
                  <a:pt x="174" y="58"/>
                </a:lnTo>
                <a:lnTo>
                  <a:pt x="177" y="52"/>
                </a:lnTo>
                <a:lnTo>
                  <a:pt x="179" y="46"/>
                </a:lnTo>
                <a:lnTo>
                  <a:pt x="183" y="38"/>
                </a:lnTo>
                <a:lnTo>
                  <a:pt x="183" y="31"/>
                </a:lnTo>
                <a:lnTo>
                  <a:pt x="185" y="23"/>
                </a:lnTo>
                <a:lnTo>
                  <a:pt x="185" y="23"/>
                </a:lnTo>
                <a:lnTo>
                  <a:pt x="185" y="19"/>
                </a:lnTo>
                <a:lnTo>
                  <a:pt x="185" y="18"/>
                </a:lnTo>
                <a:lnTo>
                  <a:pt x="183" y="14"/>
                </a:lnTo>
                <a:lnTo>
                  <a:pt x="183" y="12"/>
                </a:lnTo>
                <a:lnTo>
                  <a:pt x="181" y="12"/>
                </a:lnTo>
                <a:lnTo>
                  <a:pt x="181" y="10"/>
                </a:lnTo>
                <a:lnTo>
                  <a:pt x="179" y="8"/>
                </a:lnTo>
                <a:lnTo>
                  <a:pt x="179" y="6"/>
                </a:lnTo>
                <a:lnTo>
                  <a:pt x="74" y="8"/>
                </a:lnTo>
                <a:lnTo>
                  <a:pt x="74" y="8"/>
                </a:lnTo>
                <a:lnTo>
                  <a:pt x="71" y="12"/>
                </a:lnTo>
                <a:lnTo>
                  <a:pt x="69" y="14"/>
                </a:lnTo>
                <a:lnTo>
                  <a:pt x="67" y="16"/>
                </a:lnTo>
                <a:lnTo>
                  <a:pt x="67" y="19"/>
                </a:lnTo>
                <a:lnTo>
                  <a:pt x="65" y="21"/>
                </a:lnTo>
                <a:lnTo>
                  <a:pt x="65" y="21"/>
                </a:lnTo>
                <a:lnTo>
                  <a:pt x="69" y="27"/>
                </a:lnTo>
                <a:lnTo>
                  <a:pt x="72" y="33"/>
                </a:lnTo>
                <a:lnTo>
                  <a:pt x="76" y="38"/>
                </a:lnTo>
                <a:lnTo>
                  <a:pt x="80" y="42"/>
                </a:lnTo>
                <a:lnTo>
                  <a:pt x="84" y="48"/>
                </a:lnTo>
                <a:lnTo>
                  <a:pt x="88" y="54"/>
                </a:lnTo>
                <a:lnTo>
                  <a:pt x="90" y="61"/>
                </a:lnTo>
                <a:lnTo>
                  <a:pt x="90" y="69"/>
                </a:lnTo>
                <a:lnTo>
                  <a:pt x="90" y="69"/>
                </a:lnTo>
                <a:lnTo>
                  <a:pt x="92" y="73"/>
                </a:lnTo>
                <a:lnTo>
                  <a:pt x="92" y="77"/>
                </a:lnTo>
                <a:lnTo>
                  <a:pt x="93" y="80"/>
                </a:lnTo>
                <a:lnTo>
                  <a:pt x="95" y="82"/>
                </a:lnTo>
                <a:lnTo>
                  <a:pt x="97" y="84"/>
                </a:lnTo>
                <a:lnTo>
                  <a:pt x="99" y="86"/>
                </a:lnTo>
                <a:lnTo>
                  <a:pt x="101" y="90"/>
                </a:lnTo>
                <a:lnTo>
                  <a:pt x="101" y="92"/>
                </a:lnTo>
                <a:lnTo>
                  <a:pt x="101" y="92"/>
                </a:lnTo>
                <a:lnTo>
                  <a:pt x="101" y="98"/>
                </a:lnTo>
                <a:lnTo>
                  <a:pt x="99" y="105"/>
                </a:lnTo>
                <a:lnTo>
                  <a:pt x="99" y="109"/>
                </a:lnTo>
                <a:lnTo>
                  <a:pt x="97" y="113"/>
                </a:lnTo>
                <a:lnTo>
                  <a:pt x="93" y="117"/>
                </a:lnTo>
                <a:lnTo>
                  <a:pt x="92" y="119"/>
                </a:lnTo>
                <a:lnTo>
                  <a:pt x="88" y="121"/>
                </a:lnTo>
                <a:lnTo>
                  <a:pt x="82" y="121"/>
                </a:lnTo>
                <a:lnTo>
                  <a:pt x="82" y="121"/>
                </a:lnTo>
                <a:lnTo>
                  <a:pt x="78" y="121"/>
                </a:lnTo>
                <a:lnTo>
                  <a:pt x="74" y="121"/>
                </a:lnTo>
                <a:lnTo>
                  <a:pt x="71" y="121"/>
                </a:lnTo>
                <a:lnTo>
                  <a:pt x="69" y="121"/>
                </a:lnTo>
                <a:lnTo>
                  <a:pt x="65" y="121"/>
                </a:lnTo>
                <a:lnTo>
                  <a:pt x="63" y="121"/>
                </a:lnTo>
                <a:lnTo>
                  <a:pt x="63" y="121"/>
                </a:lnTo>
                <a:lnTo>
                  <a:pt x="61" y="121"/>
                </a:lnTo>
                <a:lnTo>
                  <a:pt x="65" y="121"/>
                </a:lnTo>
                <a:lnTo>
                  <a:pt x="65" y="121"/>
                </a:lnTo>
                <a:lnTo>
                  <a:pt x="71" y="124"/>
                </a:lnTo>
                <a:lnTo>
                  <a:pt x="72" y="132"/>
                </a:lnTo>
                <a:lnTo>
                  <a:pt x="72" y="140"/>
                </a:lnTo>
                <a:lnTo>
                  <a:pt x="72" y="149"/>
                </a:lnTo>
                <a:lnTo>
                  <a:pt x="74" y="157"/>
                </a:lnTo>
                <a:lnTo>
                  <a:pt x="78" y="164"/>
                </a:lnTo>
                <a:lnTo>
                  <a:pt x="84" y="168"/>
                </a:lnTo>
                <a:lnTo>
                  <a:pt x="95" y="170"/>
                </a:lnTo>
                <a:lnTo>
                  <a:pt x="95" y="170"/>
                </a:lnTo>
                <a:lnTo>
                  <a:pt x="95" y="170"/>
                </a:lnTo>
                <a:lnTo>
                  <a:pt x="95" y="172"/>
                </a:lnTo>
                <a:lnTo>
                  <a:pt x="95" y="174"/>
                </a:lnTo>
                <a:lnTo>
                  <a:pt x="95" y="176"/>
                </a:lnTo>
                <a:lnTo>
                  <a:pt x="92" y="170"/>
                </a:lnTo>
                <a:lnTo>
                  <a:pt x="92" y="170"/>
                </a:lnTo>
                <a:lnTo>
                  <a:pt x="93" y="174"/>
                </a:lnTo>
                <a:lnTo>
                  <a:pt x="93" y="176"/>
                </a:lnTo>
                <a:lnTo>
                  <a:pt x="95" y="178"/>
                </a:lnTo>
                <a:lnTo>
                  <a:pt x="95" y="180"/>
                </a:lnTo>
                <a:lnTo>
                  <a:pt x="95" y="180"/>
                </a:lnTo>
                <a:lnTo>
                  <a:pt x="95" y="187"/>
                </a:lnTo>
                <a:lnTo>
                  <a:pt x="90" y="195"/>
                </a:lnTo>
                <a:lnTo>
                  <a:pt x="84" y="201"/>
                </a:lnTo>
                <a:lnTo>
                  <a:pt x="76" y="208"/>
                </a:lnTo>
                <a:lnTo>
                  <a:pt x="69" y="214"/>
                </a:lnTo>
                <a:lnTo>
                  <a:pt x="61" y="222"/>
                </a:lnTo>
                <a:lnTo>
                  <a:pt x="55" y="229"/>
                </a:lnTo>
                <a:lnTo>
                  <a:pt x="51" y="235"/>
                </a:lnTo>
                <a:lnTo>
                  <a:pt x="51" y="235"/>
                </a:lnTo>
                <a:lnTo>
                  <a:pt x="50" y="243"/>
                </a:lnTo>
                <a:lnTo>
                  <a:pt x="46" y="250"/>
                </a:lnTo>
                <a:lnTo>
                  <a:pt x="42" y="258"/>
                </a:lnTo>
                <a:lnTo>
                  <a:pt x="36" y="267"/>
                </a:lnTo>
                <a:lnTo>
                  <a:pt x="30" y="275"/>
                </a:lnTo>
                <a:lnTo>
                  <a:pt x="25" y="281"/>
                </a:lnTo>
                <a:lnTo>
                  <a:pt x="17" y="285"/>
                </a:lnTo>
                <a:lnTo>
                  <a:pt x="9" y="286"/>
                </a:lnTo>
                <a:lnTo>
                  <a:pt x="9" y="286"/>
                </a:lnTo>
                <a:lnTo>
                  <a:pt x="6" y="286"/>
                </a:lnTo>
                <a:lnTo>
                  <a:pt x="4" y="286"/>
                </a:lnTo>
                <a:lnTo>
                  <a:pt x="2" y="286"/>
                </a:lnTo>
                <a:lnTo>
                  <a:pt x="0" y="286"/>
                </a:lnTo>
                <a:lnTo>
                  <a:pt x="0" y="286"/>
                </a:lnTo>
                <a:lnTo>
                  <a:pt x="2" y="292"/>
                </a:lnTo>
                <a:lnTo>
                  <a:pt x="4" y="298"/>
                </a:lnTo>
                <a:lnTo>
                  <a:pt x="6" y="304"/>
                </a:lnTo>
                <a:lnTo>
                  <a:pt x="6" y="311"/>
                </a:lnTo>
                <a:lnTo>
                  <a:pt x="8" y="317"/>
                </a:lnTo>
                <a:lnTo>
                  <a:pt x="9" y="323"/>
                </a:lnTo>
                <a:lnTo>
                  <a:pt x="11" y="328"/>
                </a:lnTo>
                <a:lnTo>
                  <a:pt x="11" y="332"/>
                </a:lnTo>
                <a:lnTo>
                  <a:pt x="11" y="332"/>
                </a:lnTo>
                <a:lnTo>
                  <a:pt x="15" y="344"/>
                </a:lnTo>
                <a:lnTo>
                  <a:pt x="15" y="353"/>
                </a:lnTo>
                <a:lnTo>
                  <a:pt x="15" y="361"/>
                </a:lnTo>
                <a:lnTo>
                  <a:pt x="13" y="367"/>
                </a:lnTo>
                <a:lnTo>
                  <a:pt x="15" y="372"/>
                </a:lnTo>
                <a:lnTo>
                  <a:pt x="15" y="378"/>
                </a:lnTo>
                <a:lnTo>
                  <a:pt x="19" y="382"/>
                </a:lnTo>
                <a:lnTo>
                  <a:pt x="27" y="388"/>
                </a:lnTo>
                <a:lnTo>
                  <a:pt x="27" y="388"/>
                </a:lnTo>
                <a:lnTo>
                  <a:pt x="25" y="393"/>
                </a:lnTo>
                <a:lnTo>
                  <a:pt x="23" y="399"/>
                </a:lnTo>
                <a:lnTo>
                  <a:pt x="21" y="403"/>
                </a:lnTo>
                <a:lnTo>
                  <a:pt x="17" y="407"/>
                </a:lnTo>
                <a:lnTo>
                  <a:pt x="15" y="410"/>
                </a:lnTo>
                <a:lnTo>
                  <a:pt x="13" y="414"/>
                </a:lnTo>
                <a:lnTo>
                  <a:pt x="11" y="418"/>
                </a:lnTo>
                <a:lnTo>
                  <a:pt x="11" y="424"/>
                </a:lnTo>
                <a:lnTo>
                  <a:pt x="11" y="424"/>
                </a:lnTo>
                <a:lnTo>
                  <a:pt x="11" y="430"/>
                </a:lnTo>
                <a:lnTo>
                  <a:pt x="15" y="435"/>
                </a:lnTo>
                <a:lnTo>
                  <a:pt x="21" y="439"/>
                </a:lnTo>
                <a:lnTo>
                  <a:pt x="27" y="443"/>
                </a:lnTo>
                <a:lnTo>
                  <a:pt x="32" y="447"/>
                </a:lnTo>
                <a:lnTo>
                  <a:pt x="40" y="449"/>
                </a:lnTo>
                <a:lnTo>
                  <a:pt x="44" y="452"/>
                </a:lnTo>
                <a:lnTo>
                  <a:pt x="48" y="454"/>
                </a:lnTo>
                <a:lnTo>
                  <a:pt x="48" y="454"/>
                </a:lnTo>
                <a:lnTo>
                  <a:pt x="55" y="462"/>
                </a:lnTo>
                <a:lnTo>
                  <a:pt x="59" y="470"/>
                </a:lnTo>
                <a:lnTo>
                  <a:pt x="63" y="477"/>
                </a:lnTo>
                <a:lnTo>
                  <a:pt x="67" y="485"/>
                </a:lnTo>
                <a:lnTo>
                  <a:pt x="69" y="493"/>
                </a:lnTo>
                <a:lnTo>
                  <a:pt x="71" y="500"/>
                </a:lnTo>
                <a:lnTo>
                  <a:pt x="74" y="508"/>
                </a:lnTo>
                <a:lnTo>
                  <a:pt x="76" y="517"/>
                </a:lnTo>
                <a:lnTo>
                  <a:pt x="76" y="517"/>
                </a:lnTo>
                <a:lnTo>
                  <a:pt x="82" y="525"/>
                </a:lnTo>
                <a:lnTo>
                  <a:pt x="84" y="535"/>
                </a:lnTo>
                <a:lnTo>
                  <a:pt x="88" y="542"/>
                </a:lnTo>
                <a:lnTo>
                  <a:pt x="92" y="550"/>
                </a:lnTo>
                <a:lnTo>
                  <a:pt x="93" y="557"/>
                </a:lnTo>
                <a:lnTo>
                  <a:pt x="95" y="565"/>
                </a:lnTo>
                <a:lnTo>
                  <a:pt x="99" y="575"/>
                </a:lnTo>
                <a:lnTo>
                  <a:pt x="103" y="582"/>
                </a:lnTo>
                <a:lnTo>
                  <a:pt x="103" y="582"/>
                </a:lnTo>
                <a:lnTo>
                  <a:pt x="107" y="588"/>
                </a:lnTo>
                <a:lnTo>
                  <a:pt x="111" y="594"/>
                </a:lnTo>
                <a:lnTo>
                  <a:pt x="114" y="597"/>
                </a:lnTo>
                <a:lnTo>
                  <a:pt x="118" y="603"/>
                </a:lnTo>
                <a:lnTo>
                  <a:pt x="122" y="607"/>
                </a:lnTo>
                <a:lnTo>
                  <a:pt x="124" y="613"/>
                </a:lnTo>
                <a:lnTo>
                  <a:pt x="126" y="617"/>
                </a:lnTo>
                <a:lnTo>
                  <a:pt x="126" y="624"/>
                </a:lnTo>
                <a:lnTo>
                  <a:pt x="126" y="624"/>
                </a:lnTo>
                <a:lnTo>
                  <a:pt x="132" y="622"/>
                </a:lnTo>
                <a:lnTo>
                  <a:pt x="133" y="622"/>
                </a:lnTo>
                <a:lnTo>
                  <a:pt x="135" y="622"/>
                </a:lnTo>
                <a:lnTo>
                  <a:pt x="137" y="622"/>
                </a:lnTo>
                <a:lnTo>
                  <a:pt x="137" y="622"/>
                </a:lnTo>
                <a:lnTo>
                  <a:pt x="139" y="622"/>
                </a:lnTo>
                <a:lnTo>
                  <a:pt x="139" y="622"/>
                </a:lnTo>
                <a:lnTo>
                  <a:pt x="141" y="622"/>
                </a:lnTo>
                <a:lnTo>
                  <a:pt x="141" y="622"/>
                </a:lnTo>
                <a:lnTo>
                  <a:pt x="143" y="622"/>
                </a:lnTo>
                <a:lnTo>
                  <a:pt x="145" y="624"/>
                </a:lnTo>
                <a:lnTo>
                  <a:pt x="147" y="628"/>
                </a:lnTo>
                <a:lnTo>
                  <a:pt x="151" y="630"/>
                </a:lnTo>
                <a:lnTo>
                  <a:pt x="154" y="634"/>
                </a:lnTo>
                <a:lnTo>
                  <a:pt x="158" y="636"/>
                </a:lnTo>
                <a:lnTo>
                  <a:pt x="160" y="638"/>
                </a:lnTo>
                <a:lnTo>
                  <a:pt x="162" y="639"/>
                </a:lnTo>
                <a:lnTo>
                  <a:pt x="162" y="639"/>
                </a:lnTo>
                <a:lnTo>
                  <a:pt x="170" y="643"/>
                </a:lnTo>
                <a:lnTo>
                  <a:pt x="177" y="647"/>
                </a:lnTo>
                <a:lnTo>
                  <a:pt x="185" y="649"/>
                </a:lnTo>
                <a:lnTo>
                  <a:pt x="193" y="651"/>
                </a:lnTo>
                <a:lnTo>
                  <a:pt x="198" y="653"/>
                </a:lnTo>
                <a:lnTo>
                  <a:pt x="204" y="655"/>
                </a:lnTo>
                <a:lnTo>
                  <a:pt x="212" y="659"/>
                </a:lnTo>
                <a:lnTo>
                  <a:pt x="219" y="660"/>
                </a:lnTo>
                <a:lnTo>
                  <a:pt x="219" y="660"/>
                </a:lnTo>
                <a:lnTo>
                  <a:pt x="227" y="664"/>
                </a:lnTo>
                <a:lnTo>
                  <a:pt x="233" y="668"/>
                </a:lnTo>
                <a:lnTo>
                  <a:pt x="240" y="672"/>
                </a:lnTo>
                <a:lnTo>
                  <a:pt x="246" y="676"/>
                </a:lnTo>
                <a:lnTo>
                  <a:pt x="254" y="678"/>
                </a:lnTo>
                <a:lnTo>
                  <a:pt x="259" y="681"/>
                </a:lnTo>
                <a:lnTo>
                  <a:pt x="267" y="685"/>
                </a:lnTo>
                <a:lnTo>
                  <a:pt x="273" y="687"/>
                </a:lnTo>
                <a:lnTo>
                  <a:pt x="278" y="689"/>
                </a:lnTo>
                <a:lnTo>
                  <a:pt x="286" y="691"/>
                </a:lnTo>
                <a:lnTo>
                  <a:pt x="294" y="693"/>
                </a:lnTo>
                <a:lnTo>
                  <a:pt x="301" y="693"/>
                </a:lnTo>
                <a:lnTo>
                  <a:pt x="307" y="693"/>
                </a:lnTo>
                <a:lnTo>
                  <a:pt x="317" y="693"/>
                </a:lnTo>
                <a:lnTo>
                  <a:pt x="324" y="693"/>
                </a:lnTo>
                <a:lnTo>
                  <a:pt x="332" y="691"/>
                </a:lnTo>
                <a:lnTo>
                  <a:pt x="332" y="691"/>
                </a:lnTo>
                <a:lnTo>
                  <a:pt x="334" y="691"/>
                </a:lnTo>
                <a:lnTo>
                  <a:pt x="336" y="691"/>
                </a:lnTo>
                <a:lnTo>
                  <a:pt x="338" y="691"/>
                </a:lnTo>
                <a:lnTo>
                  <a:pt x="338" y="691"/>
                </a:lnTo>
                <a:lnTo>
                  <a:pt x="338" y="691"/>
                </a:lnTo>
                <a:lnTo>
                  <a:pt x="349" y="699"/>
                </a:lnTo>
                <a:lnTo>
                  <a:pt x="357" y="704"/>
                </a:lnTo>
                <a:lnTo>
                  <a:pt x="362" y="712"/>
                </a:lnTo>
                <a:lnTo>
                  <a:pt x="366" y="718"/>
                </a:lnTo>
                <a:lnTo>
                  <a:pt x="370" y="725"/>
                </a:lnTo>
                <a:lnTo>
                  <a:pt x="372" y="733"/>
                </a:lnTo>
                <a:lnTo>
                  <a:pt x="376" y="742"/>
                </a:lnTo>
                <a:lnTo>
                  <a:pt x="381" y="752"/>
                </a:lnTo>
                <a:lnTo>
                  <a:pt x="381" y="790"/>
                </a:lnTo>
                <a:lnTo>
                  <a:pt x="381" y="790"/>
                </a:lnTo>
                <a:lnTo>
                  <a:pt x="383" y="794"/>
                </a:lnTo>
                <a:lnTo>
                  <a:pt x="385" y="798"/>
                </a:lnTo>
                <a:lnTo>
                  <a:pt x="385" y="802"/>
                </a:lnTo>
                <a:lnTo>
                  <a:pt x="385" y="805"/>
                </a:lnTo>
                <a:lnTo>
                  <a:pt x="385" y="809"/>
                </a:lnTo>
                <a:lnTo>
                  <a:pt x="385" y="813"/>
                </a:lnTo>
                <a:lnTo>
                  <a:pt x="385" y="817"/>
                </a:lnTo>
                <a:lnTo>
                  <a:pt x="385" y="821"/>
                </a:lnTo>
                <a:lnTo>
                  <a:pt x="385" y="821"/>
                </a:lnTo>
                <a:lnTo>
                  <a:pt x="385" y="824"/>
                </a:lnTo>
                <a:lnTo>
                  <a:pt x="387" y="828"/>
                </a:lnTo>
                <a:lnTo>
                  <a:pt x="389" y="832"/>
                </a:lnTo>
                <a:lnTo>
                  <a:pt x="391" y="836"/>
                </a:lnTo>
                <a:lnTo>
                  <a:pt x="395" y="838"/>
                </a:lnTo>
                <a:lnTo>
                  <a:pt x="397" y="842"/>
                </a:lnTo>
                <a:lnTo>
                  <a:pt x="399" y="844"/>
                </a:lnTo>
                <a:lnTo>
                  <a:pt x="402" y="847"/>
                </a:lnTo>
                <a:lnTo>
                  <a:pt x="402" y="847"/>
                </a:lnTo>
                <a:lnTo>
                  <a:pt x="406" y="845"/>
                </a:lnTo>
                <a:lnTo>
                  <a:pt x="410" y="844"/>
                </a:lnTo>
                <a:lnTo>
                  <a:pt x="416" y="844"/>
                </a:lnTo>
                <a:lnTo>
                  <a:pt x="420" y="842"/>
                </a:lnTo>
                <a:lnTo>
                  <a:pt x="425" y="840"/>
                </a:lnTo>
                <a:lnTo>
                  <a:pt x="429" y="838"/>
                </a:lnTo>
                <a:lnTo>
                  <a:pt x="435" y="836"/>
                </a:lnTo>
                <a:lnTo>
                  <a:pt x="439" y="834"/>
                </a:lnTo>
                <a:lnTo>
                  <a:pt x="444" y="832"/>
                </a:lnTo>
                <a:lnTo>
                  <a:pt x="448" y="830"/>
                </a:lnTo>
                <a:lnTo>
                  <a:pt x="454" y="830"/>
                </a:lnTo>
                <a:lnTo>
                  <a:pt x="458" y="828"/>
                </a:lnTo>
                <a:lnTo>
                  <a:pt x="462" y="828"/>
                </a:lnTo>
                <a:lnTo>
                  <a:pt x="465" y="826"/>
                </a:lnTo>
                <a:lnTo>
                  <a:pt x="469" y="826"/>
                </a:lnTo>
                <a:lnTo>
                  <a:pt x="471" y="826"/>
                </a:lnTo>
                <a:lnTo>
                  <a:pt x="471" y="826"/>
                </a:lnTo>
                <a:lnTo>
                  <a:pt x="477" y="826"/>
                </a:lnTo>
                <a:lnTo>
                  <a:pt x="481" y="828"/>
                </a:lnTo>
                <a:lnTo>
                  <a:pt x="486" y="830"/>
                </a:lnTo>
                <a:lnTo>
                  <a:pt x="490" y="832"/>
                </a:lnTo>
                <a:lnTo>
                  <a:pt x="494" y="836"/>
                </a:lnTo>
                <a:lnTo>
                  <a:pt x="498" y="838"/>
                </a:lnTo>
                <a:lnTo>
                  <a:pt x="500" y="840"/>
                </a:lnTo>
                <a:lnTo>
                  <a:pt x="504" y="842"/>
                </a:lnTo>
                <a:lnTo>
                  <a:pt x="504" y="842"/>
                </a:lnTo>
                <a:lnTo>
                  <a:pt x="511" y="844"/>
                </a:lnTo>
                <a:lnTo>
                  <a:pt x="519" y="845"/>
                </a:lnTo>
                <a:lnTo>
                  <a:pt x="525" y="845"/>
                </a:lnTo>
                <a:lnTo>
                  <a:pt x="532" y="847"/>
                </a:lnTo>
                <a:lnTo>
                  <a:pt x="540" y="847"/>
                </a:lnTo>
                <a:lnTo>
                  <a:pt x="547" y="849"/>
                </a:lnTo>
                <a:lnTo>
                  <a:pt x="555" y="849"/>
                </a:lnTo>
                <a:lnTo>
                  <a:pt x="563" y="849"/>
                </a:lnTo>
                <a:lnTo>
                  <a:pt x="563" y="849"/>
                </a:lnTo>
                <a:lnTo>
                  <a:pt x="570" y="849"/>
                </a:lnTo>
                <a:lnTo>
                  <a:pt x="576" y="847"/>
                </a:lnTo>
                <a:lnTo>
                  <a:pt x="584" y="845"/>
                </a:lnTo>
                <a:lnTo>
                  <a:pt x="589" y="844"/>
                </a:lnTo>
                <a:lnTo>
                  <a:pt x="595" y="842"/>
                </a:lnTo>
                <a:lnTo>
                  <a:pt x="601" y="840"/>
                </a:lnTo>
                <a:lnTo>
                  <a:pt x="605" y="836"/>
                </a:lnTo>
                <a:lnTo>
                  <a:pt x="610" y="834"/>
                </a:lnTo>
                <a:lnTo>
                  <a:pt x="616" y="830"/>
                </a:lnTo>
                <a:lnTo>
                  <a:pt x="620" y="826"/>
                </a:lnTo>
                <a:lnTo>
                  <a:pt x="626" y="824"/>
                </a:lnTo>
                <a:lnTo>
                  <a:pt x="629" y="823"/>
                </a:lnTo>
                <a:lnTo>
                  <a:pt x="635" y="821"/>
                </a:lnTo>
                <a:lnTo>
                  <a:pt x="641" y="819"/>
                </a:lnTo>
                <a:lnTo>
                  <a:pt x="647" y="817"/>
                </a:lnTo>
                <a:lnTo>
                  <a:pt x="652" y="817"/>
                </a:lnTo>
                <a:lnTo>
                  <a:pt x="652" y="817"/>
                </a:lnTo>
                <a:lnTo>
                  <a:pt x="658" y="817"/>
                </a:lnTo>
                <a:lnTo>
                  <a:pt x="662" y="817"/>
                </a:lnTo>
                <a:lnTo>
                  <a:pt x="666" y="817"/>
                </a:lnTo>
                <a:lnTo>
                  <a:pt x="668" y="817"/>
                </a:lnTo>
                <a:lnTo>
                  <a:pt x="671" y="817"/>
                </a:lnTo>
                <a:lnTo>
                  <a:pt x="675" y="817"/>
                </a:lnTo>
                <a:lnTo>
                  <a:pt x="677" y="817"/>
                </a:lnTo>
                <a:lnTo>
                  <a:pt x="681" y="817"/>
                </a:lnTo>
                <a:lnTo>
                  <a:pt x="681" y="817"/>
                </a:lnTo>
                <a:lnTo>
                  <a:pt x="690" y="817"/>
                </a:lnTo>
                <a:lnTo>
                  <a:pt x="700" y="815"/>
                </a:lnTo>
                <a:lnTo>
                  <a:pt x="710" y="813"/>
                </a:lnTo>
                <a:lnTo>
                  <a:pt x="721" y="811"/>
                </a:lnTo>
                <a:lnTo>
                  <a:pt x="732" y="807"/>
                </a:lnTo>
                <a:lnTo>
                  <a:pt x="742" y="803"/>
                </a:lnTo>
                <a:lnTo>
                  <a:pt x="753" y="800"/>
                </a:lnTo>
                <a:lnTo>
                  <a:pt x="765" y="794"/>
                </a:lnTo>
                <a:lnTo>
                  <a:pt x="774" y="788"/>
                </a:lnTo>
                <a:lnTo>
                  <a:pt x="784" y="783"/>
                </a:lnTo>
                <a:lnTo>
                  <a:pt x="793" y="777"/>
                </a:lnTo>
                <a:lnTo>
                  <a:pt x="803" y="771"/>
                </a:lnTo>
                <a:lnTo>
                  <a:pt x="811" y="763"/>
                </a:lnTo>
                <a:lnTo>
                  <a:pt x="816" y="758"/>
                </a:lnTo>
                <a:lnTo>
                  <a:pt x="822" y="750"/>
                </a:lnTo>
                <a:lnTo>
                  <a:pt x="826" y="744"/>
                </a:lnTo>
                <a:lnTo>
                  <a:pt x="826" y="744"/>
                </a:lnTo>
                <a:lnTo>
                  <a:pt x="820" y="742"/>
                </a:lnTo>
                <a:lnTo>
                  <a:pt x="814" y="742"/>
                </a:lnTo>
                <a:lnTo>
                  <a:pt x="811" y="739"/>
                </a:lnTo>
                <a:lnTo>
                  <a:pt x="805" y="737"/>
                </a:lnTo>
                <a:lnTo>
                  <a:pt x="801" y="733"/>
                </a:lnTo>
                <a:lnTo>
                  <a:pt x="797" y="727"/>
                </a:lnTo>
                <a:lnTo>
                  <a:pt x="795" y="721"/>
                </a:lnTo>
                <a:lnTo>
                  <a:pt x="792" y="718"/>
                </a:lnTo>
                <a:lnTo>
                  <a:pt x="790" y="712"/>
                </a:lnTo>
                <a:lnTo>
                  <a:pt x="788" y="706"/>
                </a:lnTo>
                <a:lnTo>
                  <a:pt x="786" y="699"/>
                </a:lnTo>
                <a:lnTo>
                  <a:pt x="784" y="693"/>
                </a:lnTo>
                <a:lnTo>
                  <a:pt x="784" y="687"/>
                </a:lnTo>
                <a:lnTo>
                  <a:pt x="782" y="681"/>
                </a:lnTo>
                <a:lnTo>
                  <a:pt x="782" y="676"/>
                </a:lnTo>
                <a:lnTo>
                  <a:pt x="782" y="670"/>
                </a:lnTo>
                <a:lnTo>
                  <a:pt x="782" y="670"/>
                </a:lnTo>
                <a:lnTo>
                  <a:pt x="782" y="662"/>
                </a:lnTo>
                <a:lnTo>
                  <a:pt x="780" y="655"/>
                </a:lnTo>
                <a:lnTo>
                  <a:pt x="776" y="647"/>
                </a:lnTo>
                <a:lnTo>
                  <a:pt x="773" y="639"/>
                </a:lnTo>
                <a:lnTo>
                  <a:pt x="767" y="630"/>
                </a:lnTo>
                <a:lnTo>
                  <a:pt x="765" y="622"/>
                </a:lnTo>
                <a:lnTo>
                  <a:pt x="761" y="615"/>
                </a:lnTo>
                <a:lnTo>
                  <a:pt x="761" y="605"/>
                </a:lnTo>
                <a:lnTo>
                  <a:pt x="761" y="605"/>
                </a:lnTo>
                <a:lnTo>
                  <a:pt x="761" y="599"/>
                </a:lnTo>
                <a:lnTo>
                  <a:pt x="763" y="596"/>
                </a:lnTo>
                <a:lnTo>
                  <a:pt x="763" y="590"/>
                </a:lnTo>
                <a:lnTo>
                  <a:pt x="767" y="584"/>
                </a:lnTo>
                <a:lnTo>
                  <a:pt x="767" y="580"/>
                </a:lnTo>
                <a:lnTo>
                  <a:pt x="769" y="575"/>
                </a:lnTo>
                <a:lnTo>
                  <a:pt x="771" y="569"/>
                </a:lnTo>
                <a:lnTo>
                  <a:pt x="771" y="565"/>
                </a:lnTo>
                <a:lnTo>
                  <a:pt x="771" y="565"/>
                </a:lnTo>
                <a:lnTo>
                  <a:pt x="771" y="559"/>
                </a:lnTo>
                <a:lnTo>
                  <a:pt x="769" y="554"/>
                </a:lnTo>
                <a:lnTo>
                  <a:pt x="767" y="550"/>
                </a:lnTo>
                <a:lnTo>
                  <a:pt x="767" y="546"/>
                </a:lnTo>
                <a:lnTo>
                  <a:pt x="763" y="542"/>
                </a:lnTo>
                <a:lnTo>
                  <a:pt x="763" y="540"/>
                </a:lnTo>
                <a:lnTo>
                  <a:pt x="761" y="535"/>
                </a:lnTo>
                <a:lnTo>
                  <a:pt x="761" y="531"/>
                </a:lnTo>
                <a:lnTo>
                  <a:pt x="761" y="531"/>
                </a:lnTo>
                <a:lnTo>
                  <a:pt x="761" y="523"/>
                </a:lnTo>
                <a:lnTo>
                  <a:pt x="765" y="517"/>
                </a:lnTo>
                <a:lnTo>
                  <a:pt x="767" y="514"/>
                </a:lnTo>
                <a:lnTo>
                  <a:pt x="773" y="510"/>
                </a:lnTo>
                <a:lnTo>
                  <a:pt x="776" y="506"/>
                </a:lnTo>
                <a:lnTo>
                  <a:pt x="780" y="502"/>
                </a:lnTo>
                <a:lnTo>
                  <a:pt x="782" y="498"/>
                </a:lnTo>
                <a:lnTo>
                  <a:pt x="782" y="493"/>
                </a:lnTo>
                <a:lnTo>
                  <a:pt x="782" y="493"/>
                </a:lnTo>
                <a:lnTo>
                  <a:pt x="782" y="489"/>
                </a:lnTo>
                <a:lnTo>
                  <a:pt x="782" y="485"/>
                </a:lnTo>
                <a:lnTo>
                  <a:pt x="782" y="485"/>
                </a:lnTo>
                <a:lnTo>
                  <a:pt x="782" y="483"/>
                </a:lnTo>
                <a:lnTo>
                  <a:pt x="780" y="481"/>
                </a:lnTo>
                <a:lnTo>
                  <a:pt x="780" y="481"/>
                </a:lnTo>
                <a:lnTo>
                  <a:pt x="782" y="479"/>
                </a:lnTo>
                <a:lnTo>
                  <a:pt x="782" y="479"/>
                </a:lnTo>
                <a:lnTo>
                  <a:pt x="782" y="479"/>
                </a:lnTo>
                <a:lnTo>
                  <a:pt x="780" y="473"/>
                </a:lnTo>
                <a:lnTo>
                  <a:pt x="776" y="470"/>
                </a:lnTo>
                <a:lnTo>
                  <a:pt x="773" y="466"/>
                </a:lnTo>
                <a:lnTo>
                  <a:pt x="769" y="462"/>
                </a:lnTo>
                <a:lnTo>
                  <a:pt x="763" y="460"/>
                </a:lnTo>
                <a:lnTo>
                  <a:pt x="759" y="456"/>
                </a:lnTo>
                <a:lnTo>
                  <a:pt x="753" y="452"/>
                </a:lnTo>
                <a:lnTo>
                  <a:pt x="750" y="451"/>
                </a:lnTo>
                <a:lnTo>
                  <a:pt x="746" y="447"/>
                </a:lnTo>
                <a:lnTo>
                  <a:pt x="740" y="443"/>
                </a:lnTo>
                <a:lnTo>
                  <a:pt x="736" y="439"/>
                </a:lnTo>
                <a:lnTo>
                  <a:pt x="734" y="435"/>
                </a:lnTo>
                <a:lnTo>
                  <a:pt x="731" y="430"/>
                </a:lnTo>
                <a:lnTo>
                  <a:pt x="729" y="424"/>
                </a:lnTo>
                <a:lnTo>
                  <a:pt x="727" y="416"/>
                </a:lnTo>
                <a:lnTo>
                  <a:pt x="727" y="410"/>
                </a:lnTo>
                <a:lnTo>
                  <a:pt x="727" y="410"/>
                </a:lnTo>
                <a:lnTo>
                  <a:pt x="727" y="401"/>
                </a:lnTo>
                <a:lnTo>
                  <a:pt x="729" y="393"/>
                </a:lnTo>
                <a:lnTo>
                  <a:pt x="731" y="386"/>
                </a:lnTo>
                <a:lnTo>
                  <a:pt x="732" y="380"/>
                </a:lnTo>
                <a:lnTo>
                  <a:pt x="734" y="372"/>
                </a:lnTo>
                <a:lnTo>
                  <a:pt x="736" y="367"/>
                </a:lnTo>
                <a:lnTo>
                  <a:pt x="740" y="361"/>
                </a:lnTo>
                <a:lnTo>
                  <a:pt x="742" y="353"/>
                </a:lnTo>
                <a:lnTo>
                  <a:pt x="746" y="348"/>
                </a:lnTo>
                <a:lnTo>
                  <a:pt x="748" y="342"/>
                </a:lnTo>
                <a:lnTo>
                  <a:pt x="752" y="334"/>
                </a:lnTo>
                <a:lnTo>
                  <a:pt x="753" y="328"/>
                </a:lnTo>
                <a:lnTo>
                  <a:pt x="755" y="321"/>
                </a:lnTo>
                <a:lnTo>
                  <a:pt x="757" y="313"/>
                </a:lnTo>
                <a:lnTo>
                  <a:pt x="757" y="307"/>
                </a:lnTo>
                <a:lnTo>
                  <a:pt x="757" y="298"/>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0" name="Freeform 10"/>
          <p:cNvSpPr>
            <a:spLocks/>
          </p:cNvSpPr>
          <p:nvPr/>
        </p:nvSpPr>
        <p:spPr bwMode="auto">
          <a:xfrm>
            <a:off x="4795838" y="4770339"/>
            <a:ext cx="542925" cy="955675"/>
          </a:xfrm>
          <a:custGeom>
            <a:avLst/>
            <a:gdLst>
              <a:gd name="T0" fmla="*/ 23 w 605"/>
              <a:gd name="T1" fmla="*/ 758 h 1093"/>
              <a:gd name="T2" fmla="*/ 84 w 605"/>
              <a:gd name="T3" fmla="*/ 693 h 1093"/>
              <a:gd name="T4" fmla="*/ 118 w 605"/>
              <a:gd name="T5" fmla="*/ 605 h 1093"/>
              <a:gd name="T6" fmla="*/ 115 w 605"/>
              <a:gd name="T7" fmla="*/ 563 h 1093"/>
              <a:gd name="T8" fmla="*/ 107 w 605"/>
              <a:gd name="T9" fmla="*/ 514 h 1093"/>
              <a:gd name="T10" fmla="*/ 103 w 605"/>
              <a:gd name="T11" fmla="*/ 470 h 1093"/>
              <a:gd name="T12" fmla="*/ 122 w 605"/>
              <a:gd name="T13" fmla="*/ 422 h 1093"/>
              <a:gd name="T14" fmla="*/ 139 w 605"/>
              <a:gd name="T15" fmla="*/ 388 h 1093"/>
              <a:gd name="T16" fmla="*/ 156 w 605"/>
              <a:gd name="T17" fmla="*/ 355 h 1093"/>
              <a:gd name="T18" fmla="*/ 200 w 605"/>
              <a:gd name="T19" fmla="*/ 330 h 1093"/>
              <a:gd name="T20" fmla="*/ 242 w 605"/>
              <a:gd name="T21" fmla="*/ 317 h 1093"/>
              <a:gd name="T22" fmla="*/ 280 w 605"/>
              <a:gd name="T23" fmla="*/ 306 h 1093"/>
              <a:gd name="T24" fmla="*/ 313 w 605"/>
              <a:gd name="T25" fmla="*/ 285 h 1093"/>
              <a:gd name="T26" fmla="*/ 340 w 605"/>
              <a:gd name="T27" fmla="*/ 260 h 1093"/>
              <a:gd name="T28" fmla="*/ 370 w 605"/>
              <a:gd name="T29" fmla="*/ 241 h 1093"/>
              <a:gd name="T30" fmla="*/ 408 w 605"/>
              <a:gd name="T31" fmla="*/ 212 h 1093"/>
              <a:gd name="T32" fmla="*/ 420 w 605"/>
              <a:gd name="T33" fmla="*/ 187 h 1093"/>
              <a:gd name="T34" fmla="*/ 431 w 605"/>
              <a:gd name="T35" fmla="*/ 164 h 1093"/>
              <a:gd name="T36" fmla="*/ 446 w 605"/>
              <a:gd name="T37" fmla="*/ 143 h 1093"/>
              <a:gd name="T38" fmla="*/ 490 w 605"/>
              <a:gd name="T39" fmla="*/ 115 h 1093"/>
              <a:gd name="T40" fmla="*/ 507 w 605"/>
              <a:gd name="T41" fmla="*/ 77 h 1093"/>
              <a:gd name="T42" fmla="*/ 506 w 605"/>
              <a:gd name="T43" fmla="*/ 42 h 1093"/>
              <a:gd name="T44" fmla="*/ 538 w 605"/>
              <a:gd name="T45" fmla="*/ 8 h 1093"/>
              <a:gd name="T46" fmla="*/ 555 w 605"/>
              <a:gd name="T47" fmla="*/ 21 h 1093"/>
              <a:gd name="T48" fmla="*/ 570 w 605"/>
              <a:gd name="T49" fmla="*/ 69 h 1093"/>
              <a:gd name="T50" fmla="*/ 586 w 605"/>
              <a:gd name="T51" fmla="*/ 122 h 1093"/>
              <a:gd name="T52" fmla="*/ 597 w 605"/>
              <a:gd name="T53" fmla="*/ 178 h 1093"/>
              <a:gd name="T54" fmla="*/ 603 w 605"/>
              <a:gd name="T55" fmla="*/ 233 h 1093"/>
              <a:gd name="T56" fmla="*/ 605 w 605"/>
              <a:gd name="T57" fmla="*/ 281 h 1093"/>
              <a:gd name="T58" fmla="*/ 590 w 605"/>
              <a:gd name="T59" fmla="*/ 317 h 1093"/>
              <a:gd name="T60" fmla="*/ 570 w 605"/>
              <a:gd name="T61" fmla="*/ 306 h 1093"/>
              <a:gd name="T62" fmla="*/ 559 w 605"/>
              <a:gd name="T63" fmla="*/ 290 h 1093"/>
              <a:gd name="T64" fmla="*/ 549 w 605"/>
              <a:gd name="T65" fmla="*/ 317 h 1093"/>
              <a:gd name="T66" fmla="*/ 553 w 605"/>
              <a:gd name="T67" fmla="*/ 349 h 1093"/>
              <a:gd name="T68" fmla="*/ 551 w 605"/>
              <a:gd name="T69" fmla="*/ 380 h 1093"/>
              <a:gd name="T70" fmla="*/ 527 w 605"/>
              <a:gd name="T71" fmla="*/ 414 h 1093"/>
              <a:gd name="T72" fmla="*/ 513 w 605"/>
              <a:gd name="T73" fmla="*/ 447 h 1093"/>
              <a:gd name="T74" fmla="*/ 506 w 605"/>
              <a:gd name="T75" fmla="*/ 485 h 1093"/>
              <a:gd name="T76" fmla="*/ 496 w 605"/>
              <a:gd name="T77" fmla="*/ 527 h 1093"/>
              <a:gd name="T78" fmla="*/ 467 w 605"/>
              <a:gd name="T79" fmla="*/ 594 h 1093"/>
              <a:gd name="T80" fmla="*/ 424 w 605"/>
              <a:gd name="T81" fmla="*/ 674 h 1093"/>
              <a:gd name="T82" fmla="*/ 393 w 605"/>
              <a:gd name="T83" fmla="*/ 741 h 1093"/>
              <a:gd name="T84" fmla="*/ 368 w 605"/>
              <a:gd name="T85" fmla="*/ 798 h 1093"/>
              <a:gd name="T86" fmla="*/ 343 w 605"/>
              <a:gd name="T87" fmla="*/ 847 h 1093"/>
              <a:gd name="T88" fmla="*/ 322 w 605"/>
              <a:gd name="T89" fmla="*/ 895 h 1093"/>
              <a:gd name="T90" fmla="*/ 298 w 605"/>
              <a:gd name="T91" fmla="*/ 969 h 1093"/>
              <a:gd name="T92" fmla="*/ 261 w 605"/>
              <a:gd name="T93" fmla="*/ 1034 h 1093"/>
              <a:gd name="T94" fmla="*/ 223 w 605"/>
              <a:gd name="T95" fmla="*/ 1063 h 1093"/>
              <a:gd name="T96" fmla="*/ 187 w 605"/>
              <a:gd name="T97" fmla="*/ 1067 h 1093"/>
              <a:gd name="T98" fmla="*/ 166 w 605"/>
              <a:gd name="T99" fmla="*/ 1076 h 1093"/>
              <a:gd name="T100" fmla="*/ 141 w 605"/>
              <a:gd name="T101" fmla="*/ 1088 h 1093"/>
              <a:gd name="T102" fmla="*/ 116 w 605"/>
              <a:gd name="T103" fmla="*/ 1093 h 1093"/>
              <a:gd name="T104" fmla="*/ 59 w 605"/>
              <a:gd name="T105" fmla="*/ 1069 h 1093"/>
              <a:gd name="T106" fmla="*/ 17 w 605"/>
              <a:gd name="T107" fmla="*/ 1013 h 1093"/>
              <a:gd name="T108" fmla="*/ 8 w 605"/>
              <a:gd name="T109" fmla="*/ 966 h 1093"/>
              <a:gd name="T110" fmla="*/ 27 w 605"/>
              <a:gd name="T111" fmla="*/ 931 h 1093"/>
              <a:gd name="T112" fmla="*/ 23 w 605"/>
              <a:gd name="T113" fmla="*/ 903 h 1093"/>
              <a:gd name="T114" fmla="*/ 10 w 605"/>
              <a:gd name="T115" fmla="*/ 874 h 1093"/>
              <a:gd name="T116" fmla="*/ 0 w 605"/>
              <a:gd name="T117" fmla="*/ 840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5" h="1093">
                <a:moveTo>
                  <a:pt x="0" y="813"/>
                </a:moveTo>
                <a:lnTo>
                  <a:pt x="0" y="813"/>
                </a:lnTo>
                <a:lnTo>
                  <a:pt x="4" y="796"/>
                </a:lnTo>
                <a:lnTo>
                  <a:pt x="8" y="783"/>
                </a:lnTo>
                <a:lnTo>
                  <a:pt x="13" y="769"/>
                </a:lnTo>
                <a:lnTo>
                  <a:pt x="23" y="758"/>
                </a:lnTo>
                <a:lnTo>
                  <a:pt x="31" y="746"/>
                </a:lnTo>
                <a:lnTo>
                  <a:pt x="42" y="735"/>
                </a:lnTo>
                <a:lnTo>
                  <a:pt x="52" y="725"/>
                </a:lnTo>
                <a:lnTo>
                  <a:pt x="63" y="714"/>
                </a:lnTo>
                <a:lnTo>
                  <a:pt x="73" y="704"/>
                </a:lnTo>
                <a:lnTo>
                  <a:pt x="84" y="693"/>
                </a:lnTo>
                <a:lnTo>
                  <a:pt x="94" y="681"/>
                </a:lnTo>
                <a:lnTo>
                  <a:pt x="101" y="668"/>
                </a:lnTo>
                <a:lnTo>
                  <a:pt x="109" y="655"/>
                </a:lnTo>
                <a:lnTo>
                  <a:pt x="115" y="639"/>
                </a:lnTo>
                <a:lnTo>
                  <a:pt x="118" y="624"/>
                </a:lnTo>
                <a:lnTo>
                  <a:pt x="118" y="605"/>
                </a:lnTo>
                <a:lnTo>
                  <a:pt x="118" y="605"/>
                </a:lnTo>
                <a:lnTo>
                  <a:pt x="118" y="597"/>
                </a:lnTo>
                <a:lnTo>
                  <a:pt x="118" y="588"/>
                </a:lnTo>
                <a:lnTo>
                  <a:pt x="118" y="580"/>
                </a:lnTo>
                <a:lnTo>
                  <a:pt x="116" y="571"/>
                </a:lnTo>
                <a:lnTo>
                  <a:pt x="115" y="563"/>
                </a:lnTo>
                <a:lnTo>
                  <a:pt x="115" y="555"/>
                </a:lnTo>
                <a:lnTo>
                  <a:pt x="113" y="546"/>
                </a:lnTo>
                <a:lnTo>
                  <a:pt x="111" y="538"/>
                </a:lnTo>
                <a:lnTo>
                  <a:pt x="111" y="531"/>
                </a:lnTo>
                <a:lnTo>
                  <a:pt x="109" y="521"/>
                </a:lnTo>
                <a:lnTo>
                  <a:pt x="107" y="514"/>
                </a:lnTo>
                <a:lnTo>
                  <a:pt x="107" y="504"/>
                </a:lnTo>
                <a:lnTo>
                  <a:pt x="105" y="496"/>
                </a:lnTo>
                <a:lnTo>
                  <a:pt x="105" y="487"/>
                </a:lnTo>
                <a:lnTo>
                  <a:pt x="103" y="479"/>
                </a:lnTo>
                <a:lnTo>
                  <a:pt x="103" y="470"/>
                </a:lnTo>
                <a:lnTo>
                  <a:pt x="103" y="470"/>
                </a:lnTo>
                <a:lnTo>
                  <a:pt x="105" y="458"/>
                </a:lnTo>
                <a:lnTo>
                  <a:pt x="107" y="451"/>
                </a:lnTo>
                <a:lnTo>
                  <a:pt x="111" y="443"/>
                </a:lnTo>
                <a:lnTo>
                  <a:pt x="115" y="435"/>
                </a:lnTo>
                <a:lnTo>
                  <a:pt x="118" y="428"/>
                </a:lnTo>
                <a:lnTo>
                  <a:pt x="122" y="422"/>
                </a:lnTo>
                <a:lnTo>
                  <a:pt x="128" y="416"/>
                </a:lnTo>
                <a:lnTo>
                  <a:pt x="132" y="411"/>
                </a:lnTo>
                <a:lnTo>
                  <a:pt x="132" y="411"/>
                </a:lnTo>
                <a:lnTo>
                  <a:pt x="134" y="403"/>
                </a:lnTo>
                <a:lnTo>
                  <a:pt x="137" y="395"/>
                </a:lnTo>
                <a:lnTo>
                  <a:pt x="139" y="388"/>
                </a:lnTo>
                <a:lnTo>
                  <a:pt x="141" y="380"/>
                </a:lnTo>
                <a:lnTo>
                  <a:pt x="145" y="372"/>
                </a:lnTo>
                <a:lnTo>
                  <a:pt x="147" y="367"/>
                </a:lnTo>
                <a:lnTo>
                  <a:pt x="151" y="359"/>
                </a:lnTo>
                <a:lnTo>
                  <a:pt x="156" y="355"/>
                </a:lnTo>
                <a:lnTo>
                  <a:pt x="156" y="355"/>
                </a:lnTo>
                <a:lnTo>
                  <a:pt x="164" y="349"/>
                </a:lnTo>
                <a:lnTo>
                  <a:pt x="172" y="344"/>
                </a:lnTo>
                <a:lnTo>
                  <a:pt x="179" y="340"/>
                </a:lnTo>
                <a:lnTo>
                  <a:pt x="185" y="336"/>
                </a:lnTo>
                <a:lnTo>
                  <a:pt x="193" y="334"/>
                </a:lnTo>
                <a:lnTo>
                  <a:pt x="200" y="330"/>
                </a:lnTo>
                <a:lnTo>
                  <a:pt x="206" y="328"/>
                </a:lnTo>
                <a:lnTo>
                  <a:pt x="214" y="327"/>
                </a:lnTo>
                <a:lnTo>
                  <a:pt x="221" y="325"/>
                </a:lnTo>
                <a:lnTo>
                  <a:pt x="227" y="321"/>
                </a:lnTo>
                <a:lnTo>
                  <a:pt x="235" y="319"/>
                </a:lnTo>
                <a:lnTo>
                  <a:pt x="242" y="317"/>
                </a:lnTo>
                <a:lnTo>
                  <a:pt x="250" y="315"/>
                </a:lnTo>
                <a:lnTo>
                  <a:pt x="258" y="313"/>
                </a:lnTo>
                <a:lnTo>
                  <a:pt x="265" y="311"/>
                </a:lnTo>
                <a:lnTo>
                  <a:pt x="273" y="307"/>
                </a:lnTo>
                <a:lnTo>
                  <a:pt x="273" y="307"/>
                </a:lnTo>
                <a:lnTo>
                  <a:pt x="280" y="306"/>
                </a:lnTo>
                <a:lnTo>
                  <a:pt x="286" y="302"/>
                </a:lnTo>
                <a:lnTo>
                  <a:pt x="292" y="298"/>
                </a:lnTo>
                <a:lnTo>
                  <a:pt x="298" y="294"/>
                </a:lnTo>
                <a:lnTo>
                  <a:pt x="303" y="290"/>
                </a:lnTo>
                <a:lnTo>
                  <a:pt x="307" y="288"/>
                </a:lnTo>
                <a:lnTo>
                  <a:pt x="313" y="285"/>
                </a:lnTo>
                <a:lnTo>
                  <a:pt x="317" y="281"/>
                </a:lnTo>
                <a:lnTo>
                  <a:pt x="321" y="277"/>
                </a:lnTo>
                <a:lnTo>
                  <a:pt x="324" y="273"/>
                </a:lnTo>
                <a:lnTo>
                  <a:pt x="330" y="267"/>
                </a:lnTo>
                <a:lnTo>
                  <a:pt x="334" y="266"/>
                </a:lnTo>
                <a:lnTo>
                  <a:pt x="340" y="260"/>
                </a:lnTo>
                <a:lnTo>
                  <a:pt x="343" y="256"/>
                </a:lnTo>
                <a:lnTo>
                  <a:pt x="349" y="252"/>
                </a:lnTo>
                <a:lnTo>
                  <a:pt x="355" y="248"/>
                </a:lnTo>
                <a:lnTo>
                  <a:pt x="355" y="248"/>
                </a:lnTo>
                <a:lnTo>
                  <a:pt x="363" y="245"/>
                </a:lnTo>
                <a:lnTo>
                  <a:pt x="370" y="241"/>
                </a:lnTo>
                <a:lnTo>
                  <a:pt x="378" y="235"/>
                </a:lnTo>
                <a:lnTo>
                  <a:pt x="385" y="231"/>
                </a:lnTo>
                <a:lnTo>
                  <a:pt x="393" y="227"/>
                </a:lnTo>
                <a:lnTo>
                  <a:pt x="399" y="224"/>
                </a:lnTo>
                <a:lnTo>
                  <a:pt x="404" y="218"/>
                </a:lnTo>
                <a:lnTo>
                  <a:pt x="408" y="212"/>
                </a:lnTo>
                <a:lnTo>
                  <a:pt x="408" y="212"/>
                </a:lnTo>
                <a:lnTo>
                  <a:pt x="412" y="206"/>
                </a:lnTo>
                <a:lnTo>
                  <a:pt x="414" y="201"/>
                </a:lnTo>
                <a:lnTo>
                  <a:pt x="416" y="197"/>
                </a:lnTo>
                <a:lnTo>
                  <a:pt x="418" y="191"/>
                </a:lnTo>
                <a:lnTo>
                  <a:pt x="420" y="187"/>
                </a:lnTo>
                <a:lnTo>
                  <a:pt x="422" y="182"/>
                </a:lnTo>
                <a:lnTo>
                  <a:pt x="424" y="178"/>
                </a:lnTo>
                <a:lnTo>
                  <a:pt x="424" y="174"/>
                </a:lnTo>
                <a:lnTo>
                  <a:pt x="425" y="172"/>
                </a:lnTo>
                <a:lnTo>
                  <a:pt x="427" y="168"/>
                </a:lnTo>
                <a:lnTo>
                  <a:pt x="431" y="164"/>
                </a:lnTo>
                <a:lnTo>
                  <a:pt x="433" y="161"/>
                </a:lnTo>
                <a:lnTo>
                  <a:pt x="435" y="157"/>
                </a:lnTo>
                <a:lnTo>
                  <a:pt x="439" y="153"/>
                </a:lnTo>
                <a:lnTo>
                  <a:pt x="443" y="149"/>
                </a:lnTo>
                <a:lnTo>
                  <a:pt x="446" y="143"/>
                </a:lnTo>
                <a:lnTo>
                  <a:pt x="446" y="143"/>
                </a:lnTo>
                <a:lnTo>
                  <a:pt x="454" y="138"/>
                </a:lnTo>
                <a:lnTo>
                  <a:pt x="462" y="132"/>
                </a:lnTo>
                <a:lnTo>
                  <a:pt x="469" y="128"/>
                </a:lnTo>
                <a:lnTo>
                  <a:pt x="477" y="124"/>
                </a:lnTo>
                <a:lnTo>
                  <a:pt x="485" y="119"/>
                </a:lnTo>
                <a:lnTo>
                  <a:pt x="490" y="115"/>
                </a:lnTo>
                <a:lnTo>
                  <a:pt x="498" y="109"/>
                </a:lnTo>
                <a:lnTo>
                  <a:pt x="504" y="101"/>
                </a:lnTo>
                <a:lnTo>
                  <a:pt x="504" y="101"/>
                </a:lnTo>
                <a:lnTo>
                  <a:pt x="506" y="94"/>
                </a:lnTo>
                <a:lnTo>
                  <a:pt x="507" y="86"/>
                </a:lnTo>
                <a:lnTo>
                  <a:pt x="507" y="77"/>
                </a:lnTo>
                <a:lnTo>
                  <a:pt x="507" y="69"/>
                </a:lnTo>
                <a:lnTo>
                  <a:pt x="507" y="61"/>
                </a:lnTo>
                <a:lnTo>
                  <a:pt x="506" y="54"/>
                </a:lnTo>
                <a:lnTo>
                  <a:pt x="506" y="46"/>
                </a:lnTo>
                <a:lnTo>
                  <a:pt x="506" y="42"/>
                </a:lnTo>
                <a:lnTo>
                  <a:pt x="506" y="42"/>
                </a:lnTo>
                <a:lnTo>
                  <a:pt x="507" y="38"/>
                </a:lnTo>
                <a:lnTo>
                  <a:pt x="511" y="33"/>
                </a:lnTo>
                <a:lnTo>
                  <a:pt x="517" y="27"/>
                </a:lnTo>
                <a:lnTo>
                  <a:pt x="525" y="19"/>
                </a:lnTo>
                <a:lnTo>
                  <a:pt x="532" y="14"/>
                </a:lnTo>
                <a:lnTo>
                  <a:pt x="538" y="8"/>
                </a:lnTo>
                <a:lnTo>
                  <a:pt x="544" y="2"/>
                </a:lnTo>
                <a:lnTo>
                  <a:pt x="546" y="0"/>
                </a:lnTo>
                <a:lnTo>
                  <a:pt x="546" y="0"/>
                </a:lnTo>
                <a:lnTo>
                  <a:pt x="549" y="8"/>
                </a:lnTo>
                <a:lnTo>
                  <a:pt x="551" y="14"/>
                </a:lnTo>
                <a:lnTo>
                  <a:pt x="555" y="21"/>
                </a:lnTo>
                <a:lnTo>
                  <a:pt x="557" y="29"/>
                </a:lnTo>
                <a:lnTo>
                  <a:pt x="561" y="37"/>
                </a:lnTo>
                <a:lnTo>
                  <a:pt x="563" y="44"/>
                </a:lnTo>
                <a:lnTo>
                  <a:pt x="567" y="54"/>
                </a:lnTo>
                <a:lnTo>
                  <a:pt x="569" y="61"/>
                </a:lnTo>
                <a:lnTo>
                  <a:pt x="570" y="69"/>
                </a:lnTo>
                <a:lnTo>
                  <a:pt x="574" y="79"/>
                </a:lnTo>
                <a:lnTo>
                  <a:pt x="576" y="86"/>
                </a:lnTo>
                <a:lnTo>
                  <a:pt x="578" y="96"/>
                </a:lnTo>
                <a:lnTo>
                  <a:pt x="582" y="105"/>
                </a:lnTo>
                <a:lnTo>
                  <a:pt x="584" y="113"/>
                </a:lnTo>
                <a:lnTo>
                  <a:pt x="586" y="122"/>
                </a:lnTo>
                <a:lnTo>
                  <a:pt x="588" y="132"/>
                </a:lnTo>
                <a:lnTo>
                  <a:pt x="590" y="140"/>
                </a:lnTo>
                <a:lnTo>
                  <a:pt x="591" y="149"/>
                </a:lnTo>
                <a:lnTo>
                  <a:pt x="593" y="159"/>
                </a:lnTo>
                <a:lnTo>
                  <a:pt x="595" y="168"/>
                </a:lnTo>
                <a:lnTo>
                  <a:pt x="597" y="178"/>
                </a:lnTo>
                <a:lnTo>
                  <a:pt x="599" y="187"/>
                </a:lnTo>
                <a:lnTo>
                  <a:pt x="599" y="197"/>
                </a:lnTo>
                <a:lnTo>
                  <a:pt x="601" y="206"/>
                </a:lnTo>
                <a:lnTo>
                  <a:pt x="601" y="216"/>
                </a:lnTo>
                <a:lnTo>
                  <a:pt x="603" y="225"/>
                </a:lnTo>
                <a:lnTo>
                  <a:pt x="603" y="233"/>
                </a:lnTo>
                <a:lnTo>
                  <a:pt x="605" y="243"/>
                </a:lnTo>
                <a:lnTo>
                  <a:pt x="605" y="252"/>
                </a:lnTo>
                <a:lnTo>
                  <a:pt x="605" y="262"/>
                </a:lnTo>
                <a:lnTo>
                  <a:pt x="605" y="271"/>
                </a:lnTo>
                <a:lnTo>
                  <a:pt x="605" y="281"/>
                </a:lnTo>
                <a:lnTo>
                  <a:pt x="605" y="281"/>
                </a:lnTo>
                <a:lnTo>
                  <a:pt x="605" y="288"/>
                </a:lnTo>
                <a:lnTo>
                  <a:pt x="603" y="294"/>
                </a:lnTo>
                <a:lnTo>
                  <a:pt x="601" y="302"/>
                </a:lnTo>
                <a:lnTo>
                  <a:pt x="597" y="307"/>
                </a:lnTo>
                <a:lnTo>
                  <a:pt x="593" y="313"/>
                </a:lnTo>
                <a:lnTo>
                  <a:pt x="590" y="317"/>
                </a:lnTo>
                <a:lnTo>
                  <a:pt x="584" y="321"/>
                </a:lnTo>
                <a:lnTo>
                  <a:pt x="576" y="321"/>
                </a:lnTo>
                <a:lnTo>
                  <a:pt x="576" y="321"/>
                </a:lnTo>
                <a:lnTo>
                  <a:pt x="574" y="315"/>
                </a:lnTo>
                <a:lnTo>
                  <a:pt x="574" y="309"/>
                </a:lnTo>
                <a:lnTo>
                  <a:pt x="570" y="306"/>
                </a:lnTo>
                <a:lnTo>
                  <a:pt x="569" y="300"/>
                </a:lnTo>
                <a:lnTo>
                  <a:pt x="567" y="298"/>
                </a:lnTo>
                <a:lnTo>
                  <a:pt x="565" y="294"/>
                </a:lnTo>
                <a:lnTo>
                  <a:pt x="561" y="292"/>
                </a:lnTo>
                <a:lnTo>
                  <a:pt x="559" y="290"/>
                </a:lnTo>
                <a:lnTo>
                  <a:pt x="559" y="290"/>
                </a:lnTo>
                <a:lnTo>
                  <a:pt x="555" y="294"/>
                </a:lnTo>
                <a:lnTo>
                  <a:pt x="553" y="298"/>
                </a:lnTo>
                <a:lnTo>
                  <a:pt x="551" y="302"/>
                </a:lnTo>
                <a:lnTo>
                  <a:pt x="551" y="307"/>
                </a:lnTo>
                <a:lnTo>
                  <a:pt x="549" y="311"/>
                </a:lnTo>
                <a:lnTo>
                  <a:pt x="549" y="317"/>
                </a:lnTo>
                <a:lnTo>
                  <a:pt x="549" y="323"/>
                </a:lnTo>
                <a:lnTo>
                  <a:pt x="551" y="327"/>
                </a:lnTo>
                <a:lnTo>
                  <a:pt x="551" y="332"/>
                </a:lnTo>
                <a:lnTo>
                  <a:pt x="551" y="338"/>
                </a:lnTo>
                <a:lnTo>
                  <a:pt x="551" y="344"/>
                </a:lnTo>
                <a:lnTo>
                  <a:pt x="553" y="349"/>
                </a:lnTo>
                <a:lnTo>
                  <a:pt x="553" y="355"/>
                </a:lnTo>
                <a:lnTo>
                  <a:pt x="553" y="361"/>
                </a:lnTo>
                <a:lnTo>
                  <a:pt x="553" y="367"/>
                </a:lnTo>
                <a:lnTo>
                  <a:pt x="553" y="372"/>
                </a:lnTo>
                <a:lnTo>
                  <a:pt x="553" y="372"/>
                </a:lnTo>
                <a:lnTo>
                  <a:pt x="551" y="380"/>
                </a:lnTo>
                <a:lnTo>
                  <a:pt x="548" y="386"/>
                </a:lnTo>
                <a:lnTo>
                  <a:pt x="544" y="391"/>
                </a:lnTo>
                <a:lnTo>
                  <a:pt x="540" y="397"/>
                </a:lnTo>
                <a:lnTo>
                  <a:pt x="534" y="403"/>
                </a:lnTo>
                <a:lnTo>
                  <a:pt x="530" y="409"/>
                </a:lnTo>
                <a:lnTo>
                  <a:pt x="527" y="414"/>
                </a:lnTo>
                <a:lnTo>
                  <a:pt x="523" y="420"/>
                </a:lnTo>
                <a:lnTo>
                  <a:pt x="523" y="420"/>
                </a:lnTo>
                <a:lnTo>
                  <a:pt x="519" y="428"/>
                </a:lnTo>
                <a:lnTo>
                  <a:pt x="517" y="433"/>
                </a:lnTo>
                <a:lnTo>
                  <a:pt x="515" y="439"/>
                </a:lnTo>
                <a:lnTo>
                  <a:pt x="513" y="447"/>
                </a:lnTo>
                <a:lnTo>
                  <a:pt x="511" y="452"/>
                </a:lnTo>
                <a:lnTo>
                  <a:pt x="509" y="460"/>
                </a:lnTo>
                <a:lnTo>
                  <a:pt x="507" y="466"/>
                </a:lnTo>
                <a:lnTo>
                  <a:pt x="507" y="472"/>
                </a:lnTo>
                <a:lnTo>
                  <a:pt x="506" y="479"/>
                </a:lnTo>
                <a:lnTo>
                  <a:pt x="506" y="485"/>
                </a:lnTo>
                <a:lnTo>
                  <a:pt x="504" y="493"/>
                </a:lnTo>
                <a:lnTo>
                  <a:pt x="504" y="498"/>
                </a:lnTo>
                <a:lnTo>
                  <a:pt x="502" y="504"/>
                </a:lnTo>
                <a:lnTo>
                  <a:pt x="500" y="512"/>
                </a:lnTo>
                <a:lnTo>
                  <a:pt x="500" y="519"/>
                </a:lnTo>
                <a:lnTo>
                  <a:pt x="496" y="527"/>
                </a:lnTo>
                <a:lnTo>
                  <a:pt x="496" y="527"/>
                </a:lnTo>
                <a:lnTo>
                  <a:pt x="492" y="540"/>
                </a:lnTo>
                <a:lnTo>
                  <a:pt x="486" y="554"/>
                </a:lnTo>
                <a:lnTo>
                  <a:pt x="481" y="567"/>
                </a:lnTo>
                <a:lnTo>
                  <a:pt x="475" y="580"/>
                </a:lnTo>
                <a:lnTo>
                  <a:pt x="467" y="594"/>
                </a:lnTo>
                <a:lnTo>
                  <a:pt x="462" y="607"/>
                </a:lnTo>
                <a:lnTo>
                  <a:pt x="454" y="620"/>
                </a:lnTo>
                <a:lnTo>
                  <a:pt x="446" y="634"/>
                </a:lnTo>
                <a:lnTo>
                  <a:pt x="439" y="647"/>
                </a:lnTo>
                <a:lnTo>
                  <a:pt x="431" y="660"/>
                </a:lnTo>
                <a:lnTo>
                  <a:pt x="424" y="674"/>
                </a:lnTo>
                <a:lnTo>
                  <a:pt x="416" y="685"/>
                </a:lnTo>
                <a:lnTo>
                  <a:pt x="410" y="699"/>
                </a:lnTo>
                <a:lnTo>
                  <a:pt x="404" y="714"/>
                </a:lnTo>
                <a:lnTo>
                  <a:pt x="399" y="727"/>
                </a:lnTo>
                <a:lnTo>
                  <a:pt x="393" y="741"/>
                </a:lnTo>
                <a:lnTo>
                  <a:pt x="393" y="741"/>
                </a:lnTo>
                <a:lnTo>
                  <a:pt x="389" y="752"/>
                </a:lnTo>
                <a:lnTo>
                  <a:pt x="385" y="762"/>
                </a:lnTo>
                <a:lnTo>
                  <a:pt x="382" y="773"/>
                </a:lnTo>
                <a:lnTo>
                  <a:pt x="378" y="781"/>
                </a:lnTo>
                <a:lnTo>
                  <a:pt x="374" y="790"/>
                </a:lnTo>
                <a:lnTo>
                  <a:pt x="368" y="798"/>
                </a:lnTo>
                <a:lnTo>
                  <a:pt x="364" y="807"/>
                </a:lnTo>
                <a:lnTo>
                  <a:pt x="361" y="815"/>
                </a:lnTo>
                <a:lnTo>
                  <a:pt x="357" y="823"/>
                </a:lnTo>
                <a:lnTo>
                  <a:pt x="353" y="830"/>
                </a:lnTo>
                <a:lnTo>
                  <a:pt x="349" y="838"/>
                </a:lnTo>
                <a:lnTo>
                  <a:pt x="343" y="847"/>
                </a:lnTo>
                <a:lnTo>
                  <a:pt x="340" y="855"/>
                </a:lnTo>
                <a:lnTo>
                  <a:pt x="336" y="865"/>
                </a:lnTo>
                <a:lnTo>
                  <a:pt x="332" y="872"/>
                </a:lnTo>
                <a:lnTo>
                  <a:pt x="328" y="884"/>
                </a:lnTo>
                <a:lnTo>
                  <a:pt x="328" y="884"/>
                </a:lnTo>
                <a:lnTo>
                  <a:pt x="322" y="895"/>
                </a:lnTo>
                <a:lnTo>
                  <a:pt x="319" y="908"/>
                </a:lnTo>
                <a:lnTo>
                  <a:pt x="315" y="922"/>
                </a:lnTo>
                <a:lnTo>
                  <a:pt x="309" y="933"/>
                </a:lnTo>
                <a:lnTo>
                  <a:pt x="305" y="947"/>
                </a:lnTo>
                <a:lnTo>
                  <a:pt x="301" y="958"/>
                </a:lnTo>
                <a:lnTo>
                  <a:pt x="298" y="969"/>
                </a:lnTo>
                <a:lnTo>
                  <a:pt x="292" y="981"/>
                </a:lnTo>
                <a:lnTo>
                  <a:pt x="288" y="992"/>
                </a:lnTo>
                <a:lnTo>
                  <a:pt x="282" y="1004"/>
                </a:lnTo>
                <a:lnTo>
                  <a:pt x="275" y="1013"/>
                </a:lnTo>
                <a:lnTo>
                  <a:pt x="269" y="1025"/>
                </a:lnTo>
                <a:lnTo>
                  <a:pt x="261" y="1034"/>
                </a:lnTo>
                <a:lnTo>
                  <a:pt x="254" y="1044"/>
                </a:lnTo>
                <a:lnTo>
                  <a:pt x="244" y="1052"/>
                </a:lnTo>
                <a:lnTo>
                  <a:pt x="233" y="1059"/>
                </a:lnTo>
                <a:lnTo>
                  <a:pt x="233" y="1059"/>
                </a:lnTo>
                <a:lnTo>
                  <a:pt x="229" y="1063"/>
                </a:lnTo>
                <a:lnTo>
                  <a:pt x="223" y="1063"/>
                </a:lnTo>
                <a:lnTo>
                  <a:pt x="216" y="1065"/>
                </a:lnTo>
                <a:lnTo>
                  <a:pt x="208" y="1065"/>
                </a:lnTo>
                <a:lnTo>
                  <a:pt x="202" y="1065"/>
                </a:lnTo>
                <a:lnTo>
                  <a:pt x="195" y="1065"/>
                </a:lnTo>
                <a:lnTo>
                  <a:pt x="191" y="1065"/>
                </a:lnTo>
                <a:lnTo>
                  <a:pt x="187" y="1067"/>
                </a:lnTo>
                <a:lnTo>
                  <a:pt x="187" y="1067"/>
                </a:lnTo>
                <a:lnTo>
                  <a:pt x="181" y="1069"/>
                </a:lnTo>
                <a:lnTo>
                  <a:pt x="177" y="1069"/>
                </a:lnTo>
                <a:lnTo>
                  <a:pt x="174" y="1071"/>
                </a:lnTo>
                <a:lnTo>
                  <a:pt x="170" y="1072"/>
                </a:lnTo>
                <a:lnTo>
                  <a:pt x="166" y="1076"/>
                </a:lnTo>
                <a:lnTo>
                  <a:pt x="162" y="1078"/>
                </a:lnTo>
                <a:lnTo>
                  <a:pt x="158" y="1080"/>
                </a:lnTo>
                <a:lnTo>
                  <a:pt x="155" y="1082"/>
                </a:lnTo>
                <a:lnTo>
                  <a:pt x="151" y="1084"/>
                </a:lnTo>
                <a:lnTo>
                  <a:pt x="145" y="1086"/>
                </a:lnTo>
                <a:lnTo>
                  <a:pt x="141" y="1088"/>
                </a:lnTo>
                <a:lnTo>
                  <a:pt x="137" y="1090"/>
                </a:lnTo>
                <a:lnTo>
                  <a:pt x="132" y="1092"/>
                </a:lnTo>
                <a:lnTo>
                  <a:pt x="126" y="1092"/>
                </a:lnTo>
                <a:lnTo>
                  <a:pt x="122" y="1093"/>
                </a:lnTo>
                <a:lnTo>
                  <a:pt x="116" y="1093"/>
                </a:lnTo>
                <a:lnTo>
                  <a:pt x="116" y="1093"/>
                </a:lnTo>
                <a:lnTo>
                  <a:pt x="107" y="1092"/>
                </a:lnTo>
                <a:lnTo>
                  <a:pt x="97" y="1090"/>
                </a:lnTo>
                <a:lnTo>
                  <a:pt x="88" y="1086"/>
                </a:lnTo>
                <a:lnTo>
                  <a:pt x="78" y="1082"/>
                </a:lnTo>
                <a:lnTo>
                  <a:pt x="69" y="1074"/>
                </a:lnTo>
                <a:lnTo>
                  <a:pt x="59" y="1069"/>
                </a:lnTo>
                <a:lnTo>
                  <a:pt x="52" y="1061"/>
                </a:lnTo>
                <a:lnTo>
                  <a:pt x="42" y="1052"/>
                </a:lnTo>
                <a:lnTo>
                  <a:pt x="36" y="1042"/>
                </a:lnTo>
                <a:lnTo>
                  <a:pt x="29" y="1032"/>
                </a:lnTo>
                <a:lnTo>
                  <a:pt x="23" y="1023"/>
                </a:lnTo>
                <a:lnTo>
                  <a:pt x="17" y="1013"/>
                </a:lnTo>
                <a:lnTo>
                  <a:pt x="13" y="1002"/>
                </a:lnTo>
                <a:lnTo>
                  <a:pt x="10" y="992"/>
                </a:lnTo>
                <a:lnTo>
                  <a:pt x="8" y="981"/>
                </a:lnTo>
                <a:lnTo>
                  <a:pt x="8" y="971"/>
                </a:lnTo>
                <a:lnTo>
                  <a:pt x="8" y="971"/>
                </a:lnTo>
                <a:lnTo>
                  <a:pt x="8" y="966"/>
                </a:lnTo>
                <a:lnTo>
                  <a:pt x="10" y="958"/>
                </a:lnTo>
                <a:lnTo>
                  <a:pt x="13" y="952"/>
                </a:lnTo>
                <a:lnTo>
                  <a:pt x="17" y="948"/>
                </a:lnTo>
                <a:lnTo>
                  <a:pt x="21" y="943"/>
                </a:lnTo>
                <a:lnTo>
                  <a:pt x="23" y="937"/>
                </a:lnTo>
                <a:lnTo>
                  <a:pt x="27" y="931"/>
                </a:lnTo>
                <a:lnTo>
                  <a:pt x="27" y="924"/>
                </a:lnTo>
                <a:lnTo>
                  <a:pt x="27" y="924"/>
                </a:lnTo>
                <a:lnTo>
                  <a:pt x="27" y="918"/>
                </a:lnTo>
                <a:lnTo>
                  <a:pt x="25" y="912"/>
                </a:lnTo>
                <a:lnTo>
                  <a:pt x="25" y="908"/>
                </a:lnTo>
                <a:lnTo>
                  <a:pt x="23" y="903"/>
                </a:lnTo>
                <a:lnTo>
                  <a:pt x="21" y="899"/>
                </a:lnTo>
                <a:lnTo>
                  <a:pt x="19" y="893"/>
                </a:lnTo>
                <a:lnTo>
                  <a:pt x="15" y="887"/>
                </a:lnTo>
                <a:lnTo>
                  <a:pt x="13" y="884"/>
                </a:lnTo>
                <a:lnTo>
                  <a:pt x="12" y="878"/>
                </a:lnTo>
                <a:lnTo>
                  <a:pt x="10" y="874"/>
                </a:lnTo>
                <a:lnTo>
                  <a:pt x="8" y="868"/>
                </a:lnTo>
                <a:lnTo>
                  <a:pt x="6" y="863"/>
                </a:lnTo>
                <a:lnTo>
                  <a:pt x="4" y="857"/>
                </a:lnTo>
                <a:lnTo>
                  <a:pt x="2" y="851"/>
                </a:lnTo>
                <a:lnTo>
                  <a:pt x="2" y="845"/>
                </a:lnTo>
                <a:lnTo>
                  <a:pt x="0" y="840"/>
                </a:lnTo>
                <a:lnTo>
                  <a:pt x="0" y="813"/>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1" name="Freeform 11"/>
          <p:cNvSpPr>
            <a:spLocks/>
          </p:cNvSpPr>
          <p:nvPr/>
        </p:nvSpPr>
        <p:spPr bwMode="auto">
          <a:xfrm>
            <a:off x="3602038" y="5019577"/>
            <a:ext cx="528638" cy="466725"/>
          </a:xfrm>
          <a:custGeom>
            <a:avLst/>
            <a:gdLst>
              <a:gd name="T0" fmla="*/ 21 w 588"/>
              <a:gd name="T1" fmla="*/ 179 h 534"/>
              <a:gd name="T2" fmla="*/ 54 w 588"/>
              <a:gd name="T3" fmla="*/ 186 h 534"/>
              <a:gd name="T4" fmla="*/ 84 w 588"/>
              <a:gd name="T5" fmla="*/ 196 h 534"/>
              <a:gd name="T6" fmla="*/ 111 w 588"/>
              <a:gd name="T7" fmla="*/ 196 h 534"/>
              <a:gd name="T8" fmla="*/ 143 w 588"/>
              <a:gd name="T9" fmla="*/ 179 h 534"/>
              <a:gd name="T10" fmla="*/ 166 w 588"/>
              <a:gd name="T11" fmla="*/ 146 h 534"/>
              <a:gd name="T12" fmla="*/ 185 w 588"/>
              <a:gd name="T13" fmla="*/ 118 h 534"/>
              <a:gd name="T14" fmla="*/ 201 w 588"/>
              <a:gd name="T15" fmla="*/ 103 h 534"/>
              <a:gd name="T16" fmla="*/ 224 w 588"/>
              <a:gd name="T17" fmla="*/ 93 h 534"/>
              <a:gd name="T18" fmla="*/ 250 w 588"/>
              <a:gd name="T19" fmla="*/ 83 h 534"/>
              <a:gd name="T20" fmla="*/ 269 w 588"/>
              <a:gd name="T21" fmla="*/ 74 h 534"/>
              <a:gd name="T22" fmla="*/ 273 w 588"/>
              <a:gd name="T23" fmla="*/ 49 h 534"/>
              <a:gd name="T24" fmla="*/ 287 w 588"/>
              <a:gd name="T25" fmla="*/ 30 h 534"/>
              <a:gd name="T26" fmla="*/ 315 w 588"/>
              <a:gd name="T27" fmla="*/ 9 h 534"/>
              <a:gd name="T28" fmla="*/ 350 w 588"/>
              <a:gd name="T29" fmla="*/ 0 h 534"/>
              <a:gd name="T30" fmla="*/ 374 w 588"/>
              <a:gd name="T31" fmla="*/ 0 h 534"/>
              <a:gd name="T32" fmla="*/ 390 w 588"/>
              <a:gd name="T33" fmla="*/ 1 h 534"/>
              <a:gd name="T34" fmla="*/ 462 w 588"/>
              <a:gd name="T35" fmla="*/ 38 h 534"/>
              <a:gd name="T36" fmla="*/ 500 w 588"/>
              <a:gd name="T37" fmla="*/ 68 h 534"/>
              <a:gd name="T38" fmla="*/ 554 w 588"/>
              <a:gd name="T39" fmla="*/ 89 h 534"/>
              <a:gd name="T40" fmla="*/ 586 w 588"/>
              <a:gd name="T41" fmla="*/ 131 h 534"/>
              <a:gd name="T42" fmla="*/ 584 w 588"/>
              <a:gd name="T43" fmla="*/ 173 h 534"/>
              <a:gd name="T44" fmla="*/ 573 w 588"/>
              <a:gd name="T45" fmla="*/ 217 h 534"/>
              <a:gd name="T46" fmla="*/ 561 w 588"/>
              <a:gd name="T47" fmla="*/ 257 h 534"/>
              <a:gd name="T48" fmla="*/ 559 w 588"/>
              <a:gd name="T49" fmla="*/ 289 h 534"/>
              <a:gd name="T50" fmla="*/ 571 w 588"/>
              <a:gd name="T51" fmla="*/ 322 h 534"/>
              <a:gd name="T52" fmla="*/ 571 w 588"/>
              <a:gd name="T53" fmla="*/ 345 h 534"/>
              <a:gd name="T54" fmla="*/ 556 w 588"/>
              <a:gd name="T55" fmla="*/ 368 h 534"/>
              <a:gd name="T56" fmla="*/ 536 w 588"/>
              <a:gd name="T57" fmla="*/ 391 h 534"/>
              <a:gd name="T58" fmla="*/ 525 w 588"/>
              <a:gd name="T59" fmla="*/ 408 h 534"/>
              <a:gd name="T60" fmla="*/ 521 w 588"/>
              <a:gd name="T61" fmla="*/ 436 h 534"/>
              <a:gd name="T62" fmla="*/ 514 w 588"/>
              <a:gd name="T63" fmla="*/ 454 h 534"/>
              <a:gd name="T64" fmla="*/ 487 w 588"/>
              <a:gd name="T65" fmla="*/ 482 h 534"/>
              <a:gd name="T66" fmla="*/ 449 w 588"/>
              <a:gd name="T67" fmla="*/ 517 h 534"/>
              <a:gd name="T68" fmla="*/ 428 w 588"/>
              <a:gd name="T69" fmla="*/ 534 h 534"/>
              <a:gd name="T70" fmla="*/ 412 w 588"/>
              <a:gd name="T71" fmla="*/ 534 h 534"/>
              <a:gd name="T72" fmla="*/ 397 w 588"/>
              <a:gd name="T73" fmla="*/ 534 h 534"/>
              <a:gd name="T74" fmla="*/ 369 w 588"/>
              <a:gd name="T75" fmla="*/ 534 h 534"/>
              <a:gd name="T76" fmla="*/ 342 w 588"/>
              <a:gd name="T77" fmla="*/ 524 h 534"/>
              <a:gd name="T78" fmla="*/ 304 w 588"/>
              <a:gd name="T79" fmla="*/ 518 h 534"/>
              <a:gd name="T80" fmla="*/ 283 w 588"/>
              <a:gd name="T81" fmla="*/ 509 h 534"/>
              <a:gd name="T82" fmla="*/ 266 w 588"/>
              <a:gd name="T83" fmla="*/ 494 h 534"/>
              <a:gd name="T84" fmla="*/ 247 w 588"/>
              <a:gd name="T85" fmla="*/ 478 h 534"/>
              <a:gd name="T86" fmla="*/ 224 w 588"/>
              <a:gd name="T87" fmla="*/ 471 h 534"/>
              <a:gd name="T88" fmla="*/ 187 w 588"/>
              <a:gd name="T89" fmla="*/ 454 h 534"/>
              <a:gd name="T90" fmla="*/ 178 w 588"/>
              <a:gd name="T91" fmla="*/ 434 h 534"/>
              <a:gd name="T92" fmla="*/ 176 w 588"/>
              <a:gd name="T93" fmla="*/ 406 h 534"/>
              <a:gd name="T94" fmla="*/ 174 w 588"/>
              <a:gd name="T95" fmla="*/ 383 h 534"/>
              <a:gd name="T96" fmla="*/ 159 w 588"/>
              <a:gd name="T97" fmla="*/ 372 h 534"/>
              <a:gd name="T98" fmla="*/ 143 w 588"/>
              <a:gd name="T99" fmla="*/ 352 h 534"/>
              <a:gd name="T100" fmla="*/ 128 w 588"/>
              <a:gd name="T101" fmla="*/ 337 h 534"/>
              <a:gd name="T102" fmla="*/ 86 w 588"/>
              <a:gd name="T103" fmla="*/ 320 h 534"/>
              <a:gd name="T104" fmla="*/ 63 w 588"/>
              <a:gd name="T105" fmla="*/ 305 h 534"/>
              <a:gd name="T106" fmla="*/ 54 w 588"/>
              <a:gd name="T107" fmla="*/ 282 h 534"/>
              <a:gd name="T108" fmla="*/ 44 w 588"/>
              <a:gd name="T109" fmla="*/ 255 h 534"/>
              <a:gd name="T110" fmla="*/ 21 w 588"/>
              <a:gd name="T111" fmla="*/ 227 h 534"/>
              <a:gd name="T112" fmla="*/ 4 w 588"/>
              <a:gd name="T113" fmla="*/ 19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8" h="534">
                <a:moveTo>
                  <a:pt x="0" y="177"/>
                </a:moveTo>
                <a:lnTo>
                  <a:pt x="0" y="177"/>
                </a:lnTo>
                <a:lnTo>
                  <a:pt x="6" y="177"/>
                </a:lnTo>
                <a:lnTo>
                  <a:pt x="14" y="177"/>
                </a:lnTo>
                <a:lnTo>
                  <a:pt x="21" y="179"/>
                </a:lnTo>
                <a:lnTo>
                  <a:pt x="27" y="181"/>
                </a:lnTo>
                <a:lnTo>
                  <a:pt x="35" y="181"/>
                </a:lnTo>
                <a:lnTo>
                  <a:pt x="40" y="183"/>
                </a:lnTo>
                <a:lnTo>
                  <a:pt x="46" y="185"/>
                </a:lnTo>
                <a:lnTo>
                  <a:pt x="54" y="186"/>
                </a:lnTo>
                <a:lnTo>
                  <a:pt x="60" y="188"/>
                </a:lnTo>
                <a:lnTo>
                  <a:pt x="65" y="190"/>
                </a:lnTo>
                <a:lnTo>
                  <a:pt x="71" y="192"/>
                </a:lnTo>
                <a:lnTo>
                  <a:pt x="79" y="194"/>
                </a:lnTo>
                <a:lnTo>
                  <a:pt x="84" y="196"/>
                </a:lnTo>
                <a:lnTo>
                  <a:pt x="90" y="196"/>
                </a:lnTo>
                <a:lnTo>
                  <a:pt x="96" y="198"/>
                </a:lnTo>
                <a:lnTo>
                  <a:pt x="103" y="198"/>
                </a:lnTo>
                <a:lnTo>
                  <a:pt x="103" y="198"/>
                </a:lnTo>
                <a:lnTo>
                  <a:pt x="111" y="196"/>
                </a:lnTo>
                <a:lnTo>
                  <a:pt x="119" y="196"/>
                </a:lnTo>
                <a:lnTo>
                  <a:pt x="124" y="192"/>
                </a:lnTo>
                <a:lnTo>
                  <a:pt x="130" y="188"/>
                </a:lnTo>
                <a:lnTo>
                  <a:pt x="136" y="183"/>
                </a:lnTo>
                <a:lnTo>
                  <a:pt x="143" y="179"/>
                </a:lnTo>
                <a:lnTo>
                  <a:pt x="147" y="173"/>
                </a:lnTo>
                <a:lnTo>
                  <a:pt x="153" y="165"/>
                </a:lnTo>
                <a:lnTo>
                  <a:pt x="159" y="160"/>
                </a:lnTo>
                <a:lnTo>
                  <a:pt x="163" y="152"/>
                </a:lnTo>
                <a:lnTo>
                  <a:pt x="166" y="146"/>
                </a:lnTo>
                <a:lnTo>
                  <a:pt x="170" y="139"/>
                </a:lnTo>
                <a:lnTo>
                  <a:pt x="174" y="133"/>
                </a:lnTo>
                <a:lnTo>
                  <a:pt x="178" y="127"/>
                </a:lnTo>
                <a:lnTo>
                  <a:pt x="182" y="122"/>
                </a:lnTo>
                <a:lnTo>
                  <a:pt x="185" y="118"/>
                </a:lnTo>
                <a:lnTo>
                  <a:pt x="185" y="118"/>
                </a:lnTo>
                <a:lnTo>
                  <a:pt x="189" y="114"/>
                </a:lnTo>
                <a:lnTo>
                  <a:pt x="193" y="110"/>
                </a:lnTo>
                <a:lnTo>
                  <a:pt x="197" y="106"/>
                </a:lnTo>
                <a:lnTo>
                  <a:pt x="201" y="103"/>
                </a:lnTo>
                <a:lnTo>
                  <a:pt x="205" y="101"/>
                </a:lnTo>
                <a:lnTo>
                  <a:pt x="210" y="99"/>
                </a:lnTo>
                <a:lnTo>
                  <a:pt x="214" y="97"/>
                </a:lnTo>
                <a:lnTo>
                  <a:pt x="220" y="93"/>
                </a:lnTo>
                <a:lnTo>
                  <a:pt x="224" y="93"/>
                </a:lnTo>
                <a:lnTo>
                  <a:pt x="229" y="91"/>
                </a:lnTo>
                <a:lnTo>
                  <a:pt x="235" y="89"/>
                </a:lnTo>
                <a:lnTo>
                  <a:pt x="241" y="87"/>
                </a:lnTo>
                <a:lnTo>
                  <a:pt x="245" y="85"/>
                </a:lnTo>
                <a:lnTo>
                  <a:pt x="250" y="83"/>
                </a:lnTo>
                <a:lnTo>
                  <a:pt x="256" y="82"/>
                </a:lnTo>
                <a:lnTo>
                  <a:pt x="262" y="80"/>
                </a:lnTo>
                <a:lnTo>
                  <a:pt x="262" y="80"/>
                </a:lnTo>
                <a:lnTo>
                  <a:pt x="267" y="78"/>
                </a:lnTo>
                <a:lnTo>
                  <a:pt x="269" y="74"/>
                </a:lnTo>
                <a:lnTo>
                  <a:pt x="271" y="68"/>
                </a:lnTo>
                <a:lnTo>
                  <a:pt x="271" y="64"/>
                </a:lnTo>
                <a:lnTo>
                  <a:pt x="271" y="59"/>
                </a:lnTo>
                <a:lnTo>
                  <a:pt x="271" y="55"/>
                </a:lnTo>
                <a:lnTo>
                  <a:pt x="273" y="49"/>
                </a:lnTo>
                <a:lnTo>
                  <a:pt x="273" y="47"/>
                </a:lnTo>
                <a:lnTo>
                  <a:pt x="273" y="47"/>
                </a:lnTo>
                <a:lnTo>
                  <a:pt x="279" y="40"/>
                </a:lnTo>
                <a:lnTo>
                  <a:pt x="283" y="34"/>
                </a:lnTo>
                <a:lnTo>
                  <a:pt x="287" y="30"/>
                </a:lnTo>
                <a:lnTo>
                  <a:pt x="292" y="24"/>
                </a:lnTo>
                <a:lnTo>
                  <a:pt x="298" y="20"/>
                </a:lnTo>
                <a:lnTo>
                  <a:pt x="304" y="17"/>
                </a:lnTo>
                <a:lnTo>
                  <a:pt x="309" y="13"/>
                </a:lnTo>
                <a:lnTo>
                  <a:pt x="315" y="9"/>
                </a:lnTo>
                <a:lnTo>
                  <a:pt x="321" y="7"/>
                </a:lnTo>
                <a:lnTo>
                  <a:pt x="329" y="5"/>
                </a:lnTo>
                <a:lnTo>
                  <a:pt x="336" y="3"/>
                </a:lnTo>
                <a:lnTo>
                  <a:pt x="342" y="1"/>
                </a:lnTo>
                <a:lnTo>
                  <a:pt x="350" y="0"/>
                </a:lnTo>
                <a:lnTo>
                  <a:pt x="357" y="0"/>
                </a:lnTo>
                <a:lnTo>
                  <a:pt x="365" y="0"/>
                </a:lnTo>
                <a:lnTo>
                  <a:pt x="372" y="0"/>
                </a:lnTo>
                <a:lnTo>
                  <a:pt x="372" y="0"/>
                </a:lnTo>
                <a:lnTo>
                  <a:pt x="374" y="0"/>
                </a:lnTo>
                <a:lnTo>
                  <a:pt x="378" y="0"/>
                </a:lnTo>
                <a:lnTo>
                  <a:pt x="382" y="0"/>
                </a:lnTo>
                <a:lnTo>
                  <a:pt x="384" y="0"/>
                </a:lnTo>
                <a:lnTo>
                  <a:pt x="388" y="1"/>
                </a:lnTo>
                <a:lnTo>
                  <a:pt x="390" y="1"/>
                </a:lnTo>
                <a:lnTo>
                  <a:pt x="393" y="0"/>
                </a:lnTo>
                <a:lnTo>
                  <a:pt x="395" y="0"/>
                </a:lnTo>
                <a:lnTo>
                  <a:pt x="395" y="38"/>
                </a:lnTo>
                <a:lnTo>
                  <a:pt x="462" y="38"/>
                </a:lnTo>
                <a:lnTo>
                  <a:pt x="462" y="38"/>
                </a:lnTo>
                <a:lnTo>
                  <a:pt x="468" y="47"/>
                </a:lnTo>
                <a:lnTo>
                  <a:pt x="474" y="53"/>
                </a:lnTo>
                <a:lnTo>
                  <a:pt x="481" y="59"/>
                </a:lnTo>
                <a:lnTo>
                  <a:pt x="491" y="64"/>
                </a:lnTo>
                <a:lnTo>
                  <a:pt x="500" y="68"/>
                </a:lnTo>
                <a:lnTo>
                  <a:pt x="512" y="72"/>
                </a:lnTo>
                <a:lnTo>
                  <a:pt x="521" y="76"/>
                </a:lnTo>
                <a:lnTo>
                  <a:pt x="533" y="80"/>
                </a:lnTo>
                <a:lnTo>
                  <a:pt x="544" y="83"/>
                </a:lnTo>
                <a:lnTo>
                  <a:pt x="554" y="89"/>
                </a:lnTo>
                <a:lnTo>
                  <a:pt x="563" y="95"/>
                </a:lnTo>
                <a:lnTo>
                  <a:pt x="571" y="103"/>
                </a:lnTo>
                <a:lnTo>
                  <a:pt x="578" y="110"/>
                </a:lnTo>
                <a:lnTo>
                  <a:pt x="582" y="120"/>
                </a:lnTo>
                <a:lnTo>
                  <a:pt x="586" y="131"/>
                </a:lnTo>
                <a:lnTo>
                  <a:pt x="588" y="144"/>
                </a:lnTo>
                <a:lnTo>
                  <a:pt x="588" y="144"/>
                </a:lnTo>
                <a:lnTo>
                  <a:pt x="586" y="154"/>
                </a:lnTo>
                <a:lnTo>
                  <a:pt x="586" y="164"/>
                </a:lnTo>
                <a:lnTo>
                  <a:pt x="584" y="173"/>
                </a:lnTo>
                <a:lnTo>
                  <a:pt x="582" y="183"/>
                </a:lnTo>
                <a:lnTo>
                  <a:pt x="580" y="190"/>
                </a:lnTo>
                <a:lnTo>
                  <a:pt x="578" y="200"/>
                </a:lnTo>
                <a:lnTo>
                  <a:pt x="575" y="207"/>
                </a:lnTo>
                <a:lnTo>
                  <a:pt x="573" y="217"/>
                </a:lnTo>
                <a:lnTo>
                  <a:pt x="569" y="225"/>
                </a:lnTo>
                <a:lnTo>
                  <a:pt x="567" y="232"/>
                </a:lnTo>
                <a:lnTo>
                  <a:pt x="565" y="242"/>
                </a:lnTo>
                <a:lnTo>
                  <a:pt x="563" y="249"/>
                </a:lnTo>
                <a:lnTo>
                  <a:pt x="561" y="257"/>
                </a:lnTo>
                <a:lnTo>
                  <a:pt x="559" y="265"/>
                </a:lnTo>
                <a:lnTo>
                  <a:pt x="557" y="272"/>
                </a:lnTo>
                <a:lnTo>
                  <a:pt x="557" y="280"/>
                </a:lnTo>
                <a:lnTo>
                  <a:pt x="557" y="280"/>
                </a:lnTo>
                <a:lnTo>
                  <a:pt x="559" y="289"/>
                </a:lnTo>
                <a:lnTo>
                  <a:pt x="559" y="297"/>
                </a:lnTo>
                <a:lnTo>
                  <a:pt x="563" y="305"/>
                </a:lnTo>
                <a:lnTo>
                  <a:pt x="565" y="310"/>
                </a:lnTo>
                <a:lnTo>
                  <a:pt x="569" y="316"/>
                </a:lnTo>
                <a:lnTo>
                  <a:pt x="571" y="322"/>
                </a:lnTo>
                <a:lnTo>
                  <a:pt x="573" y="330"/>
                </a:lnTo>
                <a:lnTo>
                  <a:pt x="573" y="335"/>
                </a:lnTo>
                <a:lnTo>
                  <a:pt x="573" y="335"/>
                </a:lnTo>
                <a:lnTo>
                  <a:pt x="573" y="339"/>
                </a:lnTo>
                <a:lnTo>
                  <a:pt x="571" y="345"/>
                </a:lnTo>
                <a:lnTo>
                  <a:pt x="569" y="349"/>
                </a:lnTo>
                <a:lnTo>
                  <a:pt x="567" y="354"/>
                </a:lnTo>
                <a:lnTo>
                  <a:pt x="563" y="358"/>
                </a:lnTo>
                <a:lnTo>
                  <a:pt x="559" y="364"/>
                </a:lnTo>
                <a:lnTo>
                  <a:pt x="556" y="368"/>
                </a:lnTo>
                <a:lnTo>
                  <a:pt x="552" y="372"/>
                </a:lnTo>
                <a:lnTo>
                  <a:pt x="548" y="377"/>
                </a:lnTo>
                <a:lnTo>
                  <a:pt x="544" y="381"/>
                </a:lnTo>
                <a:lnTo>
                  <a:pt x="540" y="387"/>
                </a:lnTo>
                <a:lnTo>
                  <a:pt x="536" y="391"/>
                </a:lnTo>
                <a:lnTo>
                  <a:pt x="533" y="394"/>
                </a:lnTo>
                <a:lnTo>
                  <a:pt x="531" y="398"/>
                </a:lnTo>
                <a:lnTo>
                  <a:pt x="527" y="404"/>
                </a:lnTo>
                <a:lnTo>
                  <a:pt x="525" y="408"/>
                </a:lnTo>
                <a:lnTo>
                  <a:pt x="525" y="408"/>
                </a:lnTo>
                <a:lnTo>
                  <a:pt x="525" y="413"/>
                </a:lnTo>
                <a:lnTo>
                  <a:pt x="523" y="419"/>
                </a:lnTo>
                <a:lnTo>
                  <a:pt x="523" y="425"/>
                </a:lnTo>
                <a:lnTo>
                  <a:pt x="523" y="431"/>
                </a:lnTo>
                <a:lnTo>
                  <a:pt x="521" y="436"/>
                </a:lnTo>
                <a:lnTo>
                  <a:pt x="521" y="442"/>
                </a:lnTo>
                <a:lnTo>
                  <a:pt x="519" y="446"/>
                </a:lnTo>
                <a:lnTo>
                  <a:pt x="515" y="452"/>
                </a:lnTo>
                <a:lnTo>
                  <a:pt x="515" y="452"/>
                </a:lnTo>
                <a:lnTo>
                  <a:pt x="514" y="454"/>
                </a:lnTo>
                <a:lnTo>
                  <a:pt x="510" y="457"/>
                </a:lnTo>
                <a:lnTo>
                  <a:pt x="506" y="463"/>
                </a:lnTo>
                <a:lnTo>
                  <a:pt x="500" y="469"/>
                </a:lnTo>
                <a:lnTo>
                  <a:pt x="494" y="475"/>
                </a:lnTo>
                <a:lnTo>
                  <a:pt x="487" y="482"/>
                </a:lnTo>
                <a:lnTo>
                  <a:pt x="479" y="490"/>
                </a:lnTo>
                <a:lnTo>
                  <a:pt x="472" y="497"/>
                </a:lnTo>
                <a:lnTo>
                  <a:pt x="464" y="503"/>
                </a:lnTo>
                <a:lnTo>
                  <a:pt x="456" y="511"/>
                </a:lnTo>
                <a:lnTo>
                  <a:pt x="449" y="517"/>
                </a:lnTo>
                <a:lnTo>
                  <a:pt x="443" y="522"/>
                </a:lnTo>
                <a:lnTo>
                  <a:pt x="437" y="528"/>
                </a:lnTo>
                <a:lnTo>
                  <a:pt x="433" y="532"/>
                </a:lnTo>
                <a:lnTo>
                  <a:pt x="430" y="534"/>
                </a:lnTo>
                <a:lnTo>
                  <a:pt x="428" y="534"/>
                </a:lnTo>
                <a:lnTo>
                  <a:pt x="428" y="534"/>
                </a:lnTo>
                <a:lnTo>
                  <a:pt x="424" y="534"/>
                </a:lnTo>
                <a:lnTo>
                  <a:pt x="420" y="534"/>
                </a:lnTo>
                <a:lnTo>
                  <a:pt x="416" y="534"/>
                </a:lnTo>
                <a:lnTo>
                  <a:pt x="412" y="534"/>
                </a:lnTo>
                <a:lnTo>
                  <a:pt x="411" y="534"/>
                </a:lnTo>
                <a:lnTo>
                  <a:pt x="407" y="534"/>
                </a:lnTo>
                <a:lnTo>
                  <a:pt x="403" y="534"/>
                </a:lnTo>
                <a:lnTo>
                  <a:pt x="401" y="534"/>
                </a:lnTo>
                <a:lnTo>
                  <a:pt x="397" y="534"/>
                </a:lnTo>
                <a:lnTo>
                  <a:pt x="391" y="534"/>
                </a:lnTo>
                <a:lnTo>
                  <a:pt x="388" y="534"/>
                </a:lnTo>
                <a:lnTo>
                  <a:pt x="382" y="534"/>
                </a:lnTo>
                <a:lnTo>
                  <a:pt x="376" y="534"/>
                </a:lnTo>
                <a:lnTo>
                  <a:pt x="369" y="534"/>
                </a:lnTo>
                <a:lnTo>
                  <a:pt x="361" y="534"/>
                </a:lnTo>
                <a:lnTo>
                  <a:pt x="351" y="534"/>
                </a:lnTo>
                <a:lnTo>
                  <a:pt x="351" y="534"/>
                </a:lnTo>
                <a:lnTo>
                  <a:pt x="346" y="528"/>
                </a:lnTo>
                <a:lnTo>
                  <a:pt x="342" y="524"/>
                </a:lnTo>
                <a:lnTo>
                  <a:pt x="334" y="522"/>
                </a:lnTo>
                <a:lnTo>
                  <a:pt x="327" y="520"/>
                </a:lnTo>
                <a:lnTo>
                  <a:pt x="319" y="520"/>
                </a:lnTo>
                <a:lnTo>
                  <a:pt x="311" y="520"/>
                </a:lnTo>
                <a:lnTo>
                  <a:pt x="304" y="518"/>
                </a:lnTo>
                <a:lnTo>
                  <a:pt x="298" y="517"/>
                </a:lnTo>
                <a:lnTo>
                  <a:pt x="298" y="517"/>
                </a:lnTo>
                <a:lnTo>
                  <a:pt x="292" y="515"/>
                </a:lnTo>
                <a:lnTo>
                  <a:pt x="288" y="513"/>
                </a:lnTo>
                <a:lnTo>
                  <a:pt x="283" y="509"/>
                </a:lnTo>
                <a:lnTo>
                  <a:pt x="279" y="507"/>
                </a:lnTo>
                <a:lnTo>
                  <a:pt x="275" y="503"/>
                </a:lnTo>
                <a:lnTo>
                  <a:pt x="273" y="501"/>
                </a:lnTo>
                <a:lnTo>
                  <a:pt x="269" y="497"/>
                </a:lnTo>
                <a:lnTo>
                  <a:pt x="266" y="494"/>
                </a:lnTo>
                <a:lnTo>
                  <a:pt x="262" y="492"/>
                </a:lnTo>
                <a:lnTo>
                  <a:pt x="258" y="488"/>
                </a:lnTo>
                <a:lnTo>
                  <a:pt x="254" y="484"/>
                </a:lnTo>
                <a:lnTo>
                  <a:pt x="250" y="482"/>
                </a:lnTo>
                <a:lnTo>
                  <a:pt x="247" y="478"/>
                </a:lnTo>
                <a:lnTo>
                  <a:pt x="243" y="476"/>
                </a:lnTo>
                <a:lnTo>
                  <a:pt x="237" y="475"/>
                </a:lnTo>
                <a:lnTo>
                  <a:pt x="231" y="473"/>
                </a:lnTo>
                <a:lnTo>
                  <a:pt x="231" y="473"/>
                </a:lnTo>
                <a:lnTo>
                  <a:pt x="224" y="471"/>
                </a:lnTo>
                <a:lnTo>
                  <a:pt x="216" y="467"/>
                </a:lnTo>
                <a:lnTo>
                  <a:pt x="208" y="465"/>
                </a:lnTo>
                <a:lnTo>
                  <a:pt x="201" y="461"/>
                </a:lnTo>
                <a:lnTo>
                  <a:pt x="193" y="457"/>
                </a:lnTo>
                <a:lnTo>
                  <a:pt x="187" y="454"/>
                </a:lnTo>
                <a:lnTo>
                  <a:pt x="184" y="450"/>
                </a:lnTo>
                <a:lnTo>
                  <a:pt x="180" y="446"/>
                </a:lnTo>
                <a:lnTo>
                  <a:pt x="180" y="446"/>
                </a:lnTo>
                <a:lnTo>
                  <a:pt x="178" y="440"/>
                </a:lnTo>
                <a:lnTo>
                  <a:pt x="178" y="434"/>
                </a:lnTo>
                <a:lnTo>
                  <a:pt x="176" y="429"/>
                </a:lnTo>
                <a:lnTo>
                  <a:pt x="176" y="423"/>
                </a:lnTo>
                <a:lnTo>
                  <a:pt x="176" y="417"/>
                </a:lnTo>
                <a:lnTo>
                  <a:pt x="176" y="412"/>
                </a:lnTo>
                <a:lnTo>
                  <a:pt x="176" y="406"/>
                </a:lnTo>
                <a:lnTo>
                  <a:pt x="176" y="402"/>
                </a:lnTo>
                <a:lnTo>
                  <a:pt x="176" y="396"/>
                </a:lnTo>
                <a:lnTo>
                  <a:pt x="176" y="392"/>
                </a:lnTo>
                <a:lnTo>
                  <a:pt x="174" y="387"/>
                </a:lnTo>
                <a:lnTo>
                  <a:pt x="174" y="383"/>
                </a:lnTo>
                <a:lnTo>
                  <a:pt x="172" y="379"/>
                </a:lnTo>
                <a:lnTo>
                  <a:pt x="168" y="377"/>
                </a:lnTo>
                <a:lnTo>
                  <a:pt x="164" y="373"/>
                </a:lnTo>
                <a:lnTo>
                  <a:pt x="159" y="372"/>
                </a:lnTo>
                <a:lnTo>
                  <a:pt x="159" y="372"/>
                </a:lnTo>
                <a:lnTo>
                  <a:pt x="155" y="370"/>
                </a:lnTo>
                <a:lnTo>
                  <a:pt x="151" y="366"/>
                </a:lnTo>
                <a:lnTo>
                  <a:pt x="149" y="362"/>
                </a:lnTo>
                <a:lnTo>
                  <a:pt x="147" y="358"/>
                </a:lnTo>
                <a:lnTo>
                  <a:pt x="143" y="352"/>
                </a:lnTo>
                <a:lnTo>
                  <a:pt x="142" y="349"/>
                </a:lnTo>
                <a:lnTo>
                  <a:pt x="140" y="345"/>
                </a:lnTo>
                <a:lnTo>
                  <a:pt x="136" y="343"/>
                </a:lnTo>
                <a:lnTo>
                  <a:pt x="136" y="343"/>
                </a:lnTo>
                <a:lnTo>
                  <a:pt x="128" y="337"/>
                </a:lnTo>
                <a:lnTo>
                  <a:pt x="121" y="333"/>
                </a:lnTo>
                <a:lnTo>
                  <a:pt x="111" y="330"/>
                </a:lnTo>
                <a:lnTo>
                  <a:pt x="102" y="326"/>
                </a:lnTo>
                <a:lnTo>
                  <a:pt x="94" y="322"/>
                </a:lnTo>
                <a:lnTo>
                  <a:pt x="86" y="320"/>
                </a:lnTo>
                <a:lnTo>
                  <a:pt x="79" y="316"/>
                </a:lnTo>
                <a:lnTo>
                  <a:pt x="71" y="312"/>
                </a:lnTo>
                <a:lnTo>
                  <a:pt x="71" y="312"/>
                </a:lnTo>
                <a:lnTo>
                  <a:pt x="67" y="309"/>
                </a:lnTo>
                <a:lnTo>
                  <a:pt x="63" y="305"/>
                </a:lnTo>
                <a:lnTo>
                  <a:pt x="60" y="301"/>
                </a:lnTo>
                <a:lnTo>
                  <a:pt x="58" y="297"/>
                </a:lnTo>
                <a:lnTo>
                  <a:pt x="58" y="293"/>
                </a:lnTo>
                <a:lnTo>
                  <a:pt x="56" y="288"/>
                </a:lnTo>
                <a:lnTo>
                  <a:pt x="54" y="282"/>
                </a:lnTo>
                <a:lnTo>
                  <a:pt x="54" y="276"/>
                </a:lnTo>
                <a:lnTo>
                  <a:pt x="54" y="276"/>
                </a:lnTo>
                <a:lnTo>
                  <a:pt x="50" y="270"/>
                </a:lnTo>
                <a:lnTo>
                  <a:pt x="48" y="263"/>
                </a:lnTo>
                <a:lnTo>
                  <a:pt x="44" y="255"/>
                </a:lnTo>
                <a:lnTo>
                  <a:pt x="40" y="249"/>
                </a:lnTo>
                <a:lnTo>
                  <a:pt x="35" y="244"/>
                </a:lnTo>
                <a:lnTo>
                  <a:pt x="31" y="238"/>
                </a:lnTo>
                <a:lnTo>
                  <a:pt x="27" y="234"/>
                </a:lnTo>
                <a:lnTo>
                  <a:pt x="21" y="227"/>
                </a:lnTo>
                <a:lnTo>
                  <a:pt x="18" y="223"/>
                </a:lnTo>
                <a:lnTo>
                  <a:pt x="14" y="217"/>
                </a:lnTo>
                <a:lnTo>
                  <a:pt x="10" y="211"/>
                </a:lnTo>
                <a:lnTo>
                  <a:pt x="6" y="206"/>
                </a:lnTo>
                <a:lnTo>
                  <a:pt x="4" y="198"/>
                </a:lnTo>
                <a:lnTo>
                  <a:pt x="2" y="192"/>
                </a:lnTo>
                <a:lnTo>
                  <a:pt x="0" y="185"/>
                </a:lnTo>
                <a:lnTo>
                  <a:pt x="0" y="177"/>
                </a:lnTo>
              </a:path>
            </a:pathLst>
          </a:custGeom>
          <a:solidFill>
            <a:srgbClr val="003366"/>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2" name="Freeform 12"/>
          <p:cNvSpPr>
            <a:spLocks/>
          </p:cNvSpPr>
          <p:nvPr/>
        </p:nvSpPr>
        <p:spPr bwMode="auto">
          <a:xfrm>
            <a:off x="4127500" y="4594127"/>
            <a:ext cx="207963" cy="506413"/>
          </a:xfrm>
          <a:custGeom>
            <a:avLst/>
            <a:gdLst>
              <a:gd name="T0" fmla="*/ 218 w 233"/>
              <a:gd name="T1" fmla="*/ 401 h 580"/>
              <a:gd name="T2" fmla="*/ 233 w 233"/>
              <a:gd name="T3" fmla="*/ 437 h 580"/>
              <a:gd name="T4" fmla="*/ 223 w 233"/>
              <a:gd name="T5" fmla="*/ 447 h 580"/>
              <a:gd name="T6" fmla="*/ 227 w 233"/>
              <a:gd name="T7" fmla="*/ 492 h 580"/>
              <a:gd name="T8" fmla="*/ 225 w 233"/>
              <a:gd name="T9" fmla="*/ 511 h 580"/>
              <a:gd name="T10" fmla="*/ 212 w 233"/>
              <a:gd name="T11" fmla="*/ 517 h 580"/>
              <a:gd name="T12" fmla="*/ 195 w 233"/>
              <a:gd name="T13" fmla="*/ 525 h 580"/>
              <a:gd name="T14" fmla="*/ 174 w 233"/>
              <a:gd name="T15" fmla="*/ 546 h 580"/>
              <a:gd name="T16" fmla="*/ 178 w 233"/>
              <a:gd name="T17" fmla="*/ 555 h 580"/>
              <a:gd name="T18" fmla="*/ 174 w 233"/>
              <a:gd name="T19" fmla="*/ 567 h 580"/>
              <a:gd name="T20" fmla="*/ 174 w 233"/>
              <a:gd name="T21" fmla="*/ 580 h 580"/>
              <a:gd name="T22" fmla="*/ 137 w 233"/>
              <a:gd name="T23" fmla="*/ 544 h 580"/>
              <a:gd name="T24" fmla="*/ 126 w 233"/>
              <a:gd name="T25" fmla="*/ 506 h 580"/>
              <a:gd name="T26" fmla="*/ 137 w 233"/>
              <a:gd name="T27" fmla="*/ 479 h 580"/>
              <a:gd name="T28" fmla="*/ 149 w 233"/>
              <a:gd name="T29" fmla="*/ 452 h 580"/>
              <a:gd name="T30" fmla="*/ 143 w 233"/>
              <a:gd name="T31" fmla="*/ 414 h 580"/>
              <a:gd name="T32" fmla="*/ 111 w 233"/>
              <a:gd name="T33" fmla="*/ 380 h 580"/>
              <a:gd name="T34" fmla="*/ 86 w 233"/>
              <a:gd name="T35" fmla="*/ 395 h 580"/>
              <a:gd name="T36" fmla="*/ 63 w 233"/>
              <a:gd name="T37" fmla="*/ 385 h 580"/>
              <a:gd name="T38" fmla="*/ 44 w 233"/>
              <a:gd name="T39" fmla="*/ 355 h 580"/>
              <a:gd name="T40" fmla="*/ 6 w 233"/>
              <a:gd name="T41" fmla="*/ 342 h 580"/>
              <a:gd name="T42" fmla="*/ 6 w 233"/>
              <a:gd name="T43" fmla="*/ 315 h 580"/>
              <a:gd name="T44" fmla="*/ 21 w 233"/>
              <a:gd name="T45" fmla="*/ 302 h 580"/>
              <a:gd name="T46" fmla="*/ 34 w 233"/>
              <a:gd name="T47" fmla="*/ 277 h 580"/>
              <a:gd name="T48" fmla="*/ 40 w 233"/>
              <a:gd name="T49" fmla="*/ 254 h 580"/>
              <a:gd name="T50" fmla="*/ 48 w 233"/>
              <a:gd name="T51" fmla="*/ 231 h 580"/>
              <a:gd name="T52" fmla="*/ 61 w 233"/>
              <a:gd name="T53" fmla="*/ 214 h 580"/>
              <a:gd name="T54" fmla="*/ 59 w 233"/>
              <a:gd name="T55" fmla="*/ 187 h 580"/>
              <a:gd name="T56" fmla="*/ 52 w 233"/>
              <a:gd name="T57" fmla="*/ 160 h 580"/>
              <a:gd name="T58" fmla="*/ 57 w 233"/>
              <a:gd name="T59" fmla="*/ 137 h 580"/>
              <a:gd name="T60" fmla="*/ 65 w 233"/>
              <a:gd name="T61" fmla="*/ 111 h 580"/>
              <a:gd name="T62" fmla="*/ 78 w 233"/>
              <a:gd name="T63" fmla="*/ 80 h 580"/>
              <a:gd name="T64" fmla="*/ 71 w 233"/>
              <a:gd name="T65" fmla="*/ 52 h 580"/>
              <a:gd name="T66" fmla="*/ 59 w 233"/>
              <a:gd name="T67" fmla="*/ 23 h 580"/>
              <a:gd name="T68" fmla="*/ 52 w 233"/>
              <a:gd name="T69" fmla="*/ 0 h 580"/>
              <a:gd name="T70" fmla="*/ 94 w 233"/>
              <a:gd name="T71" fmla="*/ 6 h 580"/>
              <a:gd name="T72" fmla="*/ 111 w 233"/>
              <a:gd name="T73" fmla="*/ 25 h 580"/>
              <a:gd name="T74" fmla="*/ 120 w 233"/>
              <a:gd name="T75" fmla="*/ 52 h 580"/>
              <a:gd name="T76" fmla="*/ 124 w 233"/>
              <a:gd name="T77" fmla="*/ 61 h 580"/>
              <a:gd name="T78" fmla="*/ 134 w 233"/>
              <a:gd name="T79" fmla="*/ 73 h 580"/>
              <a:gd name="T80" fmla="*/ 134 w 233"/>
              <a:gd name="T81" fmla="*/ 170 h 580"/>
              <a:gd name="T82" fmla="*/ 124 w 233"/>
              <a:gd name="T83" fmla="*/ 202 h 580"/>
              <a:gd name="T84" fmla="*/ 113 w 233"/>
              <a:gd name="T85" fmla="*/ 225 h 580"/>
              <a:gd name="T86" fmla="*/ 118 w 233"/>
              <a:gd name="T87" fmla="*/ 242 h 580"/>
              <a:gd name="T88" fmla="*/ 128 w 233"/>
              <a:gd name="T89" fmla="*/ 271 h 580"/>
              <a:gd name="T90" fmla="*/ 134 w 233"/>
              <a:gd name="T91" fmla="*/ 319 h 580"/>
              <a:gd name="T92" fmla="*/ 143 w 233"/>
              <a:gd name="T93" fmla="*/ 332 h 580"/>
              <a:gd name="T94" fmla="*/ 149 w 233"/>
              <a:gd name="T95" fmla="*/ 345 h 580"/>
              <a:gd name="T96" fmla="*/ 143 w 233"/>
              <a:gd name="T97" fmla="*/ 359 h 580"/>
              <a:gd name="T98" fmla="*/ 149 w 233"/>
              <a:gd name="T99" fmla="*/ 376 h 580"/>
              <a:gd name="T100" fmla="*/ 162 w 233"/>
              <a:gd name="T101" fmla="*/ 380 h 580"/>
              <a:gd name="T102" fmla="*/ 166 w 233"/>
              <a:gd name="T103" fmla="*/ 368 h 580"/>
              <a:gd name="T104" fmla="*/ 179 w 233"/>
              <a:gd name="T105" fmla="*/ 374 h 580"/>
              <a:gd name="T106" fmla="*/ 189 w 233"/>
              <a:gd name="T107" fmla="*/ 378 h 580"/>
              <a:gd name="T108" fmla="*/ 191 w 233"/>
              <a:gd name="T109" fmla="*/ 366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3" h="580">
                <a:moveTo>
                  <a:pt x="189" y="378"/>
                </a:moveTo>
                <a:lnTo>
                  <a:pt x="189" y="378"/>
                </a:lnTo>
                <a:lnTo>
                  <a:pt x="197" y="382"/>
                </a:lnTo>
                <a:lnTo>
                  <a:pt x="202" y="385"/>
                </a:lnTo>
                <a:lnTo>
                  <a:pt x="210" y="393"/>
                </a:lnTo>
                <a:lnTo>
                  <a:pt x="218" y="401"/>
                </a:lnTo>
                <a:lnTo>
                  <a:pt x="223" y="410"/>
                </a:lnTo>
                <a:lnTo>
                  <a:pt x="227" y="418"/>
                </a:lnTo>
                <a:lnTo>
                  <a:pt x="231" y="427"/>
                </a:lnTo>
                <a:lnTo>
                  <a:pt x="233" y="435"/>
                </a:lnTo>
                <a:lnTo>
                  <a:pt x="233" y="435"/>
                </a:lnTo>
                <a:lnTo>
                  <a:pt x="233" y="437"/>
                </a:lnTo>
                <a:lnTo>
                  <a:pt x="231" y="439"/>
                </a:lnTo>
                <a:lnTo>
                  <a:pt x="229" y="439"/>
                </a:lnTo>
                <a:lnTo>
                  <a:pt x="227" y="441"/>
                </a:lnTo>
                <a:lnTo>
                  <a:pt x="225" y="443"/>
                </a:lnTo>
                <a:lnTo>
                  <a:pt x="225" y="445"/>
                </a:lnTo>
                <a:lnTo>
                  <a:pt x="223" y="447"/>
                </a:lnTo>
                <a:lnTo>
                  <a:pt x="223" y="448"/>
                </a:lnTo>
                <a:lnTo>
                  <a:pt x="227" y="483"/>
                </a:lnTo>
                <a:lnTo>
                  <a:pt x="227" y="483"/>
                </a:lnTo>
                <a:lnTo>
                  <a:pt x="227" y="487"/>
                </a:lnTo>
                <a:lnTo>
                  <a:pt x="227" y="490"/>
                </a:lnTo>
                <a:lnTo>
                  <a:pt x="227" y="492"/>
                </a:lnTo>
                <a:lnTo>
                  <a:pt x="227" y="496"/>
                </a:lnTo>
                <a:lnTo>
                  <a:pt x="227" y="500"/>
                </a:lnTo>
                <a:lnTo>
                  <a:pt x="227" y="504"/>
                </a:lnTo>
                <a:lnTo>
                  <a:pt x="227" y="508"/>
                </a:lnTo>
                <a:lnTo>
                  <a:pt x="225" y="511"/>
                </a:lnTo>
                <a:lnTo>
                  <a:pt x="225" y="511"/>
                </a:lnTo>
                <a:lnTo>
                  <a:pt x="223" y="513"/>
                </a:lnTo>
                <a:lnTo>
                  <a:pt x="221" y="515"/>
                </a:lnTo>
                <a:lnTo>
                  <a:pt x="220" y="517"/>
                </a:lnTo>
                <a:lnTo>
                  <a:pt x="218" y="517"/>
                </a:lnTo>
                <a:lnTo>
                  <a:pt x="214" y="517"/>
                </a:lnTo>
                <a:lnTo>
                  <a:pt x="212" y="517"/>
                </a:lnTo>
                <a:lnTo>
                  <a:pt x="208" y="517"/>
                </a:lnTo>
                <a:lnTo>
                  <a:pt x="204" y="517"/>
                </a:lnTo>
                <a:lnTo>
                  <a:pt x="204" y="517"/>
                </a:lnTo>
                <a:lnTo>
                  <a:pt x="202" y="517"/>
                </a:lnTo>
                <a:lnTo>
                  <a:pt x="199" y="521"/>
                </a:lnTo>
                <a:lnTo>
                  <a:pt x="195" y="525"/>
                </a:lnTo>
                <a:lnTo>
                  <a:pt x="189" y="529"/>
                </a:lnTo>
                <a:lnTo>
                  <a:pt x="183" y="532"/>
                </a:lnTo>
                <a:lnTo>
                  <a:pt x="178" y="538"/>
                </a:lnTo>
                <a:lnTo>
                  <a:pt x="174" y="542"/>
                </a:lnTo>
                <a:lnTo>
                  <a:pt x="174" y="546"/>
                </a:lnTo>
                <a:lnTo>
                  <a:pt x="174" y="546"/>
                </a:lnTo>
                <a:lnTo>
                  <a:pt x="174" y="548"/>
                </a:lnTo>
                <a:lnTo>
                  <a:pt x="174" y="550"/>
                </a:lnTo>
                <a:lnTo>
                  <a:pt x="176" y="551"/>
                </a:lnTo>
                <a:lnTo>
                  <a:pt x="178" y="553"/>
                </a:lnTo>
                <a:lnTo>
                  <a:pt x="178" y="553"/>
                </a:lnTo>
                <a:lnTo>
                  <a:pt x="178" y="555"/>
                </a:lnTo>
                <a:lnTo>
                  <a:pt x="176" y="557"/>
                </a:lnTo>
                <a:lnTo>
                  <a:pt x="176" y="559"/>
                </a:lnTo>
                <a:lnTo>
                  <a:pt x="174" y="561"/>
                </a:lnTo>
                <a:lnTo>
                  <a:pt x="174" y="563"/>
                </a:lnTo>
                <a:lnTo>
                  <a:pt x="174" y="565"/>
                </a:lnTo>
                <a:lnTo>
                  <a:pt x="174" y="567"/>
                </a:lnTo>
                <a:lnTo>
                  <a:pt x="174" y="569"/>
                </a:lnTo>
                <a:lnTo>
                  <a:pt x="174" y="569"/>
                </a:lnTo>
                <a:lnTo>
                  <a:pt x="174" y="572"/>
                </a:lnTo>
                <a:lnTo>
                  <a:pt x="174" y="574"/>
                </a:lnTo>
                <a:lnTo>
                  <a:pt x="174" y="578"/>
                </a:lnTo>
                <a:lnTo>
                  <a:pt x="174" y="580"/>
                </a:lnTo>
                <a:lnTo>
                  <a:pt x="174" y="580"/>
                </a:lnTo>
                <a:lnTo>
                  <a:pt x="168" y="576"/>
                </a:lnTo>
                <a:lnTo>
                  <a:pt x="160" y="572"/>
                </a:lnTo>
                <a:lnTo>
                  <a:pt x="153" y="563"/>
                </a:lnTo>
                <a:lnTo>
                  <a:pt x="145" y="553"/>
                </a:lnTo>
                <a:lnTo>
                  <a:pt x="137" y="544"/>
                </a:lnTo>
                <a:lnTo>
                  <a:pt x="132" y="532"/>
                </a:lnTo>
                <a:lnTo>
                  <a:pt x="128" y="523"/>
                </a:lnTo>
                <a:lnTo>
                  <a:pt x="126" y="515"/>
                </a:lnTo>
                <a:lnTo>
                  <a:pt x="126" y="515"/>
                </a:lnTo>
                <a:lnTo>
                  <a:pt x="126" y="511"/>
                </a:lnTo>
                <a:lnTo>
                  <a:pt x="126" y="506"/>
                </a:lnTo>
                <a:lnTo>
                  <a:pt x="128" y="502"/>
                </a:lnTo>
                <a:lnTo>
                  <a:pt x="130" y="498"/>
                </a:lnTo>
                <a:lnTo>
                  <a:pt x="132" y="492"/>
                </a:lnTo>
                <a:lnTo>
                  <a:pt x="134" y="489"/>
                </a:lnTo>
                <a:lnTo>
                  <a:pt x="136" y="485"/>
                </a:lnTo>
                <a:lnTo>
                  <a:pt x="137" y="479"/>
                </a:lnTo>
                <a:lnTo>
                  <a:pt x="139" y="475"/>
                </a:lnTo>
                <a:lnTo>
                  <a:pt x="143" y="471"/>
                </a:lnTo>
                <a:lnTo>
                  <a:pt x="145" y="468"/>
                </a:lnTo>
                <a:lnTo>
                  <a:pt x="147" y="462"/>
                </a:lnTo>
                <a:lnTo>
                  <a:pt x="147" y="458"/>
                </a:lnTo>
                <a:lnTo>
                  <a:pt x="149" y="452"/>
                </a:lnTo>
                <a:lnTo>
                  <a:pt x="149" y="448"/>
                </a:lnTo>
                <a:lnTo>
                  <a:pt x="149" y="443"/>
                </a:lnTo>
                <a:lnTo>
                  <a:pt x="149" y="443"/>
                </a:lnTo>
                <a:lnTo>
                  <a:pt x="149" y="433"/>
                </a:lnTo>
                <a:lnTo>
                  <a:pt x="147" y="424"/>
                </a:lnTo>
                <a:lnTo>
                  <a:pt x="143" y="414"/>
                </a:lnTo>
                <a:lnTo>
                  <a:pt x="139" y="403"/>
                </a:lnTo>
                <a:lnTo>
                  <a:pt x="134" y="395"/>
                </a:lnTo>
                <a:lnTo>
                  <a:pt x="126" y="387"/>
                </a:lnTo>
                <a:lnTo>
                  <a:pt x="118" y="382"/>
                </a:lnTo>
                <a:lnTo>
                  <a:pt x="111" y="380"/>
                </a:lnTo>
                <a:lnTo>
                  <a:pt x="111" y="380"/>
                </a:lnTo>
                <a:lnTo>
                  <a:pt x="105" y="382"/>
                </a:lnTo>
                <a:lnTo>
                  <a:pt x="101" y="384"/>
                </a:lnTo>
                <a:lnTo>
                  <a:pt x="97" y="385"/>
                </a:lnTo>
                <a:lnTo>
                  <a:pt x="94" y="389"/>
                </a:lnTo>
                <a:lnTo>
                  <a:pt x="90" y="391"/>
                </a:lnTo>
                <a:lnTo>
                  <a:pt x="86" y="395"/>
                </a:lnTo>
                <a:lnTo>
                  <a:pt x="82" y="397"/>
                </a:lnTo>
                <a:lnTo>
                  <a:pt x="78" y="397"/>
                </a:lnTo>
                <a:lnTo>
                  <a:pt x="78" y="397"/>
                </a:lnTo>
                <a:lnTo>
                  <a:pt x="73" y="395"/>
                </a:lnTo>
                <a:lnTo>
                  <a:pt x="69" y="391"/>
                </a:lnTo>
                <a:lnTo>
                  <a:pt x="63" y="385"/>
                </a:lnTo>
                <a:lnTo>
                  <a:pt x="59" y="378"/>
                </a:lnTo>
                <a:lnTo>
                  <a:pt x="54" y="370"/>
                </a:lnTo>
                <a:lnTo>
                  <a:pt x="50" y="365"/>
                </a:lnTo>
                <a:lnTo>
                  <a:pt x="46" y="359"/>
                </a:lnTo>
                <a:lnTo>
                  <a:pt x="44" y="355"/>
                </a:lnTo>
                <a:lnTo>
                  <a:pt x="44" y="355"/>
                </a:lnTo>
                <a:lnTo>
                  <a:pt x="38" y="351"/>
                </a:lnTo>
                <a:lnTo>
                  <a:pt x="31" y="349"/>
                </a:lnTo>
                <a:lnTo>
                  <a:pt x="25" y="347"/>
                </a:lnTo>
                <a:lnTo>
                  <a:pt x="17" y="345"/>
                </a:lnTo>
                <a:lnTo>
                  <a:pt x="10" y="344"/>
                </a:lnTo>
                <a:lnTo>
                  <a:pt x="6" y="342"/>
                </a:lnTo>
                <a:lnTo>
                  <a:pt x="2" y="336"/>
                </a:lnTo>
                <a:lnTo>
                  <a:pt x="0" y="326"/>
                </a:lnTo>
                <a:lnTo>
                  <a:pt x="0" y="326"/>
                </a:lnTo>
                <a:lnTo>
                  <a:pt x="2" y="323"/>
                </a:lnTo>
                <a:lnTo>
                  <a:pt x="4" y="319"/>
                </a:lnTo>
                <a:lnTo>
                  <a:pt x="6" y="315"/>
                </a:lnTo>
                <a:lnTo>
                  <a:pt x="10" y="313"/>
                </a:lnTo>
                <a:lnTo>
                  <a:pt x="12" y="309"/>
                </a:lnTo>
                <a:lnTo>
                  <a:pt x="15" y="307"/>
                </a:lnTo>
                <a:lnTo>
                  <a:pt x="19" y="305"/>
                </a:lnTo>
                <a:lnTo>
                  <a:pt x="21" y="302"/>
                </a:lnTo>
                <a:lnTo>
                  <a:pt x="21" y="302"/>
                </a:lnTo>
                <a:lnTo>
                  <a:pt x="23" y="296"/>
                </a:lnTo>
                <a:lnTo>
                  <a:pt x="27" y="290"/>
                </a:lnTo>
                <a:lnTo>
                  <a:pt x="29" y="286"/>
                </a:lnTo>
                <a:lnTo>
                  <a:pt x="31" y="284"/>
                </a:lnTo>
                <a:lnTo>
                  <a:pt x="33" y="281"/>
                </a:lnTo>
                <a:lnTo>
                  <a:pt x="34" y="277"/>
                </a:lnTo>
                <a:lnTo>
                  <a:pt x="36" y="273"/>
                </a:lnTo>
                <a:lnTo>
                  <a:pt x="38" y="269"/>
                </a:lnTo>
                <a:lnTo>
                  <a:pt x="38" y="269"/>
                </a:lnTo>
                <a:lnTo>
                  <a:pt x="40" y="263"/>
                </a:lnTo>
                <a:lnTo>
                  <a:pt x="40" y="258"/>
                </a:lnTo>
                <a:lnTo>
                  <a:pt x="40" y="254"/>
                </a:lnTo>
                <a:lnTo>
                  <a:pt x="40" y="248"/>
                </a:lnTo>
                <a:lnTo>
                  <a:pt x="42" y="244"/>
                </a:lnTo>
                <a:lnTo>
                  <a:pt x="42" y="239"/>
                </a:lnTo>
                <a:lnTo>
                  <a:pt x="44" y="235"/>
                </a:lnTo>
                <a:lnTo>
                  <a:pt x="48" y="231"/>
                </a:lnTo>
                <a:lnTo>
                  <a:pt x="48" y="231"/>
                </a:lnTo>
                <a:lnTo>
                  <a:pt x="50" y="227"/>
                </a:lnTo>
                <a:lnTo>
                  <a:pt x="54" y="225"/>
                </a:lnTo>
                <a:lnTo>
                  <a:pt x="55" y="223"/>
                </a:lnTo>
                <a:lnTo>
                  <a:pt x="57" y="220"/>
                </a:lnTo>
                <a:lnTo>
                  <a:pt x="59" y="218"/>
                </a:lnTo>
                <a:lnTo>
                  <a:pt x="61" y="214"/>
                </a:lnTo>
                <a:lnTo>
                  <a:pt x="61" y="210"/>
                </a:lnTo>
                <a:lnTo>
                  <a:pt x="63" y="206"/>
                </a:lnTo>
                <a:lnTo>
                  <a:pt x="63" y="206"/>
                </a:lnTo>
                <a:lnTo>
                  <a:pt x="61" y="199"/>
                </a:lnTo>
                <a:lnTo>
                  <a:pt x="61" y="193"/>
                </a:lnTo>
                <a:lnTo>
                  <a:pt x="59" y="187"/>
                </a:lnTo>
                <a:lnTo>
                  <a:pt x="57" y="183"/>
                </a:lnTo>
                <a:lnTo>
                  <a:pt x="55" y="178"/>
                </a:lnTo>
                <a:lnTo>
                  <a:pt x="54" y="172"/>
                </a:lnTo>
                <a:lnTo>
                  <a:pt x="52" y="168"/>
                </a:lnTo>
                <a:lnTo>
                  <a:pt x="52" y="160"/>
                </a:lnTo>
                <a:lnTo>
                  <a:pt x="52" y="160"/>
                </a:lnTo>
                <a:lnTo>
                  <a:pt x="52" y="157"/>
                </a:lnTo>
                <a:lnTo>
                  <a:pt x="52" y="153"/>
                </a:lnTo>
                <a:lnTo>
                  <a:pt x="54" y="149"/>
                </a:lnTo>
                <a:lnTo>
                  <a:pt x="55" y="145"/>
                </a:lnTo>
                <a:lnTo>
                  <a:pt x="55" y="141"/>
                </a:lnTo>
                <a:lnTo>
                  <a:pt x="57" y="137"/>
                </a:lnTo>
                <a:lnTo>
                  <a:pt x="57" y="134"/>
                </a:lnTo>
                <a:lnTo>
                  <a:pt x="57" y="130"/>
                </a:lnTo>
                <a:lnTo>
                  <a:pt x="57" y="130"/>
                </a:lnTo>
                <a:lnTo>
                  <a:pt x="59" y="124"/>
                </a:lnTo>
                <a:lnTo>
                  <a:pt x="61" y="116"/>
                </a:lnTo>
                <a:lnTo>
                  <a:pt x="65" y="111"/>
                </a:lnTo>
                <a:lnTo>
                  <a:pt x="69" y="105"/>
                </a:lnTo>
                <a:lnTo>
                  <a:pt x="73" y="99"/>
                </a:lnTo>
                <a:lnTo>
                  <a:pt x="75" y="94"/>
                </a:lnTo>
                <a:lnTo>
                  <a:pt x="78" y="88"/>
                </a:lnTo>
                <a:lnTo>
                  <a:pt x="78" y="80"/>
                </a:lnTo>
                <a:lnTo>
                  <a:pt x="78" y="80"/>
                </a:lnTo>
                <a:lnTo>
                  <a:pt x="78" y="76"/>
                </a:lnTo>
                <a:lnTo>
                  <a:pt x="78" y="71"/>
                </a:lnTo>
                <a:lnTo>
                  <a:pt x="76" y="67"/>
                </a:lnTo>
                <a:lnTo>
                  <a:pt x="75" y="61"/>
                </a:lnTo>
                <a:lnTo>
                  <a:pt x="73" y="57"/>
                </a:lnTo>
                <a:lnTo>
                  <a:pt x="71" y="52"/>
                </a:lnTo>
                <a:lnTo>
                  <a:pt x="69" y="46"/>
                </a:lnTo>
                <a:lnTo>
                  <a:pt x="67" y="42"/>
                </a:lnTo>
                <a:lnTo>
                  <a:pt x="65" y="36"/>
                </a:lnTo>
                <a:lnTo>
                  <a:pt x="63" y="33"/>
                </a:lnTo>
                <a:lnTo>
                  <a:pt x="61" y="27"/>
                </a:lnTo>
                <a:lnTo>
                  <a:pt x="59" y="23"/>
                </a:lnTo>
                <a:lnTo>
                  <a:pt x="57" y="17"/>
                </a:lnTo>
                <a:lnTo>
                  <a:pt x="55" y="12"/>
                </a:lnTo>
                <a:lnTo>
                  <a:pt x="55" y="8"/>
                </a:lnTo>
                <a:lnTo>
                  <a:pt x="55" y="2"/>
                </a:lnTo>
                <a:lnTo>
                  <a:pt x="52" y="0"/>
                </a:lnTo>
                <a:lnTo>
                  <a:pt x="52" y="0"/>
                </a:lnTo>
                <a:lnTo>
                  <a:pt x="57" y="2"/>
                </a:lnTo>
                <a:lnTo>
                  <a:pt x="65" y="4"/>
                </a:lnTo>
                <a:lnTo>
                  <a:pt x="71" y="6"/>
                </a:lnTo>
                <a:lnTo>
                  <a:pt x="78" y="6"/>
                </a:lnTo>
                <a:lnTo>
                  <a:pt x="86" y="6"/>
                </a:lnTo>
                <a:lnTo>
                  <a:pt x="94" y="6"/>
                </a:lnTo>
                <a:lnTo>
                  <a:pt x="101" y="6"/>
                </a:lnTo>
                <a:lnTo>
                  <a:pt x="109" y="4"/>
                </a:lnTo>
                <a:lnTo>
                  <a:pt x="109" y="4"/>
                </a:lnTo>
                <a:lnTo>
                  <a:pt x="109" y="12"/>
                </a:lnTo>
                <a:lnTo>
                  <a:pt x="111" y="19"/>
                </a:lnTo>
                <a:lnTo>
                  <a:pt x="111" y="25"/>
                </a:lnTo>
                <a:lnTo>
                  <a:pt x="113" y="31"/>
                </a:lnTo>
                <a:lnTo>
                  <a:pt x="113" y="34"/>
                </a:lnTo>
                <a:lnTo>
                  <a:pt x="115" y="40"/>
                </a:lnTo>
                <a:lnTo>
                  <a:pt x="118" y="46"/>
                </a:lnTo>
                <a:lnTo>
                  <a:pt x="120" y="52"/>
                </a:lnTo>
                <a:lnTo>
                  <a:pt x="120" y="52"/>
                </a:lnTo>
                <a:lnTo>
                  <a:pt x="120" y="54"/>
                </a:lnTo>
                <a:lnTo>
                  <a:pt x="120" y="57"/>
                </a:lnTo>
                <a:lnTo>
                  <a:pt x="120" y="59"/>
                </a:lnTo>
                <a:lnTo>
                  <a:pt x="122" y="61"/>
                </a:lnTo>
                <a:lnTo>
                  <a:pt x="122" y="61"/>
                </a:lnTo>
                <a:lnTo>
                  <a:pt x="124" y="61"/>
                </a:lnTo>
                <a:lnTo>
                  <a:pt x="126" y="63"/>
                </a:lnTo>
                <a:lnTo>
                  <a:pt x="128" y="65"/>
                </a:lnTo>
                <a:lnTo>
                  <a:pt x="128" y="67"/>
                </a:lnTo>
                <a:lnTo>
                  <a:pt x="130" y="69"/>
                </a:lnTo>
                <a:lnTo>
                  <a:pt x="132" y="71"/>
                </a:lnTo>
                <a:lnTo>
                  <a:pt x="134" y="73"/>
                </a:lnTo>
                <a:lnTo>
                  <a:pt x="137" y="75"/>
                </a:lnTo>
                <a:lnTo>
                  <a:pt x="137" y="160"/>
                </a:lnTo>
                <a:lnTo>
                  <a:pt x="137" y="160"/>
                </a:lnTo>
                <a:lnTo>
                  <a:pt x="136" y="162"/>
                </a:lnTo>
                <a:lnTo>
                  <a:pt x="136" y="166"/>
                </a:lnTo>
                <a:lnTo>
                  <a:pt x="134" y="170"/>
                </a:lnTo>
                <a:lnTo>
                  <a:pt x="134" y="174"/>
                </a:lnTo>
                <a:lnTo>
                  <a:pt x="132" y="179"/>
                </a:lnTo>
                <a:lnTo>
                  <a:pt x="130" y="185"/>
                </a:lnTo>
                <a:lnTo>
                  <a:pt x="128" y="191"/>
                </a:lnTo>
                <a:lnTo>
                  <a:pt x="126" y="197"/>
                </a:lnTo>
                <a:lnTo>
                  <a:pt x="124" y="202"/>
                </a:lnTo>
                <a:lnTo>
                  <a:pt x="122" y="208"/>
                </a:lnTo>
                <a:lnTo>
                  <a:pt x="120" y="212"/>
                </a:lnTo>
                <a:lnTo>
                  <a:pt x="118" y="218"/>
                </a:lnTo>
                <a:lnTo>
                  <a:pt x="116" y="221"/>
                </a:lnTo>
                <a:lnTo>
                  <a:pt x="115" y="223"/>
                </a:lnTo>
                <a:lnTo>
                  <a:pt x="113" y="225"/>
                </a:lnTo>
                <a:lnTo>
                  <a:pt x="111" y="225"/>
                </a:lnTo>
                <a:lnTo>
                  <a:pt x="111" y="225"/>
                </a:lnTo>
                <a:lnTo>
                  <a:pt x="111" y="231"/>
                </a:lnTo>
                <a:lnTo>
                  <a:pt x="113" y="235"/>
                </a:lnTo>
                <a:lnTo>
                  <a:pt x="116" y="239"/>
                </a:lnTo>
                <a:lnTo>
                  <a:pt x="118" y="242"/>
                </a:lnTo>
                <a:lnTo>
                  <a:pt x="122" y="246"/>
                </a:lnTo>
                <a:lnTo>
                  <a:pt x="124" y="252"/>
                </a:lnTo>
                <a:lnTo>
                  <a:pt x="126" y="256"/>
                </a:lnTo>
                <a:lnTo>
                  <a:pt x="128" y="263"/>
                </a:lnTo>
                <a:lnTo>
                  <a:pt x="128" y="263"/>
                </a:lnTo>
                <a:lnTo>
                  <a:pt x="128" y="271"/>
                </a:lnTo>
                <a:lnTo>
                  <a:pt x="128" y="279"/>
                </a:lnTo>
                <a:lnTo>
                  <a:pt x="128" y="286"/>
                </a:lnTo>
                <a:lnTo>
                  <a:pt x="128" y="296"/>
                </a:lnTo>
                <a:lnTo>
                  <a:pt x="130" y="303"/>
                </a:lnTo>
                <a:lnTo>
                  <a:pt x="132" y="311"/>
                </a:lnTo>
                <a:lnTo>
                  <a:pt x="134" y="319"/>
                </a:lnTo>
                <a:lnTo>
                  <a:pt x="137" y="326"/>
                </a:lnTo>
                <a:lnTo>
                  <a:pt x="137" y="326"/>
                </a:lnTo>
                <a:lnTo>
                  <a:pt x="139" y="328"/>
                </a:lnTo>
                <a:lnTo>
                  <a:pt x="141" y="330"/>
                </a:lnTo>
                <a:lnTo>
                  <a:pt x="143" y="332"/>
                </a:lnTo>
                <a:lnTo>
                  <a:pt x="143" y="332"/>
                </a:lnTo>
                <a:lnTo>
                  <a:pt x="145" y="334"/>
                </a:lnTo>
                <a:lnTo>
                  <a:pt x="147" y="336"/>
                </a:lnTo>
                <a:lnTo>
                  <a:pt x="149" y="340"/>
                </a:lnTo>
                <a:lnTo>
                  <a:pt x="149" y="344"/>
                </a:lnTo>
                <a:lnTo>
                  <a:pt x="149" y="344"/>
                </a:lnTo>
                <a:lnTo>
                  <a:pt x="149" y="345"/>
                </a:lnTo>
                <a:lnTo>
                  <a:pt x="147" y="347"/>
                </a:lnTo>
                <a:lnTo>
                  <a:pt x="147" y="349"/>
                </a:lnTo>
                <a:lnTo>
                  <a:pt x="147" y="351"/>
                </a:lnTo>
                <a:lnTo>
                  <a:pt x="145" y="355"/>
                </a:lnTo>
                <a:lnTo>
                  <a:pt x="145" y="357"/>
                </a:lnTo>
                <a:lnTo>
                  <a:pt x="143" y="359"/>
                </a:lnTo>
                <a:lnTo>
                  <a:pt x="143" y="363"/>
                </a:lnTo>
                <a:lnTo>
                  <a:pt x="143" y="363"/>
                </a:lnTo>
                <a:lnTo>
                  <a:pt x="143" y="365"/>
                </a:lnTo>
                <a:lnTo>
                  <a:pt x="145" y="368"/>
                </a:lnTo>
                <a:lnTo>
                  <a:pt x="147" y="372"/>
                </a:lnTo>
                <a:lnTo>
                  <a:pt x="149" y="376"/>
                </a:lnTo>
                <a:lnTo>
                  <a:pt x="151" y="378"/>
                </a:lnTo>
                <a:lnTo>
                  <a:pt x="155" y="380"/>
                </a:lnTo>
                <a:lnTo>
                  <a:pt x="158" y="382"/>
                </a:lnTo>
                <a:lnTo>
                  <a:pt x="162" y="382"/>
                </a:lnTo>
                <a:lnTo>
                  <a:pt x="162" y="382"/>
                </a:lnTo>
                <a:lnTo>
                  <a:pt x="162" y="380"/>
                </a:lnTo>
                <a:lnTo>
                  <a:pt x="162" y="378"/>
                </a:lnTo>
                <a:lnTo>
                  <a:pt x="162" y="376"/>
                </a:lnTo>
                <a:lnTo>
                  <a:pt x="162" y="374"/>
                </a:lnTo>
                <a:lnTo>
                  <a:pt x="164" y="372"/>
                </a:lnTo>
                <a:lnTo>
                  <a:pt x="164" y="370"/>
                </a:lnTo>
                <a:lnTo>
                  <a:pt x="166" y="368"/>
                </a:lnTo>
                <a:lnTo>
                  <a:pt x="168" y="366"/>
                </a:lnTo>
                <a:lnTo>
                  <a:pt x="168" y="366"/>
                </a:lnTo>
                <a:lnTo>
                  <a:pt x="170" y="368"/>
                </a:lnTo>
                <a:lnTo>
                  <a:pt x="174" y="370"/>
                </a:lnTo>
                <a:lnTo>
                  <a:pt x="176" y="372"/>
                </a:lnTo>
                <a:lnTo>
                  <a:pt x="179" y="374"/>
                </a:lnTo>
                <a:lnTo>
                  <a:pt x="181" y="376"/>
                </a:lnTo>
                <a:lnTo>
                  <a:pt x="185" y="378"/>
                </a:lnTo>
                <a:lnTo>
                  <a:pt x="187" y="380"/>
                </a:lnTo>
                <a:lnTo>
                  <a:pt x="191" y="380"/>
                </a:lnTo>
                <a:lnTo>
                  <a:pt x="191" y="380"/>
                </a:lnTo>
                <a:lnTo>
                  <a:pt x="189" y="378"/>
                </a:lnTo>
                <a:lnTo>
                  <a:pt x="187" y="376"/>
                </a:lnTo>
                <a:lnTo>
                  <a:pt x="187" y="374"/>
                </a:lnTo>
                <a:lnTo>
                  <a:pt x="189" y="372"/>
                </a:lnTo>
                <a:lnTo>
                  <a:pt x="189" y="370"/>
                </a:lnTo>
                <a:lnTo>
                  <a:pt x="189" y="368"/>
                </a:lnTo>
                <a:lnTo>
                  <a:pt x="191" y="366"/>
                </a:lnTo>
                <a:lnTo>
                  <a:pt x="191" y="363"/>
                </a:lnTo>
                <a:lnTo>
                  <a:pt x="191" y="363"/>
                </a:lnTo>
                <a:lnTo>
                  <a:pt x="189" y="378"/>
                </a:lnTo>
              </a:path>
            </a:pathLst>
          </a:custGeom>
          <a:solidFill>
            <a:schemeClr val="bg2"/>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3" name="Freeform 13"/>
          <p:cNvSpPr>
            <a:spLocks/>
          </p:cNvSpPr>
          <p:nvPr/>
        </p:nvSpPr>
        <p:spPr bwMode="auto">
          <a:xfrm>
            <a:off x="3943350" y="4644927"/>
            <a:ext cx="754063" cy="1157288"/>
          </a:xfrm>
          <a:custGeom>
            <a:avLst/>
            <a:gdLst>
              <a:gd name="T0" fmla="*/ 437 w 837"/>
              <a:gd name="T1" fmla="*/ 380 h 1326"/>
              <a:gd name="T2" fmla="*/ 431 w 837"/>
              <a:gd name="T3" fmla="*/ 435 h 1326"/>
              <a:gd name="T4" fmla="*/ 416 w 837"/>
              <a:gd name="T5" fmla="*/ 460 h 1326"/>
              <a:gd name="T6" fmla="*/ 378 w 837"/>
              <a:gd name="T7" fmla="*/ 489 h 1326"/>
              <a:gd name="T8" fmla="*/ 378 w 837"/>
              <a:gd name="T9" fmla="*/ 510 h 1326"/>
              <a:gd name="T10" fmla="*/ 341 w 837"/>
              <a:gd name="T11" fmla="*/ 487 h 1326"/>
              <a:gd name="T12" fmla="*/ 341 w 837"/>
              <a:gd name="T13" fmla="*/ 422 h 1326"/>
              <a:gd name="T14" fmla="*/ 347 w 837"/>
              <a:gd name="T15" fmla="*/ 357 h 1326"/>
              <a:gd name="T16" fmla="*/ 290 w 837"/>
              <a:gd name="T17" fmla="*/ 338 h 1326"/>
              <a:gd name="T18" fmla="*/ 248 w 837"/>
              <a:gd name="T19" fmla="*/ 298 h 1326"/>
              <a:gd name="T20" fmla="*/ 153 w 837"/>
              <a:gd name="T21" fmla="*/ 330 h 1326"/>
              <a:gd name="T22" fmla="*/ 86 w 837"/>
              <a:gd name="T23" fmla="*/ 349 h 1326"/>
              <a:gd name="T24" fmla="*/ 32 w 837"/>
              <a:gd name="T25" fmla="*/ 369 h 1326"/>
              <a:gd name="T26" fmla="*/ 4 w 837"/>
              <a:gd name="T27" fmla="*/ 405 h 1326"/>
              <a:gd name="T28" fmla="*/ 8 w 837"/>
              <a:gd name="T29" fmla="*/ 430 h 1326"/>
              <a:gd name="T30" fmla="*/ 101 w 837"/>
              <a:gd name="T31" fmla="*/ 491 h 1326"/>
              <a:gd name="T32" fmla="*/ 206 w 837"/>
              <a:gd name="T33" fmla="*/ 563 h 1326"/>
              <a:gd name="T34" fmla="*/ 187 w 837"/>
              <a:gd name="T35" fmla="*/ 664 h 1326"/>
              <a:gd name="T36" fmla="*/ 189 w 837"/>
              <a:gd name="T37" fmla="*/ 748 h 1326"/>
              <a:gd name="T38" fmla="*/ 172 w 837"/>
              <a:gd name="T39" fmla="*/ 804 h 1326"/>
              <a:gd name="T40" fmla="*/ 143 w 837"/>
              <a:gd name="T41" fmla="*/ 857 h 1326"/>
              <a:gd name="T42" fmla="*/ 107 w 837"/>
              <a:gd name="T43" fmla="*/ 914 h 1326"/>
              <a:gd name="T44" fmla="*/ 50 w 837"/>
              <a:gd name="T45" fmla="*/ 966 h 1326"/>
              <a:gd name="T46" fmla="*/ 65 w 837"/>
              <a:gd name="T47" fmla="*/ 1052 h 1326"/>
              <a:gd name="T48" fmla="*/ 88 w 837"/>
              <a:gd name="T49" fmla="*/ 1114 h 1326"/>
              <a:gd name="T50" fmla="*/ 88 w 837"/>
              <a:gd name="T51" fmla="*/ 1164 h 1326"/>
              <a:gd name="T52" fmla="*/ 76 w 837"/>
              <a:gd name="T53" fmla="*/ 1246 h 1326"/>
              <a:gd name="T54" fmla="*/ 84 w 837"/>
              <a:gd name="T55" fmla="*/ 1275 h 1326"/>
              <a:gd name="T56" fmla="*/ 118 w 837"/>
              <a:gd name="T57" fmla="*/ 1326 h 1326"/>
              <a:gd name="T58" fmla="*/ 151 w 837"/>
              <a:gd name="T59" fmla="*/ 1273 h 1326"/>
              <a:gd name="T60" fmla="*/ 158 w 837"/>
              <a:gd name="T61" fmla="*/ 1227 h 1326"/>
              <a:gd name="T62" fmla="*/ 216 w 837"/>
              <a:gd name="T63" fmla="*/ 1189 h 1326"/>
              <a:gd name="T64" fmla="*/ 284 w 837"/>
              <a:gd name="T65" fmla="*/ 1168 h 1326"/>
              <a:gd name="T66" fmla="*/ 351 w 837"/>
              <a:gd name="T67" fmla="*/ 1126 h 1326"/>
              <a:gd name="T68" fmla="*/ 361 w 837"/>
              <a:gd name="T69" fmla="*/ 1073 h 1326"/>
              <a:gd name="T70" fmla="*/ 370 w 837"/>
              <a:gd name="T71" fmla="*/ 1013 h 1326"/>
              <a:gd name="T72" fmla="*/ 376 w 837"/>
              <a:gd name="T73" fmla="*/ 977 h 1326"/>
              <a:gd name="T74" fmla="*/ 357 w 837"/>
              <a:gd name="T75" fmla="*/ 903 h 1326"/>
              <a:gd name="T76" fmla="*/ 334 w 837"/>
              <a:gd name="T77" fmla="*/ 830 h 1326"/>
              <a:gd name="T78" fmla="*/ 345 w 837"/>
              <a:gd name="T79" fmla="*/ 773 h 1326"/>
              <a:gd name="T80" fmla="*/ 422 w 837"/>
              <a:gd name="T81" fmla="*/ 718 h 1326"/>
              <a:gd name="T82" fmla="*/ 502 w 837"/>
              <a:gd name="T83" fmla="*/ 657 h 1326"/>
              <a:gd name="T84" fmla="*/ 582 w 837"/>
              <a:gd name="T85" fmla="*/ 586 h 1326"/>
              <a:gd name="T86" fmla="*/ 692 w 837"/>
              <a:gd name="T87" fmla="*/ 538 h 1326"/>
              <a:gd name="T88" fmla="*/ 757 w 837"/>
              <a:gd name="T89" fmla="*/ 485 h 1326"/>
              <a:gd name="T90" fmla="*/ 811 w 837"/>
              <a:gd name="T91" fmla="*/ 426 h 1326"/>
              <a:gd name="T92" fmla="*/ 837 w 837"/>
              <a:gd name="T93" fmla="*/ 357 h 1326"/>
              <a:gd name="T94" fmla="*/ 824 w 837"/>
              <a:gd name="T95" fmla="*/ 308 h 1326"/>
              <a:gd name="T96" fmla="*/ 824 w 837"/>
              <a:gd name="T97" fmla="*/ 260 h 1326"/>
              <a:gd name="T98" fmla="*/ 826 w 837"/>
              <a:gd name="T99" fmla="*/ 210 h 1326"/>
              <a:gd name="T100" fmla="*/ 816 w 837"/>
              <a:gd name="T101" fmla="*/ 147 h 1326"/>
              <a:gd name="T102" fmla="*/ 822 w 837"/>
              <a:gd name="T103" fmla="*/ 92 h 1326"/>
              <a:gd name="T104" fmla="*/ 818 w 837"/>
              <a:gd name="T105" fmla="*/ 19 h 1326"/>
              <a:gd name="T106" fmla="*/ 765 w 837"/>
              <a:gd name="T107" fmla="*/ 39 h 1326"/>
              <a:gd name="T108" fmla="*/ 658 w 837"/>
              <a:gd name="T109" fmla="*/ 73 h 1326"/>
              <a:gd name="T110" fmla="*/ 610 w 837"/>
              <a:gd name="T111" fmla="*/ 79 h 1326"/>
              <a:gd name="T112" fmla="*/ 544 w 837"/>
              <a:gd name="T113" fmla="*/ 105 h 1326"/>
              <a:gd name="T114" fmla="*/ 479 w 837"/>
              <a:gd name="T115" fmla="*/ 94 h 1326"/>
              <a:gd name="T116" fmla="*/ 435 w 837"/>
              <a:gd name="T117" fmla="*/ 86 h 1326"/>
              <a:gd name="T118" fmla="*/ 383 w 837"/>
              <a:gd name="T119" fmla="*/ 103 h 1326"/>
              <a:gd name="T120" fmla="*/ 382 w 837"/>
              <a:gd name="T121" fmla="*/ 136 h 1326"/>
              <a:gd name="T122" fmla="*/ 368 w 837"/>
              <a:gd name="T123" fmla="*/ 193 h 1326"/>
              <a:gd name="T124" fmla="*/ 395 w 837"/>
              <a:gd name="T125" fmla="*/ 306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7" h="1326">
                <a:moveTo>
                  <a:pt x="393" y="321"/>
                </a:moveTo>
                <a:lnTo>
                  <a:pt x="393" y="321"/>
                </a:lnTo>
                <a:lnTo>
                  <a:pt x="401" y="325"/>
                </a:lnTo>
                <a:lnTo>
                  <a:pt x="406" y="328"/>
                </a:lnTo>
                <a:lnTo>
                  <a:pt x="414" y="336"/>
                </a:lnTo>
                <a:lnTo>
                  <a:pt x="422" y="344"/>
                </a:lnTo>
                <a:lnTo>
                  <a:pt x="427" y="353"/>
                </a:lnTo>
                <a:lnTo>
                  <a:pt x="431" y="361"/>
                </a:lnTo>
                <a:lnTo>
                  <a:pt x="435" y="370"/>
                </a:lnTo>
                <a:lnTo>
                  <a:pt x="437" y="378"/>
                </a:lnTo>
                <a:lnTo>
                  <a:pt x="437" y="378"/>
                </a:lnTo>
                <a:lnTo>
                  <a:pt x="437" y="380"/>
                </a:lnTo>
                <a:lnTo>
                  <a:pt x="435" y="382"/>
                </a:lnTo>
                <a:lnTo>
                  <a:pt x="433" y="382"/>
                </a:lnTo>
                <a:lnTo>
                  <a:pt x="431" y="384"/>
                </a:lnTo>
                <a:lnTo>
                  <a:pt x="429" y="386"/>
                </a:lnTo>
                <a:lnTo>
                  <a:pt x="429" y="388"/>
                </a:lnTo>
                <a:lnTo>
                  <a:pt x="427" y="390"/>
                </a:lnTo>
                <a:lnTo>
                  <a:pt x="427" y="391"/>
                </a:lnTo>
                <a:lnTo>
                  <a:pt x="431" y="426"/>
                </a:lnTo>
                <a:lnTo>
                  <a:pt x="431" y="426"/>
                </a:lnTo>
                <a:lnTo>
                  <a:pt x="431" y="430"/>
                </a:lnTo>
                <a:lnTo>
                  <a:pt x="431" y="433"/>
                </a:lnTo>
                <a:lnTo>
                  <a:pt x="431" y="435"/>
                </a:lnTo>
                <a:lnTo>
                  <a:pt x="431" y="439"/>
                </a:lnTo>
                <a:lnTo>
                  <a:pt x="431" y="443"/>
                </a:lnTo>
                <a:lnTo>
                  <a:pt x="431" y="447"/>
                </a:lnTo>
                <a:lnTo>
                  <a:pt x="431" y="451"/>
                </a:lnTo>
                <a:lnTo>
                  <a:pt x="429" y="454"/>
                </a:lnTo>
                <a:lnTo>
                  <a:pt x="429" y="454"/>
                </a:lnTo>
                <a:lnTo>
                  <a:pt x="427" y="456"/>
                </a:lnTo>
                <a:lnTo>
                  <a:pt x="425" y="458"/>
                </a:lnTo>
                <a:lnTo>
                  <a:pt x="424" y="460"/>
                </a:lnTo>
                <a:lnTo>
                  <a:pt x="422" y="460"/>
                </a:lnTo>
                <a:lnTo>
                  <a:pt x="418" y="460"/>
                </a:lnTo>
                <a:lnTo>
                  <a:pt x="416" y="460"/>
                </a:lnTo>
                <a:lnTo>
                  <a:pt x="412" y="460"/>
                </a:lnTo>
                <a:lnTo>
                  <a:pt x="408" y="460"/>
                </a:lnTo>
                <a:lnTo>
                  <a:pt x="408" y="460"/>
                </a:lnTo>
                <a:lnTo>
                  <a:pt x="406" y="460"/>
                </a:lnTo>
                <a:lnTo>
                  <a:pt x="403" y="464"/>
                </a:lnTo>
                <a:lnTo>
                  <a:pt x="399" y="468"/>
                </a:lnTo>
                <a:lnTo>
                  <a:pt x="393" y="472"/>
                </a:lnTo>
                <a:lnTo>
                  <a:pt x="387" y="475"/>
                </a:lnTo>
                <a:lnTo>
                  <a:pt x="382" y="481"/>
                </a:lnTo>
                <a:lnTo>
                  <a:pt x="378" y="485"/>
                </a:lnTo>
                <a:lnTo>
                  <a:pt x="378" y="489"/>
                </a:lnTo>
                <a:lnTo>
                  <a:pt x="378" y="489"/>
                </a:lnTo>
                <a:lnTo>
                  <a:pt x="378" y="491"/>
                </a:lnTo>
                <a:lnTo>
                  <a:pt x="378" y="493"/>
                </a:lnTo>
                <a:lnTo>
                  <a:pt x="380" y="494"/>
                </a:lnTo>
                <a:lnTo>
                  <a:pt x="382" y="496"/>
                </a:lnTo>
                <a:lnTo>
                  <a:pt x="382" y="496"/>
                </a:lnTo>
                <a:lnTo>
                  <a:pt x="382" y="498"/>
                </a:lnTo>
                <a:lnTo>
                  <a:pt x="380" y="500"/>
                </a:lnTo>
                <a:lnTo>
                  <a:pt x="380" y="502"/>
                </a:lnTo>
                <a:lnTo>
                  <a:pt x="378" y="504"/>
                </a:lnTo>
                <a:lnTo>
                  <a:pt x="378" y="506"/>
                </a:lnTo>
                <a:lnTo>
                  <a:pt x="378" y="508"/>
                </a:lnTo>
                <a:lnTo>
                  <a:pt x="378" y="510"/>
                </a:lnTo>
                <a:lnTo>
                  <a:pt x="378" y="512"/>
                </a:lnTo>
                <a:lnTo>
                  <a:pt x="378" y="512"/>
                </a:lnTo>
                <a:lnTo>
                  <a:pt x="378" y="515"/>
                </a:lnTo>
                <a:lnTo>
                  <a:pt x="378" y="517"/>
                </a:lnTo>
                <a:lnTo>
                  <a:pt x="378" y="521"/>
                </a:lnTo>
                <a:lnTo>
                  <a:pt x="378" y="523"/>
                </a:lnTo>
                <a:lnTo>
                  <a:pt x="378" y="523"/>
                </a:lnTo>
                <a:lnTo>
                  <a:pt x="372" y="519"/>
                </a:lnTo>
                <a:lnTo>
                  <a:pt x="364" y="515"/>
                </a:lnTo>
                <a:lnTo>
                  <a:pt x="357" y="506"/>
                </a:lnTo>
                <a:lnTo>
                  <a:pt x="349" y="496"/>
                </a:lnTo>
                <a:lnTo>
                  <a:pt x="341" y="487"/>
                </a:lnTo>
                <a:lnTo>
                  <a:pt x="336" y="475"/>
                </a:lnTo>
                <a:lnTo>
                  <a:pt x="332" y="466"/>
                </a:lnTo>
                <a:lnTo>
                  <a:pt x="330" y="458"/>
                </a:lnTo>
                <a:lnTo>
                  <a:pt x="330" y="458"/>
                </a:lnTo>
                <a:lnTo>
                  <a:pt x="330" y="454"/>
                </a:lnTo>
                <a:lnTo>
                  <a:pt x="330" y="449"/>
                </a:lnTo>
                <a:lnTo>
                  <a:pt x="332" y="445"/>
                </a:lnTo>
                <a:lnTo>
                  <a:pt x="334" y="441"/>
                </a:lnTo>
                <a:lnTo>
                  <a:pt x="336" y="435"/>
                </a:lnTo>
                <a:lnTo>
                  <a:pt x="338" y="432"/>
                </a:lnTo>
                <a:lnTo>
                  <a:pt x="340" y="428"/>
                </a:lnTo>
                <a:lnTo>
                  <a:pt x="341" y="422"/>
                </a:lnTo>
                <a:lnTo>
                  <a:pt x="343" y="418"/>
                </a:lnTo>
                <a:lnTo>
                  <a:pt x="347" y="414"/>
                </a:lnTo>
                <a:lnTo>
                  <a:pt x="349" y="411"/>
                </a:lnTo>
                <a:lnTo>
                  <a:pt x="351" y="405"/>
                </a:lnTo>
                <a:lnTo>
                  <a:pt x="351" y="401"/>
                </a:lnTo>
                <a:lnTo>
                  <a:pt x="353" y="395"/>
                </a:lnTo>
                <a:lnTo>
                  <a:pt x="353" y="391"/>
                </a:lnTo>
                <a:lnTo>
                  <a:pt x="353" y="386"/>
                </a:lnTo>
                <a:lnTo>
                  <a:pt x="353" y="386"/>
                </a:lnTo>
                <a:lnTo>
                  <a:pt x="353" y="376"/>
                </a:lnTo>
                <a:lnTo>
                  <a:pt x="351" y="367"/>
                </a:lnTo>
                <a:lnTo>
                  <a:pt x="347" y="357"/>
                </a:lnTo>
                <a:lnTo>
                  <a:pt x="343" y="346"/>
                </a:lnTo>
                <a:lnTo>
                  <a:pt x="338" y="338"/>
                </a:lnTo>
                <a:lnTo>
                  <a:pt x="330" y="330"/>
                </a:lnTo>
                <a:lnTo>
                  <a:pt x="322" y="325"/>
                </a:lnTo>
                <a:lnTo>
                  <a:pt x="315" y="323"/>
                </a:lnTo>
                <a:lnTo>
                  <a:pt x="315" y="323"/>
                </a:lnTo>
                <a:lnTo>
                  <a:pt x="309" y="325"/>
                </a:lnTo>
                <a:lnTo>
                  <a:pt x="305" y="327"/>
                </a:lnTo>
                <a:lnTo>
                  <a:pt x="301" y="328"/>
                </a:lnTo>
                <a:lnTo>
                  <a:pt x="298" y="332"/>
                </a:lnTo>
                <a:lnTo>
                  <a:pt x="294" y="334"/>
                </a:lnTo>
                <a:lnTo>
                  <a:pt x="290" y="338"/>
                </a:lnTo>
                <a:lnTo>
                  <a:pt x="286" y="340"/>
                </a:lnTo>
                <a:lnTo>
                  <a:pt x="282" y="340"/>
                </a:lnTo>
                <a:lnTo>
                  <a:pt x="282" y="340"/>
                </a:lnTo>
                <a:lnTo>
                  <a:pt x="277" y="338"/>
                </a:lnTo>
                <a:lnTo>
                  <a:pt x="273" y="334"/>
                </a:lnTo>
                <a:lnTo>
                  <a:pt x="267" y="328"/>
                </a:lnTo>
                <a:lnTo>
                  <a:pt x="263" y="321"/>
                </a:lnTo>
                <a:lnTo>
                  <a:pt x="258" y="313"/>
                </a:lnTo>
                <a:lnTo>
                  <a:pt x="254" y="308"/>
                </a:lnTo>
                <a:lnTo>
                  <a:pt x="250" y="302"/>
                </a:lnTo>
                <a:lnTo>
                  <a:pt x="248" y="298"/>
                </a:lnTo>
                <a:lnTo>
                  <a:pt x="248" y="298"/>
                </a:lnTo>
                <a:lnTo>
                  <a:pt x="242" y="302"/>
                </a:lnTo>
                <a:lnTo>
                  <a:pt x="235" y="304"/>
                </a:lnTo>
                <a:lnTo>
                  <a:pt x="225" y="306"/>
                </a:lnTo>
                <a:lnTo>
                  <a:pt x="217" y="309"/>
                </a:lnTo>
                <a:lnTo>
                  <a:pt x="210" y="311"/>
                </a:lnTo>
                <a:lnTo>
                  <a:pt x="202" y="315"/>
                </a:lnTo>
                <a:lnTo>
                  <a:pt x="195" y="317"/>
                </a:lnTo>
                <a:lnTo>
                  <a:pt x="185" y="319"/>
                </a:lnTo>
                <a:lnTo>
                  <a:pt x="177" y="323"/>
                </a:lnTo>
                <a:lnTo>
                  <a:pt x="170" y="325"/>
                </a:lnTo>
                <a:lnTo>
                  <a:pt x="160" y="328"/>
                </a:lnTo>
                <a:lnTo>
                  <a:pt x="153" y="330"/>
                </a:lnTo>
                <a:lnTo>
                  <a:pt x="145" y="332"/>
                </a:lnTo>
                <a:lnTo>
                  <a:pt x="137" y="336"/>
                </a:lnTo>
                <a:lnTo>
                  <a:pt x="130" y="338"/>
                </a:lnTo>
                <a:lnTo>
                  <a:pt x="122" y="338"/>
                </a:lnTo>
                <a:lnTo>
                  <a:pt x="122" y="338"/>
                </a:lnTo>
                <a:lnTo>
                  <a:pt x="116" y="340"/>
                </a:lnTo>
                <a:lnTo>
                  <a:pt x="111" y="342"/>
                </a:lnTo>
                <a:lnTo>
                  <a:pt x="107" y="344"/>
                </a:lnTo>
                <a:lnTo>
                  <a:pt x="101" y="344"/>
                </a:lnTo>
                <a:lnTo>
                  <a:pt x="95" y="346"/>
                </a:lnTo>
                <a:lnTo>
                  <a:pt x="92" y="348"/>
                </a:lnTo>
                <a:lnTo>
                  <a:pt x="86" y="349"/>
                </a:lnTo>
                <a:lnTo>
                  <a:pt x="82" y="351"/>
                </a:lnTo>
                <a:lnTo>
                  <a:pt x="76" y="353"/>
                </a:lnTo>
                <a:lnTo>
                  <a:pt x="73" y="355"/>
                </a:lnTo>
                <a:lnTo>
                  <a:pt x="67" y="357"/>
                </a:lnTo>
                <a:lnTo>
                  <a:pt x="63" y="359"/>
                </a:lnTo>
                <a:lnTo>
                  <a:pt x="57" y="361"/>
                </a:lnTo>
                <a:lnTo>
                  <a:pt x="52" y="363"/>
                </a:lnTo>
                <a:lnTo>
                  <a:pt x="46" y="365"/>
                </a:lnTo>
                <a:lnTo>
                  <a:pt x="40" y="367"/>
                </a:lnTo>
                <a:lnTo>
                  <a:pt x="40" y="367"/>
                </a:lnTo>
                <a:lnTo>
                  <a:pt x="38" y="367"/>
                </a:lnTo>
                <a:lnTo>
                  <a:pt x="32" y="369"/>
                </a:lnTo>
                <a:lnTo>
                  <a:pt x="29" y="372"/>
                </a:lnTo>
                <a:lnTo>
                  <a:pt x="23" y="374"/>
                </a:lnTo>
                <a:lnTo>
                  <a:pt x="17" y="376"/>
                </a:lnTo>
                <a:lnTo>
                  <a:pt x="11" y="380"/>
                </a:lnTo>
                <a:lnTo>
                  <a:pt x="6" y="382"/>
                </a:lnTo>
                <a:lnTo>
                  <a:pt x="0" y="382"/>
                </a:lnTo>
                <a:lnTo>
                  <a:pt x="0" y="393"/>
                </a:lnTo>
                <a:lnTo>
                  <a:pt x="0" y="393"/>
                </a:lnTo>
                <a:lnTo>
                  <a:pt x="0" y="395"/>
                </a:lnTo>
                <a:lnTo>
                  <a:pt x="2" y="399"/>
                </a:lnTo>
                <a:lnTo>
                  <a:pt x="2" y="401"/>
                </a:lnTo>
                <a:lnTo>
                  <a:pt x="4" y="405"/>
                </a:lnTo>
                <a:lnTo>
                  <a:pt x="4" y="407"/>
                </a:lnTo>
                <a:lnTo>
                  <a:pt x="6" y="411"/>
                </a:lnTo>
                <a:lnTo>
                  <a:pt x="6" y="414"/>
                </a:lnTo>
                <a:lnTo>
                  <a:pt x="6" y="416"/>
                </a:lnTo>
                <a:lnTo>
                  <a:pt x="6" y="416"/>
                </a:lnTo>
                <a:lnTo>
                  <a:pt x="6" y="418"/>
                </a:lnTo>
                <a:lnTo>
                  <a:pt x="8" y="418"/>
                </a:lnTo>
                <a:lnTo>
                  <a:pt x="8" y="420"/>
                </a:lnTo>
                <a:lnTo>
                  <a:pt x="8" y="422"/>
                </a:lnTo>
                <a:lnTo>
                  <a:pt x="8" y="424"/>
                </a:lnTo>
                <a:lnTo>
                  <a:pt x="8" y="428"/>
                </a:lnTo>
                <a:lnTo>
                  <a:pt x="8" y="430"/>
                </a:lnTo>
                <a:lnTo>
                  <a:pt x="8" y="433"/>
                </a:lnTo>
                <a:lnTo>
                  <a:pt x="8" y="433"/>
                </a:lnTo>
                <a:lnTo>
                  <a:pt x="10" y="433"/>
                </a:lnTo>
                <a:lnTo>
                  <a:pt x="11" y="432"/>
                </a:lnTo>
                <a:lnTo>
                  <a:pt x="13" y="432"/>
                </a:lnTo>
                <a:lnTo>
                  <a:pt x="15" y="432"/>
                </a:lnTo>
                <a:lnTo>
                  <a:pt x="15" y="470"/>
                </a:lnTo>
                <a:lnTo>
                  <a:pt x="82" y="470"/>
                </a:lnTo>
                <a:lnTo>
                  <a:pt x="82" y="470"/>
                </a:lnTo>
                <a:lnTo>
                  <a:pt x="88" y="479"/>
                </a:lnTo>
                <a:lnTo>
                  <a:pt x="94" y="485"/>
                </a:lnTo>
                <a:lnTo>
                  <a:pt x="101" y="491"/>
                </a:lnTo>
                <a:lnTo>
                  <a:pt x="111" y="496"/>
                </a:lnTo>
                <a:lnTo>
                  <a:pt x="120" y="500"/>
                </a:lnTo>
                <a:lnTo>
                  <a:pt x="132" y="504"/>
                </a:lnTo>
                <a:lnTo>
                  <a:pt x="141" y="508"/>
                </a:lnTo>
                <a:lnTo>
                  <a:pt x="153" y="512"/>
                </a:lnTo>
                <a:lnTo>
                  <a:pt x="164" y="515"/>
                </a:lnTo>
                <a:lnTo>
                  <a:pt x="174" y="521"/>
                </a:lnTo>
                <a:lnTo>
                  <a:pt x="183" y="527"/>
                </a:lnTo>
                <a:lnTo>
                  <a:pt x="191" y="535"/>
                </a:lnTo>
                <a:lnTo>
                  <a:pt x="198" y="542"/>
                </a:lnTo>
                <a:lnTo>
                  <a:pt x="202" y="552"/>
                </a:lnTo>
                <a:lnTo>
                  <a:pt x="206" y="563"/>
                </a:lnTo>
                <a:lnTo>
                  <a:pt x="208" y="576"/>
                </a:lnTo>
                <a:lnTo>
                  <a:pt x="208" y="576"/>
                </a:lnTo>
                <a:lnTo>
                  <a:pt x="206" y="586"/>
                </a:lnTo>
                <a:lnTo>
                  <a:pt x="206" y="596"/>
                </a:lnTo>
                <a:lnTo>
                  <a:pt x="204" y="605"/>
                </a:lnTo>
                <a:lnTo>
                  <a:pt x="202" y="615"/>
                </a:lnTo>
                <a:lnTo>
                  <a:pt x="200" y="622"/>
                </a:lnTo>
                <a:lnTo>
                  <a:pt x="198" y="632"/>
                </a:lnTo>
                <a:lnTo>
                  <a:pt x="195" y="639"/>
                </a:lnTo>
                <a:lnTo>
                  <a:pt x="193" y="649"/>
                </a:lnTo>
                <a:lnTo>
                  <a:pt x="189" y="657"/>
                </a:lnTo>
                <a:lnTo>
                  <a:pt x="187" y="664"/>
                </a:lnTo>
                <a:lnTo>
                  <a:pt x="185" y="674"/>
                </a:lnTo>
                <a:lnTo>
                  <a:pt x="183" y="681"/>
                </a:lnTo>
                <a:lnTo>
                  <a:pt x="181" y="689"/>
                </a:lnTo>
                <a:lnTo>
                  <a:pt x="179" y="697"/>
                </a:lnTo>
                <a:lnTo>
                  <a:pt x="177" y="704"/>
                </a:lnTo>
                <a:lnTo>
                  <a:pt x="177" y="712"/>
                </a:lnTo>
                <a:lnTo>
                  <a:pt x="177" y="712"/>
                </a:lnTo>
                <a:lnTo>
                  <a:pt x="179" y="721"/>
                </a:lnTo>
                <a:lnTo>
                  <a:pt x="179" y="729"/>
                </a:lnTo>
                <a:lnTo>
                  <a:pt x="183" y="737"/>
                </a:lnTo>
                <a:lnTo>
                  <a:pt x="185" y="742"/>
                </a:lnTo>
                <a:lnTo>
                  <a:pt x="189" y="748"/>
                </a:lnTo>
                <a:lnTo>
                  <a:pt x="191" y="754"/>
                </a:lnTo>
                <a:lnTo>
                  <a:pt x="193" y="762"/>
                </a:lnTo>
                <a:lnTo>
                  <a:pt x="193" y="767"/>
                </a:lnTo>
                <a:lnTo>
                  <a:pt x="193" y="767"/>
                </a:lnTo>
                <a:lnTo>
                  <a:pt x="193" y="771"/>
                </a:lnTo>
                <a:lnTo>
                  <a:pt x="191" y="777"/>
                </a:lnTo>
                <a:lnTo>
                  <a:pt x="189" y="781"/>
                </a:lnTo>
                <a:lnTo>
                  <a:pt x="187" y="786"/>
                </a:lnTo>
                <a:lnTo>
                  <a:pt x="183" y="790"/>
                </a:lnTo>
                <a:lnTo>
                  <a:pt x="179" y="796"/>
                </a:lnTo>
                <a:lnTo>
                  <a:pt x="176" y="800"/>
                </a:lnTo>
                <a:lnTo>
                  <a:pt x="172" y="804"/>
                </a:lnTo>
                <a:lnTo>
                  <a:pt x="168" y="809"/>
                </a:lnTo>
                <a:lnTo>
                  <a:pt x="164" y="813"/>
                </a:lnTo>
                <a:lnTo>
                  <a:pt x="160" y="819"/>
                </a:lnTo>
                <a:lnTo>
                  <a:pt x="156" y="823"/>
                </a:lnTo>
                <a:lnTo>
                  <a:pt x="153" y="826"/>
                </a:lnTo>
                <a:lnTo>
                  <a:pt x="151" y="830"/>
                </a:lnTo>
                <a:lnTo>
                  <a:pt x="147" y="836"/>
                </a:lnTo>
                <a:lnTo>
                  <a:pt x="145" y="840"/>
                </a:lnTo>
                <a:lnTo>
                  <a:pt x="145" y="840"/>
                </a:lnTo>
                <a:lnTo>
                  <a:pt x="145" y="845"/>
                </a:lnTo>
                <a:lnTo>
                  <a:pt x="143" y="851"/>
                </a:lnTo>
                <a:lnTo>
                  <a:pt x="143" y="857"/>
                </a:lnTo>
                <a:lnTo>
                  <a:pt x="143" y="863"/>
                </a:lnTo>
                <a:lnTo>
                  <a:pt x="141" y="868"/>
                </a:lnTo>
                <a:lnTo>
                  <a:pt x="141" y="874"/>
                </a:lnTo>
                <a:lnTo>
                  <a:pt x="139" y="878"/>
                </a:lnTo>
                <a:lnTo>
                  <a:pt x="135" y="884"/>
                </a:lnTo>
                <a:lnTo>
                  <a:pt x="135" y="884"/>
                </a:lnTo>
                <a:lnTo>
                  <a:pt x="134" y="886"/>
                </a:lnTo>
                <a:lnTo>
                  <a:pt x="130" y="889"/>
                </a:lnTo>
                <a:lnTo>
                  <a:pt x="126" y="895"/>
                </a:lnTo>
                <a:lnTo>
                  <a:pt x="120" y="901"/>
                </a:lnTo>
                <a:lnTo>
                  <a:pt x="114" y="907"/>
                </a:lnTo>
                <a:lnTo>
                  <a:pt x="107" y="914"/>
                </a:lnTo>
                <a:lnTo>
                  <a:pt x="99" y="922"/>
                </a:lnTo>
                <a:lnTo>
                  <a:pt x="92" y="929"/>
                </a:lnTo>
                <a:lnTo>
                  <a:pt x="84" y="935"/>
                </a:lnTo>
                <a:lnTo>
                  <a:pt x="76" y="943"/>
                </a:lnTo>
                <a:lnTo>
                  <a:pt x="69" y="949"/>
                </a:lnTo>
                <a:lnTo>
                  <a:pt x="63" y="954"/>
                </a:lnTo>
                <a:lnTo>
                  <a:pt x="57" y="960"/>
                </a:lnTo>
                <a:lnTo>
                  <a:pt x="53" y="964"/>
                </a:lnTo>
                <a:lnTo>
                  <a:pt x="50" y="966"/>
                </a:lnTo>
                <a:lnTo>
                  <a:pt x="48" y="966"/>
                </a:lnTo>
                <a:lnTo>
                  <a:pt x="50" y="966"/>
                </a:lnTo>
                <a:lnTo>
                  <a:pt x="50" y="966"/>
                </a:lnTo>
                <a:lnTo>
                  <a:pt x="50" y="973"/>
                </a:lnTo>
                <a:lnTo>
                  <a:pt x="50" y="983"/>
                </a:lnTo>
                <a:lnTo>
                  <a:pt x="52" y="990"/>
                </a:lnTo>
                <a:lnTo>
                  <a:pt x="53" y="998"/>
                </a:lnTo>
                <a:lnTo>
                  <a:pt x="55" y="1008"/>
                </a:lnTo>
                <a:lnTo>
                  <a:pt x="57" y="1015"/>
                </a:lnTo>
                <a:lnTo>
                  <a:pt x="59" y="1023"/>
                </a:lnTo>
                <a:lnTo>
                  <a:pt x="61" y="1032"/>
                </a:lnTo>
                <a:lnTo>
                  <a:pt x="61" y="1044"/>
                </a:lnTo>
                <a:lnTo>
                  <a:pt x="61" y="1044"/>
                </a:lnTo>
                <a:lnTo>
                  <a:pt x="63" y="1048"/>
                </a:lnTo>
                <a:lnTo>
                  <a:pt x="65" y="1052"/>
                </a:lnTo>
                <a:lnTo>
                  <a:pt x="67" y="1057"/>
                </a:lnTo>
                <a:lnTo>
                  <a:pt x="71" y="1061"/>
                </a:lnTo>
                <a:lnTo>
                  <a:pt x="73" y="1065"/>
                </a:lnTo>
                <a:lnTo>
                  <a:pt x="74" y="1071"/>
                </a:lnTo>
                <a:lnTo>
                  <a:pt x="76" y="1074"/>
                </a:lnTo>
                <a:lnTo>
                  <a:pt x="78" y="1080"/>
                </a:lnTo>
                <a:lnTo>
                  <a:pt x="80" y="1086"/>
                </a:lnTo>
                <a:lnTo>
                  <a:pt x="82" y="1092"/>
                </a:lnTo>
                <a:lnTo>
                  <a:pt x="84" y="1097"/>
                </a:lnTo>
                <a:lnTo>
                  <a:pt x="86" y="1103"/>
                </a:lnTo>
                <a:lnTo>
                  <a:pt x="86" y="1109"/>
                </a:lnTo>
                <a:lnTo>
                  <a:pt x="88" y="1114"/>
                </a:lnTo>
                <a:lnTo>
                  <a:pt x="88" y="1120"/>
                </a:lnTo>
                <a:lnTo>
                  <a:pt x="88" y="1126"/>
                </a:lnTo>
                <a:lnTo>
                  <a:pt x="88" y="1126"/>
                </a:lnTo>
                <a:lnTo>
                  <a:pt x="88" y="1130"/>
                </a:lnTo>
                <a:lnTo>
                  <a:pt x="88" y="1134"/>
                </a:lnTo>
                <a:lnTo>
                  <a:pt x="88" y="1137"/>
                </a:lnTo>
                <a:lnTo>
                  <a:pt x="88" y="1141"/>
                </a:lnTo>
                <a:lnTo>
                  <a:pt x="88" y="1145"/>
                </a:lnTo>
                <a:lnTo>
                  <a:pt x="88" y="1151"/>
                </a:lnTo>
                <a:lnTo>
                  <a:pt x="88" y="1155"/>
                </a:lnTo>
                <a:lnTo>
                  <a:pt x="88" y="1158"/>
                </a:lnTo>
                <a:lnTo>
                  <a:pt x="88" y="1164"/>
                </a:lnTo>
                <a:lnTo>
                  <a:pt x="86" y="1168"/>
                </a:lnTo>
                <a:lnTo>
                  <a:pt x="86" y="1172"/>
                </a:lnTo>
                <a:lnTo>
                  <a:pt x="86" y="1177"/>
                </a:lnTo>
                <a:lnTo>
                  <a:pt x="84" y="1181"/>
                </a:lnTo>
                <a:lnTo>
                  <a:pt x="84" y="1185"/>
                </a:lnTo>
                <a:lnTo>
                  <a:pt x="82" y="1189"/>
                </a:lnTo>
                <a:lnTo>
                  <a:pt x="80" y="1193"/>
                </a:lnTo>
                <a:lnTo>
                  <a:pt x="80" y="1233"/>
                </a:lnTo>
                <a:lnTo>
                  <a:pt x="74" y="1240"/>
                </a:lnTo>
                <a:lnTo>
                  <a:pt x="74" y="1240"/>
                </a:lnTo>
                <a:lnTo>
                  <a:pt x="76" y="1244"/>
                </a:lnTo>
                <a:lnTo>
                  <a:pt x="76" y="1246"/>
                </a:lnTo>
                <a:lnTo>
                  <a:pt x="78" y="1250"/>
                </a:lnTo>
                <a:lnTo>
                  <a:pt x="80" y="1252"/>
                </a:lnTo>
                <a:lnTo>
                  <a:pt x="82" y="1256"/>
                </a:lnTo>
                <a:lnTo>
                  <a:pt x="82" y="1258"/>
                </a:lnTo>
                <a:lnTo>
                  <a:pt x="84" y="1261"/>
                </a:lnTo>
                <a:lnTo>
                  <a:pt x="84" y="1263"/>
                </a:lnTo>
                <a:lnTo>
                  <a:pt x="84" y="1263"/>
                </a:lnTo>
                <a:lnTo>
                  <a:pt x="84" y="1265"/>
                </a:lnTo>
                <a:lnTo>
                  <a:pt x="84" y="1267"/>
                </a:lnTo>
                <a:lnTo>
                  <a:pt x="84" y="1269"/>
                </a:lnTo>
                <a:lnTo>
                  <a:pt x="84" y="1273"/>
                </a:lnTo>
                <a:lnTo>
                  <a:pt x="84" y="1275"/>
                </a:lnTo>
                <a:lnTo>
                  <a:pt x="84" y="1279"/>
                </a:lnTo>
                <a:lnTo>
                  <a:pt x="84" y="1280"/>
                </a:lnTo>
                <a:lnTo>
                  <a:pt x="84" y="1284"/>
                </a:lnTo>
                <a:lnTo>
                  <a:pt x="84" y="1284"/>
                </a:lnTo>
                <a:lnTo>
                  <a:pt x="84" y="1294"/>
                </a:lnTo>
                <a:lnTo>
                  <a:pt x="86" y="1301"/>
                </a:lnTo>
                <a:lnTo>
                  <a:pt x="88" y="1309"/>
                </a:lnTo>
                <a:lnTo>
                  <a:pt x="90" y="1315"/>
                </a:lnTo>
                <a:lnTo>
                  <a:pt x="95" y="1321"/>
                </a:lnTo>
                <a:lnTo>
                  <a:pt x="101" y="1324"/>
                </a:lnTo>
                <a:lnTo>
                  <a:pt x="109" y="1326"/>
                </a:lnTo>
                <a:lnTo>
                  <a:pt x="118" y="1326"/>
                </a:lnTo>
                <a:lnTo>
                  <a:pt x="118" y="1326"/>
                </a:lnTo>
                <a:lnTo>
                  <a:pt x="130" y="1326"/>
                </a:lnTo>
                <a:lnTo>
                  <a:pt x="139" y="1322"/>
                </a:lnTo>
                <a:lnTo>
                  <a:pt x="145" y="1315"/>
                </a:lnTo>
                <a:lnTo>
                  <a:pt x="149" y="1307"/>
                </a:lnTo>
                <a:lnTo>
                  <a:pt x="151" y="1300"/>
                </a:lnTo>
                <a:lnTo>
                  <a:pt x="151" y="1290"/>
                </a:lnTo>
                <a:lnTo>
                  <a:pt x="155" y="1282"/>
                </a:lnTo>
                <a:lnTo>
                  <a:pt x="156" y="1273"/>
                </a:lnTo>
                <a:lnTo>
                  <a:pt x="156" y="1273"/>
                </a:lnTo>
                <a:lnTo>
                  <a:pt x="153" y="1273"/>
                </a:lnTo>
                <a:lnTo>
                  <a:pt x="151" y="1273"/>
                </a:lnTo>
                <a:lnTo>
                  <a:pt x="149" y="1271"/>
                </a:lnTo>
                <a:lnTo>
                  <a:pt x="145" y="1269"/>
                </a:lnTo>
                <a:lnTo>
                  <a:pt x="143" y="1267"/>
                </a:lnTo>
                <a:lnTo>
                  <a:pt x="141" y="1265"/>
                </a:lnTo>
                <a:lnTo>
                  <a:pt x="139" y="1261"/>
                </a:lnTo>
                <a:lnTo>
                  <a:pt x="139" y="1258"/>
                </a:lnTo>
                <a:lnTo>
                  <a:pt x="139" y="1258"/>
                </a:lnTo>
                <a:lnTo>
                  <a:pt x="141" y="1250"/>
                </a:lnTo>
                <a:lnTo>
                  <a:pt x="143" y="1242"/>
                </a:lnTo>
                <a:lnTo>
                  <a:pt x="147" y="1237"/>
                </a:lnTo>
                <a:lnTo>
                  <a:pt x="153" y="1233"/>
                </a:lnTo>
                <a:lnTo>
                  <a:pt x="158" y="1227"/>
                </a:lnTo>
                <a:lnTo>
                  <a:pt x="164" y="1223"/>
                </a:lnTo>
                <a:lnTo>
                  <a:pt x="170" y="1217"/>
                </a:lnTo>
                <a:lnTo>
                  <a:pt x="176" y="1214"/>
                </a:lnTo>
                <a:lnTo>
                  <a:pt x="176" y="1214"/>
                </a:lnTo>
                <a:lnTo>
                  <a:pt x="181" y="1210"/>
                </a:lnTo>
                <a:lnTo>
                  <a:pt x="185" y="1206"/>
                </a:lnTo>
                <a:lnTo>
                  <a:pt x="191" y="1202"/>
                </a:lnTo>
                <a:lnTo>
                  <a:pt x="195" y="1198"/>
                </a:lnTo>
                <a:lnTo>
                  <a:pt x="200" y="1197"/>
                </a:lnTo>
                <a:lnTo>
                  <a:pt x="204" y="1193"/>
                </a:lnTo>
                <a:lnTo>
                  <a:pt x="210" y="1191"/>
                </a:lnTo>
                <a:lnTo>
                  <a:pt x="216" y="1189"/>
                </a:lnTo>
                <a:lnTo>
                  <a:pt x="221" y="1187"/>
                </a:lnTo>
                <a:lnTo>
                  <a:pt x="227" y="1185"/>
                </a:lnTo>
                <a:lnTo>
                  <a:pt x="233" y="1183"/>
                </a:lnTo>
                <a:lnTo>
                  <a:pt x="238" y="1181"/>
                </a:lnTo>
                <a:lnTo>
                  <a:pt x="244" y="1179"/>
                </a:lnTo>
                <a:lnTo>
                  <a:pt x="250" y="1177"/>
                </a:lnTo>
                <a:lnTo>
                  <a:pt x="258" y="1176"/>
                </a:lnTo>
                <a:lnTo>
                  <a:pt x="263" y="1174"/>
                </a:lnTo>
                <a:lnTo>
                  <a:pt x="263" y="1174"/>
                </a:lnTo>
                <a:lnTo>
                  <a:pt x="271" y="1172"/>
                </a:lnTo>
                <a:lnTo>
                  <a:pt x="279" y="1170"/>
                </a:lnTo>
                <a:lnTo>
                  <a:pt x="284" y="1168"/>
                </a:lnTo>
                <a:lnTo>
                  <a:pt x="292" y="1164"/>
                </a:lnTo>
                <a:lnTo>
                  <a:pt x="298" y="1162"/>
                </a:lnTo>
                <a:lnTo>
                  <a:pt x="305" y="1160"/>
                </a:lnTo>
                <a:lnTo>
                  <a:pt x="311" y="1156"/>
                </a:lnTo>
                <a:lnTo>
                  <a:pt x="317" y="1153"/>
                </a:lnTo>
                <a:lnTo>
                  <a:pt x="322" y="1149"/>
                </a:lnTo>
                <a:lnTo>
                  <a:pt x="328" y="1147"/>
                </a:lnTo>
                <a:lnTo>
                  <a:pt x="334" y="1141"/>
                </a:lnTo>
                <a:lnTo>
                  <a:pt x="338" y="1139"/>
                </a:lnTo>
                <a:lnTo>
                  <a:pt x="343" y="1134"/>
                </a:lnTo>
                <a:lnTo>
                  <a:pt x="347" y="1130"/>
                </a:lnTo>
                <a:lnTo>
                  <a:pt x="351" y="1126"/>
                </a:lnTo>
                <a:lnTo>
                  <a:pt x="355" y="1122"/>
                </a:lnTo>
                <a:lnTo>
                  <a:pt x="355" y="1122"/>
                </a:lnTo>
                <a:lnTo>
                  <a:pt x="359" y="1116"/>
                </a:lnTo>
                <a:lnTo>
                  <a:pt x="361" y="1113"/>
                </a:lnTo>
                <a:lnTo>
                  <a:pt x="362" y="1111"/>
                </a:lnTo>
                <a:lnTo>
                  <a:pt x="364" y="1107"/>
                </a:lnTo>
                <a:lnTo>
                  <a:pt x="364" y="1101"/>
                </a:lnTo>
                <a:lnTo>
                  <a:pt x="364" y="1097"/>
                </a:lnTo>
                <a:lnTo>
                  <a:pt x="364" y="1092"/>
                </a:lnTo>
                <a:lnTo>
                  <a:pt x="362" y="1084"/>
                </a:lnTo>
                <a:lnTo>
                  <a:pt x="362" y="1084"/>
                </a:lnTo>
                <a:lnTo>
                  <a:pt x="361" y="1073"/>
                </a:lnTo>
                <a:lnTo>
                  <a:pt x="361" y="1061"/>
                </a:lnTo>
                <a:lnTo>
                  <a:pt x="362" y="1053"/>
                </a:lnTo>
                <a:lnTo>
                  <a:pt x="362" y="1048"/>
                </a:lnTo>
                <a:lnTo>
                  <a:pt x="366" y="1042"/>
                </a:lnTo>
                <a:lnTo>
                  <a:pt x="368" y="1034"/>
                </a:lnTo>
                <a:lnTo>
                  <a:pt x="370" y="1029"/>
                </a:lnTo>
                <a:lnTo>
                  <a:pt x="370" y="1021"/>
                </a:lnTo>
                <a:lnTo>
                  <a:pt x="370" y="1021"/>
                </a:lnTo>
                <a:lnTo>
                  <a:pt x="370" y="1019"/>
                </a:lnTo>
                <a:lnTo>
                  <a:pt x="370" y="1017"/>
                </a:lnTo>
                <a:lnTo>
                  <a:pt x="370" y="1017"/>
                </a:lnTo>
                <a:lnTo>
                  <a:pt x="370" y="1013"/>
                </a:lnTo>
                <a:lnTo>
                  <a:pt x="370" y="1011"/>
                </a:lnTo>
                <a:lnTo>
                  <a:pt x="370" y="1010"/>
                </a:lnTo>
                <a:lnTo>
                  <a:pt x="370" y="1008"/>
                </a:lnTo>
                <a:lnTo>
                  <a:pt x="370" y="1004"/>
                </a:lnTo>
                <a:lnTo>
                  <a:pt x="370" y="1004"/>
                </a:lnTo>
                <a:lnTo>
                  <a:pt x="370" y="1000"/>
                </a:lnTo>
                <a:lnTo>
                  <a:pt x="370" y="996"/>
                </a:lnTo>
                <a:lnTo>
                  <a:pt x="372" y="992"/>
                </a:lnTo>
                <a:lnTo>
                  <a:pt x="372" y="989"/>
                </a:lnTo>
                <a:lnTo>
                  <a:pt x="372" y="987"/>
                </a:lnTo>
                <a:lnTo>
                  <a:pt x="374" y="981"/>
                </a:lnTo>
                <a:lnTo>
                  <a:pt x="376" y="977"/>
                </a:lnTo>
                <a:lnTo>
                  <a:pt x="378" y="973"/>
                </a:lnTo>
                <a:lnTo>
                  <a:pt x="378" y="960"/>
                </a:lnTo>
                <a:lnTo>
                  <a:pt x="378" y="960"/>
                </a:lnTo>
                <a:lnTo>
                  <a:pt x="374" y="960"/>
                </a:lnTo>
                <a:lnTo>
                  <a:pt x="372" y="960"/>
                </a:lnTo>
                <a:lnTo>
                  <a:pt x="368" y="960"/>
                </a:lnTo>
                <a:lnTo>
                  <a:pt x="366" y="960"/>
                </a:lnTo>
                <a:lnTo>
                  <a:pt x="366" y="920"/>
                </a:lnTo>
                <a:lnTo>
                  <a:pt x="366" y="920"/>
                </a:lnTo>
                <a:lnTo>
                  <a:pt x="362" y="916"/>
                </a:lnTo>
                <a:lnTo>
                  <a:pt x="359" y="910"/>
                </a:lnTo>
                <a:lnTo>
                  <a:pt x="357" y="903"/>
                </a:lnTo>
                <a:lnTo>
                  <a:pt x="357" y="895"/>
                </a:lnTo>
                <a:lnTo>
                  <a:pt x="357" y="889"/>
                </a:lnTo>
                <a:lnTo>
                  <a:pt x="357" y="880"/>
                </a:lnTo>
                <a:lnTo>
                  <a:pt x="357" y="872"/>
                </a:lnTo>
                <a:lnTo>
                  <a:pt x="357" y="865"/>
                </a:lnTo>
                <a:lnTo>
                  <a:pt x="357" y="865"/>
                </a:lnTo>
                <a:lnTo>
                  <a:pt x="355" y="857"/>
                </a:lnTo>
                <a:lnTo>
                  <a:pt x="353" y="851"/>
                </a:lnTo>
                <a:lnTo>
                  <a:pt x="347" y="845"/>
                </a:lnTo>
                <a:lnTo>
                  <a:pt x="343" y="840"/>
                </a:lnTo>
                <a:lnTo>
                  <a:pt x="340" y="836"/>
                </a:lnTo>
                <a:lnTo>
                  <a:pt x="334" y="830"/>
                </a:lnTo>
                <a:lnTo>
                  <a:pt x="332" y="824"/>
                </a:lnTo>
                <a:lnTo>
                  <a:pt x="332" y="819"/>
                </a:lnTo>
                <a:lnTo>
                  <a:pt x="332" y="819"/>
                </a:lnTo>
                <a:lnTo>
                  <a:pt x="332" y="817"/>
                </a:lnTo>
                <a:lnTo>
                  <a:pt x="332" y="815"/>
                </a:lnTo>
                <a:lnTo>
                  <a:pt x="332" y="811"/>
                </a:lnTo>
                <a:lnTo>
                  <a:pt x="332" y="809"/>
                </a:lnTo>
                <a:lnTo>
                  <a:pt x="336" y="783"/>
                </a:lnTo>
                <a:lnTo>
                  <a:pt x="336" y="783"/>
                </a:lnTo>
                <a:lnTo>
                  <a:pt x="338" y="779"/>
                </a:lnTo>
                <a:lnTo>
                  <a:pt x="341" y="775"/>
                </a:lnTo>
                <a:lnTo>
                  <a:pt x="345" y="773"/>
                </a:lnTo>
                <a:lnTo>
                  <a:pt x="349" y="769"/>
                </a:lnTo>
                <a:lnTo>
                  <a:pt x="355" y="767"/>
                </a:lnTo>
                <a:lnTo>
                  <a:pt x="361" y="763"/>
                </a:lnTo>
                <a:lnTo>
                  <a:pt x="366" y="760"/>
                </a:lnTo>
                <a:lnTo>
                  <a:pt x="372" y="756"/>
                </a:lnTo>
                <a:lnTo>
                  <a:pt x="372" y="756"/>
                </a:lnTo>
                <a:lnTo>
                  <a:pt x="378" y="750"/>
                </a:lnTo>
                <a:lnTo>
                  <a:pt x="385" y="742"/>
                </a:lnTo>
                <a:lnTo>
                  <a:pt x="393" y="737"/>
                </a:lnTo>
                <a:lnTo>
                  <a:pt x="403" y="731"/>
                </a:lnTo>
                <a:lnTo>
                  <a:pt x="412" y="723"/>
                </a:lnTo>
                <a:lnTo>
                  <a:pt x="422" y="718"/>
                </a:lnTo>
                <a:lnTo>
                  <a:pt x="429" y="712"/>
                </a:lnTo>
                <a:lnTo>
                  <a:pt x="437" y="708"/>
                </a:lnTo>
                <a:lnTo>
                  <a:pt x="437" y="708"/>
                </a:lnTo>
                <a:lnTo>
                  <a:pt x="444" y="702"/>
                </a:lnTo>
                <a:lnTo>
                  <a:pt x="452" y="697"/>
                </a:lnTo>
                <a:lnTo>
                  <a:pt x="460" y="691"/>
                </a:lnTo>
                <a:lnTo>
                  <a:pt x="467" y="685"/>
                </a:lnTo>
                <a:lnTo>
                  <a:pt x="475" y="680"/>
                </a:lnTo>
                <a:lnTo>
                  <a:pt x="481" y="674"/>
                </a:lnTo>
                <a:lnTo>
                  <a:pt x="488" y="668"/>
                </a:lnTo>
                <a:lnTo>
                  <a:pt x="496" y="662"/>
                </a:lnTo>
                <a:lnTo>
                  <a:pt x="502" y="657"/>
                </a:lnTo>
                <a:lnTo>
                  <a:pt x="509" y="649"/>
                </a:lnTo>
                <a:lnTo>
                  <a:pt x="515" y="643"/>
                </a:lnTo>
                <a:lnTo>
                  <a:pt x="523" y="636"/>
                </a:lnTo>
                <a:lnTo>
                  <a:pt x="530" y="630"/>
                </a:lnTo>
                <a:lnTo>
                  <a:pt x="536" y="622"/>
                </a:lnTo>
                <a:lnTo>
                  <a:pt x="544" y="615"/>
                </a:lnTo>
                <a:lnTo>
                  <a:pt x="551" y="607"/>
                </a:lnTo>
                <a:lnTo>
                  <a:pt x="551" y="607"/>
                </a:lnTo>
                <a:lnTo>
                  <a:pt x="559" y="601"/>
                </a:lnTo>
                <a:lnTo>
                  <a:pt x="565" y="596"/>
                </a:lnTo>
                <a:lnTo>
                  <a:pt x="574" y="590"/>
                </a:lnTo>
                <a:lnTo>
                  <a:pt x="582" y="586"/>
                </a:lnTo>
                <a:lnTo>
                  <a:pt x="589" y="580"/>
                </a:lnTo>
                <a:lnTo>
                  <a:pt x="599" y="576"/>
                </a:lnTo>
                <a:lnTo>
                  <a:pt x="609" y="573"/>
                </a:lnTo>
                <a:lnTo>
                  <a:pt x="618" y="569"/>
                </a:lnTo>
                <a:lnTo>
                  <a:pt x="628" y="565"/>
                </a:lnTo>
                <a:lnTo>
                  <a:pt x="637" y="561"/>
                </a:lnTo>
                <a:lnTo>
                  <a:pt x="647" y="557"/>
                </a:lnTo>
                <a:lnTo>
                  <a:pt x="656" y="554"/>
                </a:lnTo>
                <a:lnTo>
                  <a:pt x="666" y="550"/>
                </a:lnTo>
                <a:lnTo>
                  <a:pt x="675" y="546"/>
                </a:lnTo>
                <a:lnTo>
                  <a:pt x="683" y="542"/>
                </a:lnTo>
                <a:lnTo>
                  <a:pt x="692" y="538"/>
                </a:lnTo>
                <a:lnTo>
                  <a:pt x="692" y="538"/>
                </a:lnTo>
                <a:lnTo>
                  <a:pt x="696" y="535"/>
                </a:lnTo>
                <a:lnTo>
                  <a:pt x="704" y="531"/>
                </a:lnTo>
                <a:lnTo>
                  <a:pt x="713" y="527"/>
                </a:lnTo>
                <a:lnTo>
                  <a:pt x="723" y="521"/>
                </a:lnTo>
                <a:lnTo>
                  <a:pt x="733" y="515"/>
                </a:lnTo>
                <a:lnTo>
                  <a:pt x="740" y="510"/>
                </a:lnTo>
                <a:lnTo>
                  <a:pt x="746" y="504"/>
                </a:lnTo>
                <a:lnTo>
                  <a:pt x="750" y="500"/>
                </a:lnTo>
                <a:lnTo>
                  <a:pt x="750" y="500"/>
                </a:lnTo>
                <a:lnTo>
                  <a:pt x="754" y="493"/>
                </a:lnTo>
                <a:lnTo>
                  <a:pt x="757" y="485"/>
                </a:lnTo>
                <a:lnTo>
                  <a:pt x="763" y="479"/>
                </a:lnTo>
                <a:lnTo>
                  <a:pt x="767" y="472"/>
                </a:lnTo>
                <a:lnTo>
                  <a:pt x="773" y="466"/>
                </a:lnTo>
                <a:lnTo>
                  <a:pt x="778" y="460"/>
                </a:lnTo>
                <a:lnTo>
                  <a:pt x="784" y="456"/>
                </a:lnTo>
                <a:lnTo>
                  <a:pt x="792" y="451"/>
                </a:lnTo>
                <a:lnTo>
                  <a:pt x="792" y="451"/>
                </a:lnTo>
                <a:lnTo>
                  <a:pt x="795" y="447"/>
                </a:lnTo>
                <a:lnTo>
                  <a:pt x="799" y="441"/>
                </a:lnTo>
                <a:lnTo>
                  <a:pt x="803" y="435"/>
                </a:lnTo>
                <a:lnTo>
                  <a:pt x="807" y="432"/>
                </a:lnTo>
                <a:lnTo>
                  <a:pt x="811" y="426"/>
                </a:lnTo>
                <a:lnTo>
                  <a:pt x="813" y="420"/>
                </a:lnTo>
                <a:lnTo>
                  <a:pt x="816" y="414"/>
                </a:lnTo>
                <a:lnTo>
                  <a:pt x="820" y="409"/>
                </a:lnTo>
                <a:lnTo>
                  <a:pt x="824" y="403"/>
                </a:lnTo>
                <a:lnTo>
                  <a:pt x="826" y="397"/>
                </a:lnTo>
                <a:lnTo>
                  <a:pt x="830" y="391"/>
                </a:lnTo>
                <a:lnTo>
                  <a:pt x="832" y="386"/>
                </a:lnTo>
                <a:lnTo>
                  <a:pt x="834" y="378"/>
                </a:lnTo>
                <a:lnTo>
                  <a:pt x="836" y="372"/>
                </a:lnTo>
                <a:lnTo>
                  <a:pt x="836" y="365"/>
                </a:lnTo>
                <a:lnTo>
                  <a:pt x="837" y="357"/>
                </a:lnTo>
                <a:lnTo>
                  <a:pt x="837" y="357"/>
                </a:lnTo>
                <a:lnTo>
                  <a:pt x="837" y="353"/>
                </a:lnTo>
                <a:lnTo>
                  <a:pt x="836" y="349"/>
                </a:lnTo>
                <a:lnTo>
                  <a:pt x="836" y="346"/>
                </a:lnTo>
                <a:lnTo>
                  <a:pt x="834" y="342"/>
                </a:lnTo>
                <a:lnTo>
                  <a:pt x="834" y="338"/>
                </a:lnTo>
                <a:lnTo>
                  <a:pt x="832" y="334"/>
                </a:lnTo>
                <a:lnTo>
                  <a:pt x="830" y="328"/>
                </a:lnTo>
                <a:lnTo>
                  <a:pt x="830" y="325"/>
                </a:lnTo>
                <a:lnTo>
                  <a:pt x="828" y="321"/>
                </a:lnTo>
                <a:lnTo>
                  <a:pt x="826" y="317"/>
                </a:lnTo>
                <a:lnTo>
                  <a:pt x="826" y="311"/>
                </a:lnTo>
                <a:lnTo>
                  <a:pt x="824" y="308"/>
                </a:lnTo>
                <a:lnTo>
                  <a:pt x="822" y="304"/>
                </a:lnTo>
                <a:lnTo>
                  <a:pt x="822" y="298"/>
                </a:lnTo>
                <a:lnTo>
                  <a:pt x="822" y="292"/>
                </a:lnTo>
                <a:lnTo>
                  <a:pt x="822" y="287"/>
                </a:lnTo>
                <a:lnTo>
                  <a:pt x="822" y="287"/>
                </a:lnTo>
                <a:lnTo>
                  <a:pt x="822" y="283"/>
                </a:lnTo>
                <a:lnTo>
                  <a:pt x="822" y="279"/>
                </a:lnTo>
                <a:lnTo>
                  <a:pt x="822" y="275"/>
                </a:lnTo>
                <a:lnTo>
                  <a:pt x="822" y="269"/>
                </a:lnTo>
                <a:lnTo>
                  <a:pt x="822" y="267"/>
                </a:lnTo>
                <a:lnTo>
                  <a:pt x="822" y="264"/>
                </a:lnTo>
                <a:lnTo>
                  <a:pt x="824" y="260"/>
                </a:lnTo>
                <a:lnTo>
                  <a:pt x="824" y="256"/>
                </a:lnTo>
                <a:lnTo>
                  <a:pt x="824" y="252"/>
                </a:lnTo>
                <a:lnTo>
                  <a:pt x="826" y="248"/>
                </a:lnTo>
                <a:lnTo>
                  <a:pt x="826" y="245"/>
                </a:lnTo>
                <a:lnTo>
                  <a:pt x="826" y="239"/>
                </a:lnTo>
                <a:lnTo>
                  <a:pt x="826" y="235"/>
                </a:lnTo>
                <a:lnTo>
                  <a:pt x="826" y="231"/>
                </a:lnTo>
                <a:lnTo>
                  <a:pt x="828" y="225"/>
                </a:lnTo>
                <a:lnTo>
                  <a:pt x="828" y="222"/>
                </a:lnTo>
                <a:lnTo>
                  <a:pt x="828" y="222"/>
                </a:lnTo>
                <a:lnTo>
                  <a:pt x="828" y="214"/>
                </a:lnTo>
                <a:lnTo>
                  <a:pt x="826" y="210"/>
                </a:lnTo>
                <a:lnTo>
                  <a:pt x="826" y="204"/>
                </a:lnTo>
                <a:lnTo>
                  <a:pt x="826" y="199"/>
                </a:lnTo>
                <a:lnTo>
                  <a:pt x="824" y="193"/>
                </a:lnTo>
                <a:lnTo>
                  <a:pt x="824" y="189"/>
                </a:lnTo>
                <a:lnTo>
                  <a:pt x="822" y="183"/>
                </a:lnTo>
                <a:lnTo>
                  <a:pt x="822" y="180"/>
                </a:lnTo>
                <a:lnTo>
                  <a:pt x="820" y="174"/>
                </a:lnTo>
                <a:lnTo>
                  <a:pt x="820" y="170"/>
                </a:lnTo>
                <a:lnTo>
                  <a:pt x="818" y="164"/>
                </a:lnTo>
                <a:lnTo>
                  <a:pt x="818" y="159"/>
                </a:lnTo>
                <a:lnTo>
                  <a:pt x="816" y="153"/>
                </a:lnTo>
                <a:lnTo>
                  <a:pt x="816" y="147"/>
                </a:lnTo>
                <a:lnTo>
                  <a:pt x="816" y="142"/>
                </a:lnTo>
                <a:lnTo>
                  <a:pt x="816" y="134"/>
                </a:lnTo>
                <a:lnTo>
                  <a:pt x="816" y="134"/>
                </a:lnTo>
                <a:lnTo>
                  <a:pt x="816" y="130"/>
                </a:lnTo>
                <a:lnTo>
                  <a:pt x="816" y="124"/>
                </a:lnTo>
                <a:lnTo>
                  <a:pt x="816" y="121"/>
                </a:lnTo>
                <a:lnTo>
                  <a:pt x="818" y="115"/>
                </a:lnTo>
                <a:lnTo>
                  <a:pt x="818" y="109"/>
                </a:lnTo>
                <a:lnTo>
                  <a:pt x="818" y="105"/>
                </a:lnTo>
                <a:lnTo>
                  <a:pt x="820" y="100"/>
                </a:lnTo>
                <a:lnTo>
                  <a:pt x="820" y="96"/>
                </a:lnTo>
                <a:lnTo>
                  <a:pt x="822" y="92"/>
                </a:lnTo>
                <a:lnTo>
                  <a:pt x="822" y="86"/>
                </a:lnTo>
                <a:lnTo>
                  <a:pt x="822" y="82"/>
                </a:lnTo>
                <a:lnTo>
                  <a:pt x="824" y="79"/>
                </a:lnTo>
                <a:lnTo>
                  <a:pt x="824" y="75"/>
                </a:lnTo>
                <a:lnTo>
                  <a:pt x="824" y="71"/>
                </a:lnTo>
                <a:lnTo>
                  <a:pt x="824" y="67"/>
                </a:lnTo>
                <a:lnTo>
                  <a:pt x="824" y="63"/>
                </a:lnTo>
                <a:lnTo>
                  <a:pt x="824" y="29"/>
                </a:lnTo>
                <a:lnTo>
                  <a:pt x="824" y="29"/>
                </a:lnTo>
                <a:lnTo>
                  <a:pt x="822" y="27"/>
                </a:lnTo>
                <a:lnTo>
                  <a:pt x="820" y="23"/>
                </a:lnTo>
                <a:lnTo>
                  <a:pt x="818" y="19"/>
                </a:lnTo>
                <a:lnTo>
                  <a:pt x="816" y="16"/>
                </a:lnTo>
                <a:lnTo>
                  <a:pt x="815" y="12"/>
                </a:lnTo>
                <a:lnTo>
                  <a:pt x="813" y="6"/>
                </a:lnTo>
                <a:lnTo>
                  <a:pt x="811" y="2"/>
                </a:lnTo>
                <a:lnTo>
                  <a:pt x="807" y="0"/>
                </a:lnTo>
                <a:lnTo>
                  <a:pt x="807" y="0"/>
                </a:lnTo>
                <a:lnTo>
                  <a:pt x="803" y="6"/>
                </a:lnTo>
                <a:lnTo>
                  <a:pt x="797" y="14"/>
                </a:lnTo>
                <a:lnTo>
                  <a:pt x="792" y="19"/>
                </a:lnTo>
                <a:lnTo>
                  <a:pt x="784" y="27"/>
                </a:lnTo>
                <a:lnTo>
                  <a:pt x="774" y="33"/>
                </a:lnTo>
                <a:lnTo>
                  <a:pt x="765" y="39"/>
                </a:lnTo>
                <a:lnTo>
                  <a:pt x="755" y="44"/>
                </a:lnTo>
                <a:lnTo>
                  <a:pt x="746" y="50"/>
                </a:lnTo>
                <a:lnTo>
                  <a:pt x="734" y="56"/>
                </a:lnTo>
                <a:lnTo>
                  <a:pt x="723" y="59"/>
                </a:lnTo>
                <a:lnTo>
                  <a:pt x="713" y="63"/>
                </a:lnTo>
                <a:lnTo>
                  <a:pt x="702" y="67"/>
                </a:lnTo>
                <a:lnTo>
                  <a:pt x="691" y="69"/>
                </a:lnTo>
                <a:lnTo>
                  <a:pt x="681" y="71"/>
                </a:lnTo>
                <a:lnTo>
                  <a:pt x="671" y="73"/>
                </a:lnTo>
                <a:lnTo>
                  <a:pt x="662" y="73"/>
                </a:lnTo>
                <a:lnTo>
                  <a:pt x="662" y="73"/>
                </a:lnTo>
                <a:lnTo>
                  <a:pt x="658" y="73"/>
                </a:lnTo>
                <a:lnTo>
                  <a:pt x="656" y="73"/>
                </a:lnTo>
                <a:lnTo>
                  <a:pt x="652" y="73"/>
                </a:lnTo>
                <a:lnTo>
                  <a:pt x="649" y="73"/>
                </a:lnTo>
                <a:lnTo>
                  <a:pt x="647" y="73"/>
                </a:lnTo>
                <a:lnTo>
                  <a:pt x="643" y="73"/>
                </a:lnTo>
                <a:lnTo>
                  <a:pt x="639" y="73"/>
                </a:lnTo>
                <a:lnTo>
                  <a:pt x="633" y="73"/>
                </a:lnTo>
                <a:lnTo>
                  <a:pt x="633" y="73"/>
                </a:lnTo>
                <a:lnTo>
                  <a:pt x="628" y="73"/>
                </a:lnTo>
                <a:lnTo>
                  <a:pt x="622" y="75"/>
                </a:lnTo>
                <a:lnTo>
                  <a:pt x="616" y="77"/>
                </a:lnTo>
                <a:lnTo>
                  <a:pt x="610" y="79"/>
                </a:lnTo>
                <a:lnTo>
                  <a:pt x="607" y="80"/>
                </a:lnTo>
                <a:lnTo>
                  <a:pt x="601" y="82"/>
                </a:lnTo>
                <a:lnTo>
                  <a:pt x="597" y="86"/>
                </a:lnTo>
                <a:lnTo>
                  <a:pt x="591" y="90"/>
                </a:lnTo>
                <a:lnTo>
                  <a:pt x="586" y="92"/>
                </a:lnTo>
                <a:lnTo>
                  <a:pt x="582" y="96"/>
                </a:lnTo>
                <a:lnTo>
                  <a:pt x="576" y="98"/>
                </a:lnTo>
                <a:lnTo>
                  <a:pt x="570" y="100"/>
                </a:lnTo>
                <a:lnTo>
                  <a:pt x="565" y="101"/>
                </a:lnTo>
                <a:lnTo>
                  <a:pt x="557" y="103"/>
                </a:lnTo>
                <a:lnTo>
                  <a:pt x="551" y="105"/>
                </a:lnTo>
                <a:lnTo>
                  <a:pt x="544" y="105"/>
                </a:lnTo>
                <a:lnTo>
                  <a:pt x="544" y="105"/>
                </a:lnTo>
                <a:lnTo>
                  <a:pt x="536" y="105"/>
                </a:lnTo>
                <a:lnTo>
                  <a:pt x="528" y="105"/>
                </a:lnTo>
                <a:lnTo>
                  <a:pt x="521" y="103"/>
                </a:lnTo>
                <a:lnTo>
                  <a:pt x="513" y="103"/>
                </a:lnTo>
                <a:lnTo>
                  <a:pt x="506" y="101"/>
                </a:lnTo>
                <a:lnTo>
                  <a:pt x="500" y="101"/>
                </a:lnTo>
                <a:lnTo>
                  <a:pt x="492" y="100"/>
                </a:lnTo>
                <a:lnTo>
                  <a:pt x="485" y="98"/>
                </a:lnTo>
                <a:lnTo>
                  <a:pt x="485" y="98"/>
                </a:lnTo>
                <a:lnTo>
                  <a:pt x="481" y="96"/>
                </a:lnTo>
                <a:lnTo>
                  <a:pt x="479" y="94"/>
                </a:lnTo>
                <a:lnTo>
                  <a:pt x="475" y="92"/>
                </a:lnTo>
                <a:lnTo>
                  <a:pt x="471" y="88"/>
                </a:lnTo>
                <a:lnTo>
                  <a:pt x="467" y="86"/>
                </a:lnTo>
                <a:lnTo>
                  <a:pt x="462" y="84"/>
                </a:lnTo>
                <a:lnTo>
                  <a:pt x="458" y="82"/>
                </a:lnTo>
                <a:lnTo>
                  <a:pt x="452" y="82"/>
                </a:lnTo>
                <a:lnTo>
                  <a:pt x="452" y="82"/>
                </a:lnTo>
                <a:lnTo>
                  <a:pt x="450" y="82"/>
                </a:lnTo>
                <a:lnTo>
                  <a:pt x="446" y="82"/>
                </a:lnTo>
                <a:lnTo>
                  <a:pt x="443" y="84"/>
                </a:lnTo>
                <a:lnTo>
                  <a:pt x="439" y="84"/>
                </a:lnTo>
                <a:lnTo>
                  <a:pt x="435" y="86"/>
                </a:lnTo>
                <a:lnTo>
                  <a:pt x="429" y="86"/>
                </a:lnTo>
                <a:lnTo>
                  <a:pt x="425" y="88"/>
                </a:lnTo>
                <a:lnTo>
                  <a:pt x="420" y="90"/>
                </a:lnTo>
                <a:lnTo>
                  <a:pt x="416" y="92"/>
                </a:lnTo>
                <a:lnTo>
                  <a:pt x="410" y="94"/>
                </a:lnTo>
                <a:lnTo>
                  <a:pt x="406" y="96"/>
                </a:lnTo>
                <a:lnTo>
                  <a:pt x="401" y="98"/>
                </a:lnTo>
                <a:lnTo>
                  <a:pt x="397" y="100"/>
                </a:lnTo>
                <a:lnTo>
                  <a:pt x="391" y="100"/>
                </a:lnTo>
                <a:lnTo>
                  <a:pt x="387" y="101"/>
                </a:lnTo>
                <a:lnTo>
                  <a:pt x="383" y="103"/>
                </a:lnTo>
                <a:lnTo>
                  <a:pt x="383" y="103"/>
                </a:lnTo>
                <a:lnTo>
                  <a:pt x="383" y="105"/>
                </a:lnTo>
                <a:lnTo>
                  <a:pt x="385" y="107"/>
                </a:lnTo>
                <a:lnTo>
                  <a:pt x="385" y="107"/>
                </a:lnTo>
                <a:lnTo>
                  <a:pt x="387" y="109"/>
                </a:lnTo>
                <a:lnTo>
                  <a:pt x="387" y="111"/>
                </a:lnTo>
                <a:lnTo>
                  <a:pt x="387" y="113"/>
                </a:lnTo>
                <a:lnTo>
                  <a:pt x="387" y="115"/>
                </a:lnTo>
                <a:lnTo>
                  <a:pt x="387" y="117"/>
                </a:lnTo>
                <a:lnTo>
                  <a:pt x="387" y="117"/>
                </a:lnTo>
                <a:lnTo>
                  <a:pt x="387" y="124"/>
                </a:lnTo>
                <a:lnTo>
                  <a:pt x="385" y="130"/>
                </a:lnTo>
                <a:lnTo>
                  <a:pt x="382" y="136"/>
                </a:lnTo>
                <a:lnTo>
                  <a:pt x="380" y="142"/>
                </a:lnTo>
                <a:lnTo>
                  <a:pt x="376" y="145"/>
                </a:lnTo>
                <a:lnTo>
                  <a:pt x="372" y="151"/>
                </a:lnTo>
                <a:lnTo>
                  <a:pt x="370" y="155"/>
                </a:lnTo>
                <a:lnTo>
                  <a:pt x="368" y="159"/>
                </a:lnTo>
                <a:lnTo>
                  <a:pt x="368" y="159"/>
                </a:lnTo>
                <a:lnTo>
                  <a:pt x="366" y="166"/>
                </a:lnTo>
                <a:lnTo>
                  <a:pt x="366" y="170"/>
                </a:lnTo>
                <a:lnTo>
                  <a:pt x="366" y="176"/>
                </a:lnTo>
                <a:lnTo>
                  <a:pt x="368" y="182"/>
                </a:lnTo>
                <a:lnTo>
                  <a:pt x="368" y="187"/>
                </a:lnTo>
                <a:lnTo>
                  <a:pt x="368" y="193"/>
                </a:lnTo>
                <a:lnTo>
                  <a:pt x="370" y="199"/>
                </a:lnTo>
                <a:lnTo>
                  <a:pt x="370" y="204"/>
                </a:lnTo>
                <a:lnTo>
                  <a:pt x="370" y="248"/>
                </a:lnTo>
                <a:lnTo>
                  <a:pt x="370" y="248"/>
                </a:lnTo>
                <a:lnTo>
                  <a:pt x="372" y="258"/>
                </a:lnTo>
                <a:lnTo>
                  <a:pt x="374" y="267"/>
                </a:lnTo>
                <a:lnTo>
                  <a:pt x="378" y="275"/>
                </a:lnTo>
                <a:lnTo>
                  <a:pt x="383" y="281"/>
                </a:lnTo>
                <a:lnTo>
                  <a:pt x="387" y="287"/>
                </a:lnTo>
                <a:lnTo>
                  <a:pt x="391" y="292"/>
                </a:lnTo>
                <a:lnTo>
                  <a:pt x="393" y="298"/>
                </a:lnTo>
                <a:lnTo>
                  <a:pt x="395" y="306"/>
                </a:lnTo>
                <a:lnTo>
                  <a:pt x="393" y="321"/>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 name="Freeform 14"/>
          <p:cNvSpPr>
            <a:spLocks/>
          </p:cNvSpPr>
          <p:nvPr/>
        </p:nvSpPr>
        <p:spPr bwMode="auto">
          <a:xfrm>
            <a:off x="3927475" y="5716489"/>
            <a:ext cx="101600" cy="112713"/>
          </a:xfrm>
          <a:custGeom>
            <a:avLst/>
            <a:gdLst>
              <a:gd name="T0" fmla="*/ 97 w 112"/>
              <a:gd name="T1" fmla="*/ 4 h 130"/>
              <a:gd name="T2" fmla="*/ 91 w 112"/>
              <a:gd name="T3" fmla="*/ 11 h 130"/>
              <a:gd name="T4" fmla="*/ 93 w 112"/>
              <a:gd name="T5" fmla="*/ 17 h 130"/>
              <a:gd name="T6" fmla="*/ 97 w 112"/>
              <a:gd name="T7" fmla="*/ 23 h 130"/>
              <a:gd name="T8" fmla="*/ 99 w 112"/>
              <a:gd name="T9" fmla="*/ 29 h 130"/>
              <a:gd name="T10" fmla="*/ 101 w 112"/>
              <a:gd name="T11" fmla="*/ 34 h 130"/>
              <a:gd name="T12" fmla="*/ 101 w 112"/>
              <a:gd name="T13" fmla="*/ 36 h 130"/>
              <a:gd name="T14" fmla="*/ 101 w 112"/>
              <a:gd name="T15" fmla="*/ 40 h 130"/>
              <a:gd name="T16" fmla="*/ 101 w 112"/>
              <a:gd name="T17" fmla="*/ 46 h 130"/>
              <a:gd name="T18" fmla="*/ 101 w 112"/>
              <a:gd name="T19" fmla="*/ 51 h 130"/>
              <a:gd name="T20" fmla="*/ 101 w 112"/>
              <a:gd name="T21" fmla="*/ 55 h 130"/>
              <a:gd name="T22" fmla="*/ 101 w 112"/>
              <a:gd name="T23" fmla="*/ 67 h 130"/>
              <a:gd name="T24" fmla="*/ 103 w 112"/>
              <a:gd name="T25" fmla="*/ 76 h 130"/>
              <a:gd name="T26" fmla="*/ 107 w 112"/>
              <a:gd name="T27" fmla="*/ 84 h 130"/>
              <a:gd name="T28" fmla="*/ 112 w 112"/>
              <a:gd name="T29" fmla="*/ 92 h 130"/>
              <a:gd name="T30" fmla="*/ 109 w 112"/>
              <a:gd name="T31" fmla="*/ 97 h 130"/>
              <a:gd name="T32" fmla="*/ 101 w 112"/>
              <a:gd name="T33" fmla="*/ 109 h 130"/>
              <a:gd name="T34" fmla="*/ 91 w 112"/>
              <a:gd name="T35" fmla="*/ 122 h 130"/>
              <a:gd name="T36" fmla="*/ 78 w 112"/>
              <a:gd name="T37" fmla="*/ 128 h 130"/>
              <a:gd name="T38" fmla="*/ 69 w 112"/>
              <a:gd name="T39" fmla="*/ 130 h 130"/>
              <a:gd name="T40" fmla="*/ 55 w 112"/>
              <a:gd name="T41" fmla="*/ 130 h 130"/>
              <a:gd name="T42" fmla="*/ 44 w 112"/>
              <a:gd name="T43" fmla="*/ 128 h 130"/>
              <a:gd name="T44" fmla="*/ 32 w 112"/>
              <a:gd name="T45" fmla="*/ 122 h 130"/>
              <a:gd name="T46" fmla="*/ 23 w 112"/>
              <a:gd name="T47" fmla="*/ 118 h 130"/>
              <a:gd name="T48" fmla="*/ 13 w 112"/>
              <a:gd name="T49" fmla="*/ 111 h 130"/>
              <a:gd name="T50" fmla="*/ 7 w 112"/>
              <a:gd name="T51" fmla="*/ 103 h 130"/>
              <a:gd name="T52" fmla="*/ 2 w 112"/>
              <a:gd name="T53" fmla="*/ 93 h 130"/>
              <a:gd name="T54" fmla="*/ 0 w 112"/>
              <a:gd name="T55" fmla="*/ 82 h 130"/>
              <a:gd name="T56" fmla="*/ 2 w 112"/>
              <a:gd name="T57" fmla="*/ 78 h 130"/>
              <a:gd name="T58" fmla="*/ 4 w 112"/>
              <a:gd name="T59" fmla="*/ 65 h 130"/>
              <a:gd name="T60" fmla="*/ 9 w 112"/>
              <a:gd name="T61" fmla="*/ 51 h 130"/>
              <a:gd name="T62" fmla="*/ 17 w 112"/>
              <a:gd name="T63" fmla="*/ 38 h 130"/>
              <a:gd name="T64" fmla="*/ 25 w 112"/>
              <a:gd name="T65" fmla="*/ 25 h 130"/>
              <a:gd name="T66" fmla="*/ 34 w 112"/>
              <a:gd name="T67" fmla="*/ 13 h 130"/>
              <a:gd name="T68" fmla="*/ 44 w 112"/>
              <a:gd name="T69" fmla="*/ 6 h 130"/>
              <a:gd name="T70" fmla="*/ 53 w 112"/>
              <a:gd name="T71" fmla="*/ 0 h 130"/>
              <a:gd name="T72" fmla="*/ 59 w 112"/>
              <a:gd name="T73" fmla="*/ 0 h 130"/>
              <a:gd name="T74" fmla="*/ 69 w 112"/>
              <a:gd name="T75" fmla="*/ 2 h 130"/>
              <a:gd name="T76" fmla="*/ 74 w 112"/>
              <a:gd name="T77" fmla="*/ 8 h 130"/>
              <a:gd name="T78" fmla="*/ 84 w 112"/>
              <a:gd name="T79" fmla="*/ 13 h 130"/>
              <a:gd name="T80" fmla="*/ 91 w 112"/>
              <a:gd name="T81" fmla="*/ 15 h 130"/>
              <a:gd name="T82" fmla="*/ 97 w 112"/>
              <a:gd name="T83" fmla="*/ 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30">
                <a:moveTo>
                  <a:pt x="97" y="4"/>
                </a:moveTo>
                <a:lnTo>
                  <a:pt x="97" y="4"/>
                </a:lnTo>
                <a:lnTo>
                  <a:pt x="91" y="11"/>
                </a:lnTo>
                <a:lnTo>
                  <a:pt x="91" y="11"/>
                </a:lnTo>
                <a:lnTo>
                  <a:pt x="93" y="15"/>
                </a:lnTo>
                <a:lnTo>
                  <a:pt x="93" y="17"/>
                </a:lnTo>
                <a:lnTo>
                  <a:pt x="95" y="21"/>
                </a:lnTo>
                <a:lnTo>
                  <a:pt x="97" y="23"/>
                </a:lnTo>
                <a:lnTo>
                  <a:pt x="99" y="27"/>
                </a:lnTo>
                <a:lnTo>
                  <a:pt x="99" y="29"/>
                </a:lnTo>
                <a:lnTo>
                  <a:pt x="101" y="32"/>
                </a:lnTo>
                <a:lnTo>
                  <a:pt x="101" y="34"/>
                </a:lnTo>
                <a:lnTo>
                  <a:pt x="101" y="34"/>
                </a:lnTo>
                <a:lnTo>
                  <a:pt x="101" y="36"/>
                </a:lnTo>
                <a:lnTo>
                  <a:pt x="101" y="38"/>
                </a:lnTo>
                <a:lnTo>
                  <a:pt x="101" y="40"/>
                </a:lnTo>
                <a:lnTo>
                  <a:pt x="101" y="44"/>
                </a:lnTo>
                <a:lnTo>
                  <a:pt x="101" y="46"/>
                </a:lnTo>
                <a:lnTo>
                  <a:pt x="101" y="50"/>
                </a:lnTo>
                <a:lnTo>
                  <a:pt x="101" y="51"/>
                </a:lnTo>
                <a:lnTo>
                  <a:pt x="101" y="55"/>
                </a:lnTo>
                <a:lnTo>
                  <a:pt x="101" y="55"/>
                </a:lnTo>
                <a:lnTo>
                  <a:pt x="101" y="61"/>
                </a:lnTo>
                <a:lnTo>
                  <a:pt x="101" y="67"/>
                </a:lnTo>
                <a:lnTo>
                  <a:pt x="103" y="72"/>
                </a:lnTo>
                <a:lnTo>
                  <a:pt x="103" y="76"/>
                </a:lnTo>
                <a:lnTo>
                  <a:pt x="105" y="80"/>
                </a:lnTo>
                <a:lnTo>
                  <a:pt x="107" y="84"/>
                </a:lnTo>
                <a:lnTo>
                  <a:pt x="109" y="88"/>
                </a:lnTo>
                <a:lnTo>
                  <a:pt x="112" y="92"/>
                </a:lnTo>
                <a:lnTo>
                  <a:pt x="112" y="92"/>
                </a:lnTo>
                <a:lnTo>
                  <a:pt x="109" y="97"/>
                </a:lnTo>
                <a:lnTo>
                  <a:pt x="105" y="103"/>
                </a:lnTo>
                <a:lnTo>
                  <a:pt x="101" y="109"/>
                </a:lnTo>
                <a:lnTo>
                  <a:pt x="97" y="116"/>
                </a:lnTo>
                <a:lnTo>
                  <a:pt x="91" y="122"/>
                </a:lnTo>
                <a:lnTo>
                  <a:pt x="86" y="126"/>
                </a:lnTo>
                <a:lnTo>
                  <a:pt x="78" y="128"/>
                </a:lnTo>
                <a:lnTo>
                  <a:pt x="69" y="130"/>
                </a:lnTo>
                <a:lnTo>
                  <a:pt x="69" y="130"/>
                </a:lnTo>
                <a:lnTo>
                  <a:pt x="63" y="130"/>
                </a:lnTo>
                <a:lnTo>
                  <a:pt x="55" y="130"/>
                </a:lnTo>
                <a:lnTo>
                  <a:pt x="49" y="128"/>
                </a:lnTo>
                <a:lnTo>
                  <a:pt x="44" y="128"/>
                </a:lnTo>
                <a:lnTo>
                  <a:pt x="38" y="124"/>
                </a:lnTo>
                <a:lnTo>
                  <a:pt x="32" y="122"/>
                </a:lnTo>
                <a:lnTo>
                  <a:pt x="27" y="120"/>
                </a:lnTo>
                <a:lnTo>
                  <a:pt x="23" y="118"/>
                </a:lnTo>
                <a:lnTo>
                  <a:pt x="17" y="114"/>
                </a:lnTo>
                <a:lnTo>
                  <a:pt x="13" y="111"/>
                </a:lnTo>
                <a:lnTo>
                  <a:pt x="9" y="107"/>
                </a:lnTo>
                <a:lnTo>
                  <a:pt x="7" y="103"/>
                </a:lnTo>
                <a:lnTo>
                  <a:pt x="4" y="99"/>
                </a:lnTo>
                <a:lnTo>
                  <a:pt x="2" y="93"/>
                </a:lnTo>
                <a:lnTo>
                  <a:pt x="2" y="88"/>
                </a:lnTo>
                <a:lnTo>
                  <a:pt x="0" y="82"/>
                </a:lnTo>
                <a:lnTo>
                  <a:pt x="0" y="82"/>
                </a:lnTo>
                <a:lnTo>
                  <a:pt x="2" y="78"/>
                </a:lnTo>
                <a:lnTo>
                  <a:pt x="2" y="71"/>
                </a:lnTo>
                <a:lnTo>
                  <a:pt x="4" y="65"/>
                </a:lnTo>
                <a:lnTo>
                  <a:pt x="6" y="59"/>
                </a:lnTo>
                <a:lnTo>
                  <a:pt x="9" y="51"/>
                </a:lnTo>
                <a:lnTo>
                  <a:pt x="13" y="44"/>
                </a:lnTo>
                <a:lnTo>
                  <a:pt x="17" y="38"/>
                </a:lnTo>
                <a:lnTo>
                  <a:pt x="21" y="30"/>
                </a:lnTo>
                <a:lnTo>
                  <a:pt x="25" y="25"/>
                </a:lnTo>
                <a:lnTo>
                  <a:pt x="28" y="19"/>
                </a:lnTo>
                <a:lnTo>
                  <a:pt x="34" y="13"/>
                </a:lnTo>
                <a:lnTo>
                  <a:pt x="40" y="9"/>
                </a:lnTo>
                <a:lnTo>
                  <a:pt x="44" y="6"/>
                </a:lnTo>
                <a:lnTo>
                  <a:pt x="49" y="2"/>
                </a:lnTo>
                <a:lnTo>
                  <a:pt x="53" y="0"/>
                </a:lnTo>
                <a:lnTo>
                  <a:pt x="59" y="0"/>
                </a:lnTo>
                <a:lnTo>
                  <a:pt x="59" y="0"/>
                </a:lnTo>
                <a:lnTo>
                  <a:pt x="63" y="0"/>
                </a:lnTo>
                <a:lnTo>
                  <a:pt x="69" y="2"/>
                </a:lnTo>
                <a:lnTo>
                  <a:pt x="72" y="6"/>
                </a:lnTo>
                <a:lnTo>
                  <a:pt x="74" y="8"/>
                </a:lnTo>
                <a:lnTo>
                  <a:pt x="80" y="9"/>
                </a:lnTo>
                <a:lnTo>
                  <a:pt x="84" y="13"/>
                </a:lnTo>
                <a:lnTo>
                  <a:pt x="88" y="15"/>
                </a:lnTo>
                <a:lnTo>
                  <a:pt x="91" y="15"/>
                </a:lnTo>
                <a:lnTo>
                  <a:pt x="93" y="15"/>
                </a:lnTo>
                <a:lnTo>
                  <a:pt x="97" y="4"/>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 name="Freeform 15"/>
          <p:cNvSpPr>
            <a:spLocks/>
          </p:cNvSpPr>
          <p:nvPr/>
        </p:nvSpPr>
        <p:spPr bwMode="auto">
          <a:xfrm>
            <a:off x="2987675" y="5468839"/>
            <a:ext cx="1085850" cy="844550"/>
          </a:xfrm>
          <a:custGeom>
            <a:avLst/>
            <a:gdLst>
              <a:gd name="T0" fmla="*/ 1106 w 1207"/>
              <a:gd name="T1" fmla="*/ 284 h 969"/>
              <a:gd name="T2" fmla="*/ 1056 w 1207"/>
              <a:gd name="T3" fmla="*/ 335 h 969"/>
              <a:gd name="T4" fmla="*/ 1056 w 1207"/>
              <a:gd name="T5" fmla="*/ 391 h 969"/>
              <a:gd name="T6" fmla="*/ 1116 w 1207"/>
              <a:gd name="T7" fmla="*/ 414 h 969"/>
              <a:gd name="T8" fmla="*/ 1161 w 1207"/>
              <a:gd name="T9" fmla="*/ 377 h 969"/>
              <a:gd name="T10" fmla="*/ 1194 w 1207"/>
              <a:gd name="T11" fmla="*/ 381 h 969"/>
              <a:gd name="T12" fmla="*/ 1192 w 1207"/>
              <a:gd name="T13" fmla="*/ 412 h 969"/>
              <a:gd name="T14" fmla="*/ 1158 w 1207"/>
              <a:gd name="T15" fmla="*/ 505 h 969"/>
              <a:gd name="T16" fmla="*/ 1108 w 1207"/>
              <a:gd name="T17" fmla="*/ 541 h 969"/>
              <a:gd name="T18" fmla="*/ 1074 w 1207"/>
              <a:gd name="T19" fmla="*/ 576 h 969"/>
              <a:gd name="T20" fmla="*/ 1041 w 1207"/>
              <a:gd name="T21" fmla="*/ 622 h 969"/>
              <a:gd name="T22" fmla="*/ 988 w 1207"/>
              <a:gd name="T23" fmla="*/ 685 h 969"/>
              <a:gd name="T24" fmla="*/ 925 w 1207"/>
              <a:gd name="T25" fmla="*/ 746 h 969"/>
              <a:gd name="T26" fmla="*/ 858 w 1207"/>
              <a:gd name="T27" fmla="*/ 803 h 969"/>
              <a:gd name="T28" fmla="*/ 784 w 1207"/>
              <a:gd name="T29" fmla="*/ 858 h 969"/>
              <a:gd name="T30" fmla="*/ 692 w 1207"/>
              <a:gd name="T31" fmla="*/ 894 h 969"/>
              <a:gd name="T32" fmla="*/ 644 w 1207"/>
              <a:gd name="T33" fmla="*/ 896 h 969"/>
              <a:gd name="T34" fmla="*/ 583 w 1207"/>
              <a:gd name="T35" fmla="*/ 923 h 969"/>
              <a:gd name="T36" fmla="*/ 471 w 1207"/>
              <a:gd name="T37" fmla="*/ 913 h 969"/>
              <a:gd name="T38" fmla="*/ 427 w 1207"/>
              <a:gd name="T39" fmla="*/ 915 h 969"/>
              <a:gd name="T40" fmla="*/ 368 w 1207"/>
              <a:gd name="T41" fmla="*/ 938 h 969"/>
              <a:gd name="T42" fmla="*/ 324 w 1207"/>
              <a:gd name="T43" fmla="*/ 940 h 969"/>
              <a:gd name="T44" fmla="*/ 280 w 1207"/>
              <a:gd name="T45" fmla="*/ 950 h 969"/>
              <a:gd name="T46" fmla="*/ 230 w 1207"/>
              <a:gd name="T47" fmla="*/ 969 h 969"/>
              <a:gd name="T48" fmla="*/ 181 w 1207"/>
              <a:gd name="T49" fmla="*/ 940 h 969"/>
              <a:gd name="T50" fmla="*/ 147 w 1207"/>
              <a:gd name="T51" fmla="*/ 919 h 969"/>
              <a:gd name="T52" fmla="*/ 122 w 1207"/>
              <a:gd name="T53" fmla="*/ 927 h 969"/>
              <a:gd name="T54" fmla="*/ 129 w 1207"/>
              <a:gd name="T55" fmla="*/ 887 h 969"/>
              <a:gd name="T56" fmla="*/ 95 w 1207"/>
              <a:gd name="T57" fmla="*/ 822 h 969"/>
              <a:gd name="T58" fmla="*/ 120 w 1207"/>
              <a:gd name="T59" fmla="*/ 755 h 969"/>
              <a:gd name="T60" fmla="*/ 80 w 1207"/>
              <a:gd name="T61" fmla="*/ 686 h 969"/>
              <a:gd name="T62" fmla="*/ 34 w 1207"/>
              <a:gd name="T63" fmla="*/ 604 h 969"/>
              <a:gd name="T64" fmla="*/ 9 w 1207"/>
              <a:gd name="T65" fmla="*/ 528 h 969"/>
              <a:gd name="T66" fmla="*/ 15 w 1207"/>
              <a:gd name="T67" fmla="*/ 471 h 969"/>
              <a:gd name="T68" fmla="*/ 68 w 1207"/>
              <a:gd name="T69" fmla="*/ 490 h 969"/>
              <a:gd name="T70" fmla="*/ 124 w 1207"/>
              <a:gd name="T71" fmla="*/ 517 h 969"/>
              <a:gd name="T72" fmla="*/ 188 w 1207"/>
              <a:gd name="T73" fmla="*/ 519 h 969"/>
              <a:gd name="T74" fmla="*/ 238 w 1207"/>
              <a:gd name="T75" fmla="*/ 488 h 969"/>
              <a:gd name="T76" fmla="*/ 282 w 1207"/>
              <a:gd name="T77" fmla="*/ 231 h 969"/>
              <a:gd name="T78" fmla="*/ 314 w 1207"/>
              <a:gd name="T79" fmla="*/ 292 h 969"/>
              <a:gd name="T80" fmla="*/ 301 w 1207"/>
              <a:gd name="T81" fmla="*/ 347 h 969"/>
              <a:gd name="T82" fmla="*/ 351 w 1207"/>
              <a:gd name="T83" fmla="*/ 364 h 969"/>
              <a:gd name="T84" fmla="*/ 438 w 1207"/>
              <a:gd name="T85" fmla="*/ 320 h 969"/>
              <a:gd name="T86" fmla="*/ 486 w 1207"/>
              <a:gd name="T87" fmla="*/ 250 h 969"/>
              <a:gd name="T88" fmla="*/ 551 w 1207"/>
              <a:gd name="T89" fmla="*/ 278 h 969"/>
              <a:gd name="T90" fmla="*/ 621 w 1207"/>
              <a:gd name="T91" fmla="*/ 278 h 969"/>
              <a:gd name="T92" fmla="*/ 675 w 1207"/>
              <a:gd name="T93" fmla="*/ 271 h 969"/>
              <a:gd name="T94" fmla="*/ 704 w 1207"/>
              <a:gd name="T95" fmla="*/ 210 h 969"/>
              <a:gd name="T96" fmla="*/ 744 w 1207"/>
              <a:gd name="T97" fmla="*/ 194 h 969"/>
              <a:gd name="T98" fmla="*/ 782 w 1207"/>
              <a:gd name="T99" fmla="*/ 147 h 969"/>
              <a:gd name="T100" fmla="*/ 824 w 1207"/>
              <a:gd name="T101" fmla="*/ 107 h 969"/>
              <a:gd name="T102" fmla="*/ 885 w 1207"/>
              <a:gd name="T103" fmla="*/ 42 h 969"/>
              <a:gd name="T104" fmla="*/ 927 w 1207"/>
              <a:gd name="T105" fmla="*/ 38 h 969"/>
              <a:gd name="T106" fmla="*/ 1003 w 1207"/>
              <a:gd name="T107" fmla="*/ 4 h 969"/>
              <a:gd name="T108" fmla="*/ 1072 w 1207"/>
              <a:gd name="T109" fmla="*/ 21 h 969"/>
              <a:gd name="T110" fmla="*/ 1112 w 1207"/>
              <a:gd name="T111" fmla="*/ 21 h 969"/>
              <a:gd name="T112" fmla="*/ 1125 w 1207"/>
              <a:gd name="T113" fmla="*/ 99 h 969"/>
              <a:gd name="T114" fmla="*/ 1146 w 1207"/>
              <a:gd name="T115" fmla="*/ 147 h 969"/>
              <a:gd name="T116" fmla="*/ 1152 w 1207"/>
              <a:gd name="T117" fmla="*/ 196 h 969"/>
              <a:gd name="T118" fmla="*/ 1146 w 1207"/>
              <a:gd name="T119" fmla="*/ 244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7" h="969">
                <a:moveTo>
                  <a:pt x="1138" y="299"/>
                </a:moveTo>
                <a:lnTo>
                  <a:pt x="1138" y="299"/>
                </a:lnTo>
                <a:lnTo>
                  <a:pt x="1135" y="299"/>
                </a:lnTo>
                <a:lnTo>
                  <a:pt x="1131" y="297"/>
                </a:lnTo>
                <a:lnTo>
                  <a:pt x="1127" y="293"/>
                </a:lnTo>
                <a:lnTo>
                  <a:pt x="1121" y="292"/>
                </a:lnTo>
                <a:lnTo>
                  <a:pt x="1119" y="290"/>
                </a:lnTo>
                <a:lnTo>
                  <a:pt x="1116" y="286"/>
                </a:lnTo>
                <a:lnTo>
                  <a:pt x="1110" y="284"/>
                </a:lnTo>
                <a:lnTo>
                  <a:pt x="1106" y="284"/>
                </a:lnTo>
                <a:lnTo>
                  <a:pt x="1106" y="284"/>
                </a:lnTo>
                <a:lnTo>
                  <a:pt x="1100" y="284"/>
                </a:lnTo>
                <a:lnTo>
                  <a:pt x="1096" y="286"/>
                </a:lnTo>
                <a:lnTo>
                  <a:pt x="1091" y="290"/>
                </a:lnTo>
                <a:lnTo>
                  <a:pt x="1087" y="293"/>
                </a:lnTo>
                <a:lnTo>
                  <a:pt x="1081" y="297"/>
                </a:lnTo>
                <a:lnTo>
                  <a:pt x="1075" y="303"/>
                </a:lnTo>
                <a:lnTo>
                  <a:pt x="1072" y="309"/>
                </a:lnTo>
                <a:lnTo>
                  <a:pt x="1068" y="314"/>
                </a:lnTo>
                <a:lnTo>
                  <a:pt x="1064" y="322"/>
                </a:lnTo>
                <a:lnTo>
                  <a:pt x="1060" y="328"/>
                </a:lnTo>
                <a:lnTo>
                  <a:pt x="1056" y="335"/>
                </a:lnTo>
                <a:lnTo>
                  <a:pt x="1053" y="343"/>
                </a:lnTo>
                <a:lnTo>
                  <a:pt x="1051" y="349"/>
                </a:lnTo>
                <a:lnTo>
                  <a:pt x="1049" y="355"/>
                </a:lnTo>
                <a:lnTo>
                  <a:pt x="1049" y="362"/>
                </a:lnTo>
                <a:lnTo>
                  <a:pt x="1047" y="366"/>
                </a:lnTo>
                <a:lnTo>
                  <a:pt x="1047" y="366"/>
                </a:lnTo>
                <a:lnTo>
                  <a:pt x="1049" y="372"/>
                </a:lnTo>
                <a:lnTo>
                  <a:pt x="1049" y="377"/>
                </a:lnTo>
                <a:lnTo>
                  <a:pt x="1051" y="383"/>
                </a:lnTo>
                <a:lnTo>
                  <a:pt x="1054" y="387"/>
                </a:lnTo>
                <a:lnTo>
                  <a:pt x="1056" y="391"/>
                </a:lnTo>
                <a:lnTo>
                  <a:pt x="1060" y="395"/>
                </a:lnTo>
                <a:lnTo>
                  <a:pt x="1064" y="398"/>
                </a:lnTo>
                <a:lnTo>
                  <a:pt x="1070" y="402"/>
                </a:lnTo>
                <a:lnTo>
                  <a:pt x="1074" y="404"/>
                </a:lnTo>
                <a:lnTo>
                  <a:pt x="1079" y="406"/>
                </a:lnTo>
                <a:lnTo>
                  <a:pt x="1085" y="408"/>
                </a:lnTo>
                <a:lnTo>
                  <a:pt x="1091" y="412"/>
                </a:lnTo>
                <a:lnTo>
                  <a:pt x="1096" y="412"/>
                </a:lnTo>
                <a:lnTo>
                  <a:pt x="1102" y="414"/>
                </a:lnTo>
                <a:lnTo>
                  <a:pt x="1110" y="414"/>
                </a:lnTo>
                <a:lnTo>
                  <a:pt x="1116" y="414"/>
                </a:lnTo>
                <a:lnTo>
                  <a:pt x="1116" y="414"/>
                </a:lnTo>
                <a:lnTo>
                  <a:pt x="1125" y="412"/>
                </a:lnTo>
                <a:lnTo>
                  <a:pt x="1133" y="410"/>
                </a:lnTo>
                <a:lnTo>
                  <a:pt x="1138" y="406"/>
                </a:lnTo>
                <a:lnTo>
                  <a:pt x="1144" y="400"/>
                </a:lnTo>
                <a:lnTo>
                  <a:pt x="1148" y="393"/>
                </a:lnTo>
                <a:lnTo>
                  <a:pt x="1152" y="387"/>
                </a:lnTo>
                <a:lnTo>
                  <a:pt x="1156" y="381"/>
                </a:lnTo>
                <a:lnTo>
                  <a:pt x="1159" y="376"/>
                </a:lnTo>
                <a:lnTo>
                  <a:pt x="1159" y="376"/>
                </a:lnTo>
                <a:lnTo>
                  <a:pt x="1161" y="377"/>
                </a:lnTo>
                <a:lnTo>
                  <a:pt x="1163" y="377"/>
                </a:lnTo>
                <a:lnTo>
                  <a:pt x="1165" y="379"/>
                </a:lnTo>
                <a:lnTo>
                  <a:pt x="1169" y="381"/>
                </a:lnTo>
                <a:lnTo>
                  <a:pt x="1171" y="381"/>
                </a:lnTo>
                <a:lnTo>
                  <a:pt x="1175" y="381"/>
                </a:lnTo>
                <a:lnTo>
                  <a:pt x="1178" y="381"/>
                </a:lnTo>
                <a:lnTo>
                  <a:pt x="1182" y="381"/>
                </a:lnTo>
                <a:lnTo>
                  <a:pt x="1182" y="381"/>
                </a:lnTo>
                <a:lnTo>
                  <a:pt x="1188" y="381"/>
                </a:lnTo>
                <a:lnTo>
                  <a:pt x="1190" y="381"/>
                </a:lnTo>
                <a:lnTo>
                  <a:pt x="1194" y="381"/>
                </a:lnTo>
                <a:lnTo>
                  <a:pt x="1198" y="379"/>
                </a:lnTo>
                <a:lnTo>
                  <a:pt x="1199" y="377"/>
                </a:lnTo>
                <a:lnTo>
                  <a:pt x="1203" y="377"/>
                </a:lnTo>
                <a:lnTo>
                  <a:pt x="1205" y="376"/>
                </a:lnTo>
                <a:lnTo>
                  <a:pt x="1207" y="374"/>
                </a:lnTo>
                <a:lnTo>
                  <a:pt x="1207" y="374"/>
                </a:lnTo>
                <a:lnTo>
                  <a:pt x="1203" y="381"/>
                </a:lnTo>
                <a:lnTo>
                  <a:pt x="1199" y="389"/>
                </a:lnTo>
                <a:lnTo>
                  <a:pt x="1198" y="396"/>
                </a:lnTo>
                <a:lnTo>
                  <a:pt x="1196" y="404"/>
                </a:lnTo>
                <a:lnTo>
                  <a:pt x="1192" y="412"/>
                </a:lnTo>
                <a:lnTo>
                  <a:pt x="1190" y="421"/>
                </a:lnTo>
                <a:lnTo>
                  <a:pt x="1188" y="429"/>
                </a:lnTo>
                <a:lnTo>
                  <a:pt x="1186" y="438"/>
                </a:lnTo>
                <a:lnTo>
                  <a:pt x="1182" y="446"/>
                </a:lnTo>
                <a:lnTo>
                  <a:pt x="1180" y="456"/>
                </a:lnTo>
                <a:lnTo>
                  <a:pt x="1178" y="463"/>
                </a:lnTo>
                <a:lnTo>
                  <a:pt x="1175" y="473"/>
                </a:lnTo>
                <a:lnTo>
                  <a:pt x="1171" y="480"/>
                </a:lnTo>
                <a:lnTo>
                  <a:pt x="1167" y="488"/>
                </a:lnTo>
                <a:lnTo>
                  <a:pt x="1163" y="498"/>
                </a:lnTo>
                <a:lnTo>
                  <a:pt x="1158" y="505"/>
                </a:lnTo>
                <a:lnTo>
                  <a:pt x="1158" y="505"/>
                </a:lnTo>
                <a:lnTo>
                  <a:pt x="1154" y="509"/>
                </a:lnTo>
                <a:lnTo>
                  <a:pt x="1148" y="515"/>
                </a:lnTo>
                <a:lnTo>
                  <a:pt x="1142" y="519"/>
                </a:lnTo>
                <a:lnTo>
                  <a:pt x="1137" y="522"/>
                </a:lnTo>
                <a:lnTo>
                  <a:pt x="1131" y="526"/>
                </a:lnTo>
                <a:lnTo>
                  <a:pt x="1123" y="530"/>
                </a:lnTo>
                <a:lnTo>
                  <a:pt x="1117" y="534"/>
                </a:lnTo>
                <a:lnTo>
                  <a:pt x="1114" y="536"/>
                </a:lnTo>
                <a:lnTo>
                  <a:pt x="1114" y="536"/>
                </a:lnTo>
                <a:lnTo>
                  <a:pt x="1108" y="541"/>
                </a:lnTo>
                <a:lnTo>
                  <a:pt x="1104" y="545"/>
                </a:lnTo>
                <a:lnTo>
                  <a:pt x="1100" y="549"/>
                </a:lnTo>
                <a:lnTo>
                  <a:pt x="1098" y="553"/>
                </a:lnTo>
                <a:lnTo>
                  <a:pt x="1096" y="557"/>
                </a:lnTo>
                <a:lnTo>
                  <a:pt x="1093" y="561"/>
                </a:lnTo>
                <a:lnTo>
                  <a:pt x="1089" y="564"/>
                </a:lnTo>
                <a:lnTo>
                  <a:pt x="1083" y="568"/>
                </a:lnTo>
                <a:lnTo>
                  <a:pt x="1083" y="568"/>
                </a:lnTo>
                <a:lnTo>
                  <a:pt x="1081" y="568"/>
                </a:lnTo>
                <a:lnTo>
                  <a:pt x="1077" y="572"/>
                </a:lnTo>
                <a:lnTo>
                  <a:pt x="1074" y="576"/>
                </a:lnTo>
                <a:lnTo>
                  <a:pt x="1070" y="582"/>
                </a:lnTo>
                <a:lnTo>
                  <a:pt x="1066" y="585"/>
                </a:lnTo>
                <a:lnTo>
                  <a:pt x="1062" y="591"/>
                </a:lnTo>
                <a:lnTo>
                  <a:pt x="1060" y="595"/>
                </a:lnTo>
                <a:lnTo>
                  <a:pt x="1056" y="599"/>
                </a:lnTo>
                <a:lnTo>
                  <a:pt x="1056" y="599"/>
                </a:lnTo>
                <a:lnTo>
                  <a:pt x="1054" y="604"/>
                </a:lnTo>
                <a:lnTo>
                  <a:pt x="1051" y="610"/>
                </a:lnTo>
                <a:lnTo>
                  <a:pt x="1049" y="614"/>
                </a:lnTo>
                <a:lnTo>
                  <a:pt x="1045" y="618"/>
                </a:lnTo>
                <a:lnTo>
                  <a:pt x="1041" y="622"/>
                </a:lnTo>
                <a:lnTo>
                  <a:pt x="1037" y="624"/>
                </a:lnTo>
                <a:lnTo>
                  <a:pt x="1034" y="627"/>
                </a:lnTo>
                <a:lnTo>
                  <a:pt x="1030" y="631"/>
                </a:lnTo>
                <a:lnTo>
                  <a:pt x="1030" y="631"/>
                </a:lnTo>
                <a:lnTo>
                  <a:pt x="1022" y="639"/>
                </a:lnTo>
                <a:lnTo>
                  <a:pt x="1016" y="646"/>
                </a:lnTo>
                <a:lnTo>
                  <a:pt x="1011" y="654"/>
                </a:lnTo>
                <a:lnTo>
                  <a:pt x="1005" y="662"/>
                </a:lnTo>
                <a:lnTo>
                  <a:pt x="999" y="669"/>
                </a:lnTo>
                <a:lnTo>
                  <a:pt x="993" y="677"/>
                </a:lnTo>
                <a:lnTo>
                  <a:pt x="988" y="685"/>
                </a:lnTo>
                <a:lnTo>
                  <a:pt x="984" y="692"/>
                </a:lnTo>
                <a:lnTo>
                  <a:pt x="978" y="698"/>
                </a:lnTo>
                <a:lnTo>
                  <a:pt x="972" y="706"/>
                </a:lnTo>
                <a:lnTo>
                  <a:pt x="967" y="711"/>
                </a:lnTo>
                <a:lnTo>
                  <a:pt x="961" y="717"/>
                </a:lnTo>
                <a:lnTo>
                  <a:pt x="955" y="723"/>
                </a:lnTo>
                <a:lnTo>
                  <a:pt x="948" y="728"/>
                </a:lnTo>
                <a:lnTo>
                  <a:pt x="940" y="734"/>
                </a:lnTo>
                <a:lnTo>
                  <a:pt x="932" y="738"/>
                </a:lnTo>
                <a:lnTo>
                  <a:pt x="932" y="738"/>
                </a:lnTo>
                <a:lnTo>
                  <a:pt x="925" y="746"/>
                </a:lnTo>
                <a:lnTo>
                  <a:pt x="919" y="751"/>
                </a:lnTo>
                <a:lnTo>
                  <a:pt x="913" y="757"/>
                </a:lnTo>
                <a:lnTo>
                  <a:pt x="908" y="763"/>
                </a:lnTo>
                <a:lnTo>
                  <a:pt x="900" y="769"/>
                </a:lnTo>
                <a:lnTo>
                  <a:pt x="894" y="774"/>
                </a:lnTo>
                <a:lnTo>
                  <a:pt x="889" y="778"/>
                </a:lnTo>
                <a:lnTo>
                  <a:pt x="883" y="784"/>
                </a:lnTo>
                <a:lnTo>
                  <a:pt x="877" y="788"/>
                </a:lnTo>
                <a:lnTo>
                  <a:pt x="869" y="793"/>
                </a:lnTo>
                <a:lnTo>
                  <a:pt x="864" y="797"/>
                </a:lnTo>
                <a:lnTo>
                  <a:pt x="858" y="803"/>
                </a:lnTo>
                <a:lnTo>
                  <a:pt x="850" y="807"/>
                </a:lnTo>
                <a:lnTo>
                  <a:pt x="845" y="812"/>
                </a:lnTo>
                <a:lnTo>
                  <a:pt x="837" y="816"/>
                </a:lnTo>
                <a:lnTo>
                  <a:pt x="829" y="822"/>
                </a:lnTo>
                <a:lnTo>
                  <a:pt x="829" y="822"/>
                </a:lnTo>
                <a:lnTo>
                  <a:pt x="822" y="828"/>
                </a:lnTo>
                <a:lnTo>
                  <a:pt x="812" y="833"/>
                </a:lnTo>
                <a:lnTo>
                  <a:pt x="805" y="839"/>
                </a:lnTo>
                <a:lnTo>
                  <a:pt x="799" y="845"/>
                </a:lnTo>
                <a:lnTo>
                  <a:pt x="791" y="852"/>
                </a:lnTo>
                <a:lnTo>
                  <a:pt x="784" y="858"/>
                </a:lnTo>
                <a:lnTo>
                  <a:pt x="776" y="864"/>
                </a:lnTo>
                <a:lnTo>
                  <a:pt x="768" y="870"/>
                </a:lnTo>
                <a:lnTo>
                  <a:pt x="761" y="875"/>
                </a:lnTo>
                <a:lnTo>
                  <a:pt x="753" y="879"/>
                </a:lnTo>
                <a:lnTo>
                  <a:pt x="745" y="885"/>
                </a:lnTo>
                <a:lnTo>
                  <a:pt x="736" y="889"/>
                </a:lnTo>
                <a:lnTo>
                  <a:pt x="726" y="891"/>
                </a:lnTo>
                <a:lnTo>
                  <a:pt x="715" y="893"/>
                </a:lnTo>
                <a:lnTo>
                  <a:pt x="704" y="894"/>
                </a:lnTo>
                <a:lnTo>
                  <a:pt x="692" y="894"/>
                </a:lnTo>
                <a:lnTo>
                  <a:pt x="692" y="894"/>
                </a:lnTo>
                <a:lnTo>
                  <a:pt x="686" y="894"/>
                </a:lnTo>
                <a:lnTo>
                  <a:pt x="681" y="894"/>
                </a:lnTo>
                <a:lnTo>
                  <a:pt x="677" y="894"/>
                </a:lnTo>
                <a:lnTo>
                  <a:pt x="671" y="894"/>
                </a:lnTo>
                <a:lnTo>
                  <a:pt x="667" y="894"/>
                </a:lnTo>
                <a:lnTo>
                  <a:pt x="662" y="894"/>
                </a:lnTo>
                <a:lnTo>
                  <a:pt x="660" y="894"/>
                </a:lnTo>
                <a:lnTo>
                  <a:pt x="656" y="894"/>
                </a:lnTo>
                <a:lnTo>
                  <a:pt x="656" y="894"/>
                </a:lnTo>
                <a:lnTo>
                  <a:pt x="650" y="894"/>
                </a:lnTo>
                <a:lnTo>
                  <a:pt x="644" y="896"/>
                </a:lnTo>
                <a:lnTo>
                  <a:pt x="639" y="898"/>
                </a:lnTo>
                <a:lnTo>
                  <a:pt x="633" y="900"/>
                </a:lnTo>
                <a:lnTo>
                  <a:pt x="627" y="902"/>
                </a:lnTo>
                <a:lnTo>
                  <a:pt x="621" y="904"/>
                </a:lnTo>
                <a:lnTo>
                  <a:pt x="618" y="908"/>
                </a:lnTo>
                <a:lnTo>
                  <a:pt x="612" y="910"/>
                </a:lnTo>
                <a:lnTo>
                  <a:pt x="606" y="913"/>
                </a:lnTo>
                <a:lnTo>
                  <a:pt x="601" y="917"/>
                </a:lnTo>
                <a:lnTo>
                  <a:pt x="595" y="919"/>
                </a:lnTo>
                <a:lnTo>
                  <a:pt x="589" y="921"/>
                </a:lnTo>
                <a:lnTo>
                  <a:pt x="583" y="923"/>
                </a:lnTo>
                <a:lnTo>
                  <a:pt x="578" y="925"/>
                </a:lnTo>
                <a:lnTo>
                  <a:pt x="572" y="927"/>
                </a:lnTo>
                <a:lnTo>
                  <a:pt x="566" y="927"/>
                </a:lnTo>
                <a:lnTo>
                  <a:pt x="497" y="910"/>
                </a:lnTo>
                <a:lnTo>
                  <a:pt x="497" y="910"/>
                </a:lnTo>
                <a:lnTo>
                  <a:pt x="492" y="912"/>
                </a:lnTo>
                <a:lnTo>
                  <a:pt x="488" y="912"/>
                </a:lnTo>
                <a:lnTo>
                  <a:pt x="484" y="912"/>
                </a:lnTo>
                <a:lnTo>
                  <a:pt x="480" y="913"/>
                </a:lnTo>
                <a:lnTo>
                  <a:pt x="477" y="913"/>
                </a:lnTo>
                <a:lnTo>
                  <a:pt x="471" y="913"/>
                </a:lnTo>
                <a:lnTo>
                  <a:pt x="467" y="913"/>
                </a:lnTo>
                <a:lnTo>
                  <a:pt x="463" y="915"/>
                </a:lnTo>
                <a:lnTo>
                  <a:pt x="459" y="915"/>
                </a:lnTo>
                <a:lnTo>
                  <a:pt x="456" y="915"/>
                </a:lnTo>
                <a:lnTo>
                  <a:pt x="452" y="915"/>
                </a:lnTo>
                <a:lnTo>
                  <a:pt x="446" y="915"/>
                </a:lnTo>
                <a:lnTo>
                  <a:pt x="442" y="915"/>
                </a:lnTo>
                <a:lnTo>
                  <a:pt x="436" y="915"/>
                </a:lnTo>
                <a:lnTo>
                  <a:pt x="433" y="915"/>
                </a:lnTo>
                <a:lnTo>
                  <a:pt x="427" y="915"/>
                </a:lnTo>
                <a:lnTo>
                  <a:pt x="427" y="915"/>
                </a:lnTo>
                <a:lnTo>
                  <a:pt x="415" y="915"/>
                </a:lnTo>
                <a:lnTo>
                  <a:pt x="408" y="917"/>
                </a:lnTo>
                <a:lnTo>
                  <a:pt x="400" y="921"/>
                </a:lnTo>
                <a:lnTo>
                  <a:pt x="394" y="923"/>
                </a:lnTo>
                <a:lnTo>
                  <a:pt x="389" y="927"/>
                </a:lnTo>
                <a:lnTo>
                  <a:pt x="383" y="931"/>
                </a:lnTo>
                <a:lnTo>
                  <a:pt x="377" y="934"/>
                </a:lnTo>
                <a:lnTo>
                  <a:pt x="372" y="938"/>
                </a:lnTo>
                <a:lnTo>
                  <a:pt x="372" y="938"/>
                </a:lnTo>
                <a:lnTo>
                  <a:pt x="372" y="938"/>
                </a:lnTo>
                <a:lnTo>
                  <a:pt x="368" y="938"/>
                </a:lnTo>
                <a:lnTo>
                  <a:pt x="364" y="940"/>
                </a:lnTo>
                <a:lnTo>
                  <a:pt x="360" y="940"/>
                </a:lnTo>
                <a:lnTo>
                  <a:pt x="356" y="940"/>
                </a:lnTo>
                <a:lnTo>
                  <a:pt x="351" y="940"/>
                </a:lnTo>
                <a:lnTo>
                  <a:pt x="349" y="940"/>
                </a:lnTo>
                <a:lnTo>
                  <a:pt x="343" y="940"/>
                </a:lnTo>
                <a:lnTo>
                  <a:pt x="339" y="940"/>
                </a:lnTo>
                <a:lnTo>
                  <a:pt x="335" y="940"/>
                </a:lnTo>
                <a:lnTo>
                  <a:pt x="332" y="940"/>
                </a:lnTo>
                <a:lnTo>
                  <a:pt x="328" y="940"/>
                </a:lnTo>
                <a:lnTo>
                  <a:pt x="324" y="940"/>
                </a:lnTo>
                <a:lnTo>
                  <a:pt x="318" y="940"/>
                </a:lnTo>
                <a:lnTo>
                  <a:pt x="314" y="940"/>
                </a:lnTo>
                <a:lnTo>
                  <a:pt x="311" y="940"/>
                </a:lnTo>
                <a:lnTo>
                  <a:pt x="307" y="940"/>
                </a:lnTo>
                <a:lnTo>
                  <a:pt x="307" y="940"/>
                </a:lnTo>
                <a:lnTo>
                  <a:pt x="303" y="940"/>
                </a:lnTo>
                <a:lnTo>
                  <a:pt x="299" y="940"/>
                </a:lnTo>
                <a:lnTo>
                  <a:pt x="293" y="942"/>
                </a:lnTo>
                <a:lnTo>
                  <a:pt x="290" y="944"/>
                </a:lnTo>
                <a:lnTo>
                  <a:pt x="286" y="946"/>
                </a:lnTo>
                <a:lnTo>
                  <a:pt x="280" y="950"/>
                </a:lnTo>
                <a:lnTo>
                  <a:pt x="276" y="952"/>
                </a:lnTo>
                <a:lnTo>
                  <a:pt x="270" y="954"/>
                </a:lnTo>
                <a:lnTo>
                  <a:pt x="267" y="957"/>
                </a:lnTo>
                <a:lnTo>
                  <a:pt x="261" y="959"/>
                </a:lnTo>
                <a:lnTo>
                  <a:pt x="255" y="963"/>
                </a:lnTo>
                <a:lnTo>
                  <a:pt x="251" y="965"/>
                </a:lnTo>
                <a:lnTo>
                  <a:pt x="246" y="967"/>
                </a:lnTo>
                <a:lnTo>
                  <a:pt x="240" y="969"/>
                </a:lnTo>
                <a:lnTo>
                  <a:pt x="234" y="969"/>
                </a:lnTo>
                <a:lnTo>
                  <a:pt x="230" y="969"/>
                </a:lnTo>
                <a:lnTo>
                  <a:pt x="230" y="969"/>
                </a:lnTo>
                <a:lnTo>
                  <a:pt x="223" y="969"/>
                </a:lnTo>
                <a:lnTo>
                  <a:pt x="217" y="967"/>
                </a:lnTo>
                <a:lnTo>
                  <a:pt x="211" y="967"/>
                </a:lnTo>
                <a:lnTo>
                  <a:pt x="208" y="963"/>
                </a:lnTo>
                <a:lnTo>
                  <a:pt x="204" y="961"/>
                </a:lnTo>
                <a:lnTo>
                  <a:pt x="200" y="957"/>
                </a:lnTo>
                <a:lnTo>
                  <a:pt x="196" y="954"/>
                </a:lnTo>
                <a:lnTo>
                  <a:pt x="192" y="950"/>
                </a:lnTo>
                <a:lnTo>
                  <a:pt x="188" y="946"/>
                </a:lnTo>
                <a:lnTo>
                  <a:pt x="185" y="944"/>
                </a:lnTo>
                <a:lnTo>
                  <a:pt x="181" y="940"/>
                </a:lnTo>
                <a:lnTo>
                  <a:pt x="179" y="936"/>
                </a:lnTo>
                <a:lnTo>
                  <a:pt x="175" y="934"/>
                </a:lnTo>
                <a:lnTo>
                  <a:pt x="171" y="933"/>
                </a:lnTo>
                <a:lnTo>
                  <a:pt x="166" y="933"/>
                </a:lnTo>
                <a:lnTo>
                  <a:pt x="162" y="931"/>
                </a:lnTo>
                <a:lnTo>
                  <a:pt x="162" y="931"/>
                </a:lnTo>
                <a:lnTo>
                  <a:pt x="158" y="931"/>
                </a:lnTo>
                <a:lnTo>
                  <a:pt x="154" y="929"/>
                </a:lnTo>
                <a:lnTo>
                  <a:pt x="152" y="925"/>
                </a:lnTo>
                <a:lnTo>
                  <a:pt x="148" y="923"/>
                </a:lnTo>
                <a:lnTo>
                  <a:pt x="147" y="919"/>
                </a:lnTo>
                <a:lnTo>
                  <a:pt x="145" y="915"/>
                </a:lnTo>
                <a:lnTo>
                  <a:pt x="141" y="913"/>
                </a:lnTo>
                <a:lnTo>
                  <a:pt x="137" y="913"/>
                </a:lnTo>
                <a:lnTo>
                  <a:pt x="137" y="913"/>
                </a:lnTo>
                <a:lnTo>
                  <a:pt x="135" y="913"/>
                </a:lnTo>
                <a:lnTo>
                  <a:pt x="131" y="915"/>
                </a:lnTo>
                <a:lnTo>
                  <a:pt x="129" y="917"/>
                </a:lnTo>
                <a:lnTo>
                  <a:pt x="127" y="919"/>
                </a:lnTo>
                <a:lnTo>
                  <a:pt x="126" y="921"/>
                </a:lnTo>
                <a:lnTo>
                  <a:pt x="124" y="925"/>
                </a:lnTo>
                <a:lnTo>
                  <a:pt x="122" y="927"/>
                </a:lnTo>
                <a:lnTo>
                  <a:pt x="120" y="929"/>
                </a:lnTo>
                <a:lnTo>
                  <a:pt x="120" y="908"/>
                </a:lnTo>
                <a:lnTo>
                  <a:pt x="120" y="908"/>
                </a:lnTo>
                <a:lnTo>
                  <a:pt x="122" y="906"/>
                </a:lnTo>
                <a:lnTo>
                  <a:pt x="122" y="902"/>
                </a:lnTo>
                <a:lnTo>
                  <a:pt x="124" y="900"/>
                </a:lnTo>
                <a:lnTo>
                  <a:pt x="126" y="896"/>
                </a:lnTo>
                <a:lnTo>
                  <a:pt x="127" y="894"/>
                </a:lnTo>
                <a:lnTo>
                  <a:pt x="127" y="891"/>
                </a:lnTo>
                <a:lnTo>
                  <a:pt x="129" y="889"/>
                </a:lnTo>
                <a:lnTo>
                  <a:pt x="129" y="887"/>
                </a:lnTo>
                <a:lnTo>
                  <a:pt x="129" y="887"/>
                </a:lnTo>
                <a:lnTo>
                  <a:pt x="127" y="877"/>
                </a:lnTo>
                <a:lnTo>
                  <a:pt x="124" y="870"/>
                </a:lnTo>
                <a:lnTo>
                  <a:pt x="118" y="864"/>
                </a:lnTo>
                <a:lnTo>
                  <a:pt x="112" y="856"/>
                </a:lnTo>
                <a:lnTo>
                  <a:pt x="105" y="851"/>
                </a:lnTo>
                <a:lnTo>
                  <a:pt x="99" y="845"/>
                </a:lnTo>
                <a:lnTo>
                  <a:pt x="95" y="837"/>
                </a:lnTo>
                <a:lnTo>
                  <a:pt x="93" y="828"/>
                </a:lnTo>
                <a:lnTo>
                  <a:pt x="93" y="828"/>
                </a:lnTo>
                <a:lnTo>
                  <a:pt x="95" y="822"/>
                </a:lnTo>
                <a:lnTo>
                  <a:pt x="97" y="816"/>
                </a:lnTo>
                <a:lnTo>
                  <a:pt x="103" y="812"/>
                </a:lnTo>
                <a:lnTo>
                  <a:pt x="106" y="807"/>
                </a:lnTo>
                <a:lnTo>
                  <a:pt x="112" y="801"/>
                </a:lnTo>
                <a:lnTo>
                  <a:pt x="116" y="795"/>
                </a:lnTo>
                <a:lnTo>
                  <a:pt x="118" y="788"/>
                </a:lnTo>
                <a:lnTo>
                  <a:pt x="120" y="780"/>
                </a:lnTo>
                <a:lnTo>
                  <a:pt x="120" y="780"/>
                </a:lnTo>
                <a:lnTo>
                  <a:pt x="120" y="772"/>
                </a:lnTo>
                <a:lnTo>
                  <a:pt x="120" y="763"/>
                </a:lnTo>
                <a:lnTo>
                  <a:pt x="120" y="755"/>
                </a:lnTo>
                <a:lnTo>
                  <a:pt x="118" y="746"/>
                </a:lnTo>
                <a:lnTo>
                  <a:pt x="116" y="738"/>
                </a:lnTo>
                <a:lnTo>
                  <a:pt x="114" y="730"/>
                </a:lnTo>
                <a:lnTo>
                  <a:pt x="110" y="723"/>
                </a:lnTo>
                <a:lnTo>
                  <a:pt x="106" y="715"/>
                </a:lnTo>
                <a:lnTo>
                  <a:pt x="106" y="715"/>
                </a:lnTo>
                <a:lnTo>
                  <a:pt x="101" y="709"/>
                </a:lnTo>
                <a:lnTo>
                  <a:pt x="95" y="704"/>
                </a:lnTo>
                <a:lnTo>
                  <a:pt x="91" y="698"/>
                </a:lnTo>
                <a:lnTo>
                  <a:pt x="85" y="692"/>
                </a:lnTo>
                <a:lnTo>
                  <a:pt x="80" y="686"/>
                </a:lnTo>
                <a:lnTo>
                  <a:pt x="74" y="679"/>
                </a:lnTo>
                <a:lnTo>
                  <a:pt x="68" y="673"/>
                </a:lnTo>
                <a:lnTo>
                  <a:pt x="63" y="665"/>
                </a:lnTo>
                <a:lnTo>
                  <a:pt x="59" y="660"/>
                </a:lnTo>
                <a:lnTo>
                  <a:pt x="53" y="652"/>
                </a:lnTo>
                <a:lnTo>
                  <a:pt x="49" y="645"/>
                </a:lnTo>
                <a:lnTo>
                  <a:pt x="45" y="637"/>
                </a:lnTo>
                <a:lnTo>
                  <a:pt x="42" y="629"/>
                </a:lnTo>
                <a:lnTo>
                  <a:pt x="38" y="620"/>
                </a:lnTo>
                <a:lnTo>
                  <a:pt x="36" y="612"/>
                </a:lnTo>
                <a:lnTo>
                  <a:pt x="34" y="604"/>
                </a:lnTo>
                <a:lnTo>
                  <a:pt x="34" y="604"/>
                </a:lnTo>
                <a:lnTo>
                  <a:pt x="32" y="591"/>
                </a:lnTo>
                <a:lnTo>
                  <a:pt x="28" y="582"/>
                </a:lnTo>
                <a:lnTo>
                  <a:pt x="26" y="572"/>
                </a:lnTo>
                <a:lnTo>
                  <a:pt x="24" y="562"/>
                </a:lnTo>
                <a:lnTo>
                  <a:pt x="23" y="555"/>
                </a:lnTo>
                <a:lnTo>
                  <a:pt x="19" y="549"/>
                </a:lnTo>
                <a:lnTo>
                  <a:pt x="17" y="543"/>
                </a:lnTo>
                <a:lnTo>
                  <a:pt x="13" y="538"/>
                </a:lnTo>
                <a:lnTo>
                  <a:pt x="11" y="532"/>
                </a:lnTo>
                <a:lnTo>
                  <a:pt x="9" y="528"/>
                </a:lnTo>
                <a:lnTo>
                  <a:pt x="7" y="522"/>
                </a:lnTo>
                <a:lnTo>
                  <a:pt x="5" y="519"/>
                </a:lnTo>
                <a:lnTo>
                  <a:pt x="3" y="513"/>
                </a:lnTo>
                <a:lnTo>
                  <a:pt x="2" y="509"/>
                </a:lnTo>
                <a:lnTo>
                  <a:pt x="0" y="503"/>
                </a:lnTo>
                <a:lnTo>
                  <a:pt x="0" y="496"/>
                </a:lnTo>
                <a:lnTo>
                  <a:pt x="0" y="496"/>
                </a:lnTo>
                <a:lnTo>
                  <a:pt x="5" y="492"/>
                </a:lnTo>
                <a:lnTo>
                  <a:pt x="9" y="486"/>
                </a:lnTo>
                <a:lnTo>
                  <a:pt x="13" y="479"/>
                </a:lnTo>
                <a:lnTo>
                  <a:pt x="15" y="471"/>
                </a:lnTo>
                <a:lnTo>
                  <a:pt x="17" y="463"/>
                </a:lnTo>
                <a:lnTo>
                  <a:pt x="21" y="458"/>
                </a:lnTo>
                <a:lnTo>
                  <a:pt x="26" y="454"/>
                </a:lnTo>
                <a:lnTo>
                  <a:pt x="34" y="452"/>
                </a:lnTo>
                <a:lnTo>
                  <a:pt x="34" y="452"/>
                </a:lnTo>
                <a:lnTo>
                  <a:pt x="44" y="454"/>
                </a:lnTo>
                <a:lnTo>
                  <a:pt x="51" y="459"/>
                </a:lnTo>
                <a:lnTo>
                  <a:pt x="57" y="465"/>
                </a:lnTo>
                <a:lnTo>
                  <a:pt x="61" y="473"/>
                </a:lnTo>
                <a:lnTo>
                  <a:pt x="64" y="480"/>
                </a:lnTo>
                <a:lnTo>
                  <a:pt x="68" y="490"/>
                </a:lnTo>
                <a:lnTo>
                  <a:pt x="72" y="498"/>
                </a:lnTo>
                <a:lnTo>
                  <a:pt x="76" y="503"/>
                </a:lnTo>
                <a:lnTo>
                  <a:pt x="76" y="503"/>
                </a:lnTo>
                <a:lnTo>
                  <a:pt x="80" y="505"/>
                </a:lnTo>
                <a:lnTo>
                  <a:pt x="84" y="509"/>
                </a:lnTo>
                <a:lnTo>
                  <a:pt x="89" y="511"/>
                </a:lnTo>
                <a:lnTo>
                  <a:pt x="95" y="513"/>
                </a:lnTo>
                <a:lnTo>
                  <a:pt x="103" y="515"/>
                </a:lnTo>
                <a:lnTo>
                  <a:pt x="108" y="515"/>
                </a:lnTo>
                <a:lnTo>
                  <a:pt x="116" y="517"/>
                </a:lnTo>
                <a:lnTo>
                  <a:pt x="124" y="517"/>
                </a:lnTo>
                <a:lnTo>
                  <a:pt x="131" y="519"/>
                </a:lnTo>
                <a:lnTo>
                  <a:pt x="139" y="519"/>
                </a:lnTo>
                <a:lnTo>
                  <a:pt x="147" y="519"/>
                </a:lnTo>
                <a:lnTo>
                  <a:pt x="154" y="521"/>
                </a:lnTo>
                <a:lnTo>
                  <a:pt x="162" y="521"/>
                </a:lnTo>
                <a:lnTo>
                  <a:pt x="167" y="521"/>
                </a:lnTo>
                <a:lnTo>
                  <a:pt x="173" y="521"/>
                </a:lnTo>
                <a:lnTo>
                  <a:pt x="179" y="521"/>
                </a:lnTo>
                <a:lnTo>
                  <a:pt x="179" y="521"/>
                </a:lnTo>
                <a:lnTo>
                  <a:pt x="185" y="521"/>
                </a:lnTo>
                <a:lnTo>
                  <a:pt x="188" y="519"/>
                </a:lnTo>
                <a:lnTo>
                  <a:pt x="194" y="517"/>
                </a:lnTo>
                <a:lnTo>
                  <a:pt x="198" y="515"/>
                </a:lnTo>
                <a:lnTo>
                  <a:pt x="202" y="511"/>
                </a:lnTo>
                <a:lnTo>
                  <a:pt x="208" y="509"/>
                </a:lnTo>
                <a:lnTo>
                  <a:pt x="211" y="505"/>
                </a:lnTo>
                <a:lnTo>
                  <a:pt x="215" y="501"/>
                </a:lnTo>
                <a:lnTo>
                  <a:pt x="219" y="500"/>
                </a:lnTo>
                <a:lnTo>
                  <a:pt x="225" y="496"/>
                </a:lnTo>
                <a:lnTo>
                  <a:pt x="229" y="492"/>
                </a:lnTo>
                <a:lnTo>
                  <a:pt x="232" y="490"/>
                </a:lnTo>
                <a:lnTo>
                  <a:pt x="238" y="488"/>
                </a:lnTo>
                <a:lnTo>
                  <a:pt x="244" y="486"/>
                </a:lnTo>
                <a:lnTo>
                  <a:pt x="250" y="484"/>
                </a:lnTo>
                <a:lnTo>
                  <a:pt x="255" y="484"/>
                </a:lnTo>
                <a:lnTo>
                  <a:pt x="255" y="482"/>
                </a:lnTo>
                <a:lnTo>
                  <a:pt x="253" y="213"/>
                </a:lnTo>
                <a:lnTo>
                  <a:pt x="265" y="217"/>
                </a:lnTo>
                <a:lnTo>
                  <a:pt x="265" y="217"/>
                </a:lnTo>
                <a:lnTo>
                  <a:pt x="269" y="219"/>
                </a:lnTo>
                <a:lnTo>
                  <a:pt x="274" y="223"/>
                </a:lnTo>
                <a:lnTo>
                  <a:pt x="278" y="227"/>
                </a:lnTo>
                <a:lnTo>
                  <a:pt x="282" y="231"/>
                </a:lnTo>
                <a:lnTo>
                  <a:pt x="286" y="234"/>
                </a:lnTo>
                <a:lnTo>
                  <a:pt x="290" y="238"/>
                </a:lnTo>
                <a:lnTo>
                  <a:pt x="295" y="242"/>
                </a:lnTo>
                <a:lnTo>
                  <a:pt x="299" y="248"/>
                </a:lnTo>
                <a:lnTo>
                  <a:pt x="301" y="252"/>
                </a:lnTo>
                <a:lnTo>
                  <a:pt x="305" y="257"/>
                </a:lnTo>
                <a:lnTo>
                  <a:pt x="307" y="263"/>
                </a:lnTo>
                <a:lnTo>
                  <a:pt x="311" y="269"/>
                </a:lnTo>
                <a:lnTo>
                  <a:pt x="312" y="276"/>
                </a:lnTo>
                <a:lnTo>
                  <a:pt x="312" y="284"/>
                </a:lnTo>
                <a:lnTo>
                  <a:pt x="314" y="292"/>
                </a:lnTo>
                <a:lnTo>
                  <a:pt x="314" y="299"/>
                </a:lnTo>
                <a:lnTo>
                  <a:pt x="314" y="299"/>
                </a:lnTo>
                <a:lnTo>
                  <a:pt x="314" y="307"/>
                </a:lnTo>
                <a:lnTo>
                  <a:pt x="312" y="314"/>
                </a:lnTo>
                <a:lnTo>
                  <a:pt x="311" y="320"/>
                </a:lnTo>
                <a:lnTo>
                  <a:pt x="307" y="324"/>
                </a:lnTo>
                <a:lnTo>
                  <a:pt x="305" y="328"/>
                </a:lnTo>
                <a:lnTo>
                  <a:pt x="303" y="334"/>
                </a:lnTo>
                <a:lnTo>
                  <a:pt x="301" y="339"/>
                </a:lnTo>
                <a:lnTo>
                  <a:pt x="301" y="347"/>
                </a:lnTo>
                <a:lnTo>
                  <a:pt x="301" y="347"/>
                </a:lnTo>
                <a:lnTo>
                  <a:pt x="301" y="351"/>
                </a:lnTo>
                <a:lnTo>
                  <a:pt x="303" y="355"/>
                </a:lnTo>
                <a:lnTo>
                  <a:pt x="307" y="356"/>
                </a:lnTo>
                <a:lnTo>
                  <a:pt x="312" y="358"/>
                </a:lnTo>
                <a:lnTo>
                  <a:pt x="316" y="358"/>
                </a:lnTo>
                <a:lnTo>
                  <a:pt x="322" y="358"/>
                </a:lnTo>
                <a:lnTo>
                  <a:pt x="328" y="358"/>
                </a:lnTo>
                <a:lnTo>
                  <a:pt x="332" y="360"/>
                </a:lnTo>
                <a:lnTo>
                  <a:pt x="332" y="360"/>
                </a:lnTo>
                <a:lnTo>
                  <a:pt x="341" y="362"/>
                </a:lnTo>
                <a:lnTo>
                  <a:pt x="351" y="364"/>
                </a:lnTo>
                <a:lnTo>
                  <a:pt x="360" y="364"/>
                </a:lnTo>
                <a:lnTo>
                  <a:pt x="370" y="362"/>
                </a:lnTo>
                <a:lnTo>
                  <a:pt x="377" y="360"/>
                </a:lnTo>
                <a:lnTo>
                  <a:pt x="387" y="356"/>
                </a:lnTo>
                <a:lnTo>
                  <a:pt x="394" y="353"/>
                </a:lnTo>
                <a:lnTo>
                  <a:pt x="404" y="349"/>
                </a:lnTo>
                <a:lnTo>
                  <a:pt x="412" y="343"/>
                </a:lnTo>
                <a:lnTo>
                  <a:pt x="419" y="337"/>
                </a:lnTo>
                <a:lnTo>
                  <a:pt x="425" y="332"/>
                </a:lnTo>
                <a:lnTo>
                  <a:pt x="433" y="326"/>
                </a:lnTo>
                <a:lnTo>
                  <a:pt x="438" y="320"/>
                </a:lnTo>
                <a:lnTo>
                  <a:pt x="444" y="314"/>
                </a:lnTo>
                <a:lnTo>
                  <a:pt x="450" y="309"/>
                </a:lnTo>
                <a:lnTo>
                  <a:pt x="454" y="305"/>
                </a:lnTo>
                <a:lnTo>
                  <a:pt x="454" y="305"/>
                </a:lnTo>
                <a:lnTo>
                  <a:pt x="459" y="297"/>
                </a:lnTo>
                <a:lnTo>
                  <a:pt x="463" y="288"/>
                </a:lnTo>
                <a:lnTo>
                  <a:pt x="465" y="280"/>
                </a:lnTo>
                <a:lnTo>
                  <a:pt x="469" y="271"/>
                </a:lnTo>
                <a:lnTo>
                  <a:pt x="473" y="261"/>
                </a:lnTo>
                <a:lnTo>
                  <a:pt x="477" y="255"/>
                </a:lnTo>
                <a:lnTo>
                  <a:pt x="486" y="250"/>
                </a:lnTo>
                <a:lnTo>
                  <a:pt x="497" y="248"/>
                </a:lnTo>
                <a:lnTo>
                  <a:pt x="497" y="248"/>
                </a:lnTo>
                <a:lnTo>
                  <a:pt x="507" y="250"/>
                </a:lnTo>
                <a:lnTo>
                  <a:pt x="515" y="252"/>
                </a:lnTo>
                <a:lnTo>
                  <a:pt x="520" y="255"/>
                </a:lnTo>
                <a:lnTo>
                  <a:pt x="528" y="261"/>
                </a:lnTo>
                <a:lnTo>
                  <a:pt x="534" y="265"/>
                </a:lnTo>
                <a:lnTo>
                  <a:pt x="539" y="271"/>
                </a:lnTo>
                <a:lnTo>
                  <a:pt x="545" y="274"/>
                </a:lnTo>
                <a:lnTo>
                  <a:pt x="551" y="278"/>
                </a:lnTo>
                <a:lnTo>
                  <a:pt x="551" y="278"/>
                </a:lnTo>
                <a:lnTo>
                  <a:pt x="560" y="278"/>
                </a:lnTo>
                <a:lnTo>
                  <a:pt x="570" y="278"/>
                </a:lnTo>
                <a:lnTo>
                  <a:pt x="578" y="278"/>
                </a:lnTo>
                <a:lnTo>
                  <a:pt x="585" y="278"/>
                </a:lnTo>
                <a:lnTo>
                  <a:pt x="593" y="278"/>
                </a:lnTo>
                <a:lnTo>
                  <a:pt x="599" y="278"/>
                </a:lnTo>
                <a:lnTo>
                  <a:pt x="604" y="278"/>
                </a:lnTo>
                <a:lnTo>
                  <a:pt x="608" y="278"/>
                </a:lnTo>
                <a:lnTo>
                  <a:pt x="614" y="278"/>
                </a:lnTo>
                <a:lnTo>
                  <a:pt x="618" y="278"/>
                </a:lnTo>
                <a:lnTo>
                  <a:pt x="621" y="278"/>
                </a:lnTo>
                <a:lnTo>
                  <a:pt x="627" y="278"/>
                </a:lnTo>
                <a:lnTo>
                  <a:pt x="631" y="278"/>
                </a:lnTo>
                <a:lnTo>
                  <a:pt x="635" y="278"/>
                </a:lnTo>
                <a:lnTo>
                  <a:pt x="641" y="278"/>
                </a:lnTo>
                <a:lnTo>
                  <a:pt x="644" y="278"/>
                </a:lnTo>
                <a:lnTo>
                  <a:pt x="644" y="278"/>
                </a:lnTo>
                <a:lnTo>
                  <a:pt x="652" y="278"/>
                </a:lnTo>
                <a:lnTo>
                  <a:pt x="660" y="276"/>
                </a:lnTo>
                <a:lnTo>
                  <a:pt x="665" y="274"/>
                </a:lnTo>
                <a:lnTo>
                  <a:pt x="671" y="272"/>
                </a:lnTo>
                <a:lnTo>
                  <a:pt x="675" y="271"/>
                </a:lnTo>
                <a:lnTo>
                  <a:pt x="679" y="267"/>
                </a:lnTo>
                <a:lnTo>
                  <a:pt x="683" y="263"/>
                </a:lnTo>
                <a:lnTo>
                  <a:pt x="684" y="259"/>
                </a:lnTo>
                <a:lnTo>
                  <a:pt x="688" y="253"/>
                </a:lnTo>
                <a:lnTo>
                  <a:pt x="690" y="248"/>
                </a:lnTo>
                <a:lnTo>
                  <a:pt x="694" y="244"/>
                </a:lnTo>
                <a:lnTo>
                  <a:pt x="696" y="236"/>
                </a:lnTo>
                <a:lnTo>
                  <a:pt x="698" y="231"/>
                </a:lnTo>
                <a:lnTo>
                  <a:pt x="700" y="225"/>
                </a:lnTo>
                <a:lnTo>
                  <a:pt x="702" y="217"/>
                </a:lnTo>
                <a:lnTo>
                  <a:pt x="704" y="210"/>
                </a:lnTo>
                <a:lnTo>
                  <a:pt x="704" y="210"/>
                </a:lnTo>
                <a:lnTo>
                  <a:pt x="707" y="206"/>
                </a:lnTo>
                <a:lnTo>
                  <a:pt x="709" y="204"/>
                </a:lnTo>
                <a:lnTo>
                  <a:pt x="715" y="202"/>
                </a:lnTo>
                <a:lnTo>
                  <a:pt x="719" y="202"/>
                </a:lnTo>
                <a:lnTo>
                  <a:pt x="724" y="202"/>
                </a:lnTo>
                <a:lnTo>
                  <a:pt x="730" y="200"/>
                </a:lnTo>
                <a:lnTo>
                  <a:pt x="734" y="200"/>
                </a:lnTo>
                <a:lnTo>
                  <a:pt x="738" y="198"/>
                </a:lnTo>
                <a:lnTo>
                  <a:pt x="738" y="198"/>
                </a:lnTo>
                <a:lnTo>
                  <a:pt x="744" y="194"/>
                </a:lnTo>
                <a:lnTo>
                  <a:pt x="749" y="190"/>
                </a:lnTo>
                <a:lnTo>
                  <a:pt x="753" y="187"/>
                </a:lnTo>
                <a:lnTo>
                  <a:pt x="757" y="183"/>
                </a:lnTo>
                <a:lnTo>
                  <a:pt x="761" y="179"/>
                </a:lnTo>
                <a:lnTo>
                  <a:pt x="765" y="175"/>
                </a:lnTo>
                <a:lnTo>
                  <a:pt x="768" y="169"/>
                </a:lnTo>
                <a:lnTo>
                  <a:pt x="770" y="166"/>
                </a:lnTo>
                <a:lnTo>
                  <a:pt x="774" y="160"/>
                </a:lnTo>
                <a:lnTo>
                  <a:pt x="776" y="156"/>
                </a:lnTo>
                <a:lnTo>
                  <a:pt x="778" y="150"/>
                </a:lnTo>
                <a:lnTo>
                  <a:pt x="782" y="147"/>
                </a:lnTo>
                <a:lnTo>
                  <a:pt x="784" y="141"/>
                </a:lnTo>
                <a:lnTo>
                  <a:pt x="786" y="137"/>
                </a:lnTo>
                <a:lnTo>
                  <a:pt x="789" y="131"/>
                </a:lnTo>
                <a:lnTo>
                  <a:pt x="793" y="128"/>
                </a:lnTo>
                <a:lnTo>
                  <a:pt x="793" y="128"/>
                </a:lnTo>
                <a:lnTo>
                  <a:pt x="797" y="122"/>
                </a:lnTo>
                <a:lnTo>
                  <a:pt x="803" y="118"/>
                </a:lnTo>
                <a:lnTo>
                  <a:pt x="808" y="116"/>
                </a:lnTo>
                <a:lnTo>
                  <a:pt x="814" y="112"/>
                </a:lnTo>
                <a:lnTo>
                  <a:pt x="818" y="108"/>
                </a:lnTo>
                <a:lnTo>
                  <a:pt x="824" y="107"/>
                </a:lnTo>
                <a:lnTo>
                  <a:pt x="827" y="103"/>
                </a:lnTo>
                <a:lnTo>
                  <a:pt x="831" y="101"/>
                </a:lnTo>
                <a:lnTo>
                  <a:pt x="831" y="101"/>
                </a:lnTo>
                <a:lnTo>
                  <a:pt x="839" y="93"/>
                </a:lnTo>
                <a:lnTo>
                  <a:pt x="845" y="86"/>
                </a:lnTo>
                <a:lnTo>
                  <a:pt x="850" y="78"/>
                </a:lnTo>
                <a:lnTo>
                  <a:pt x="856" y="68"/>
                </a:lnTo>
                <a:lnTo>
                  <a:pt x="862" y="63"/>
                </a:lnTo>
                <a:lnTo>
                  <a:pt x="868" y="55"/>
                </a:lnTo>
                <a:lnTo>
                  <a:pt x="875" y="47"/>
                </a:lnTo>
                <a:lnTo>
                  <a:pt x="885" y="42"/>
                </a:lnTo>
                <a:lnTo>
                  <a:pt x="885" y="42"/>
                </a:lnTo>
                <a:lnTo>
                  <a:pt x="889" y="40"/>
                </a:lnTo>
                <a:lnTo>
                  <a:pt x="892" y="40"/>
                </a:lnTo>
                <a:lnTo>
                  <a:pt x="896" y="40"/>
                </a:lnTo>
                <a:lnTo>
                  <a:pt x="902" y="40"/>
                </a:lnTo>
                <a:lnTo>
                  <a:pt x="908" y="40"/>
                </a:lnTo>
                <a:lnTo>
                  <a:pt x="911" y="40"/>
                </a:lnTo>
                <a:lnTo>
                  <a:pt x="917" y="40"/>
                </a:lnTo>
                <a:lnTo>
                  <a:pt x="921" y="40"/>
                </a:lnTo>
                <a:lnTo>
                  <a:pt x="921" y="40"/>
                </a:lnTo>
                <a:lnTo>
                  <a:pt x="927" y="38"/>
                </a:lnTo>
                <a:lnTo>
                  <a:pt x="932" y="34"/>
                </a:lnTo>
                <a:lnTo>
                  <a:pt x="942" y="28"/>
                </a:lnTo>
                <a:lnTo>
                  <a:pt x="951" y="23"/>
                </a:lnTo>
                <a:lnTo>
                  <a:pt x="959" y="17"/>
                </a:lnTo>
                <a:lnTo>
                  <a:pt x="969" y="11"/>
                </a:lnTo>
                <a:lnTo>
                  <a:pt x="976" y="5"/>
                </a:lnTo>
                <a:lnTo>
                  <a:pt x="982" y="0"/>
                </a:lnTo>
                <a:lnTo>
                  <a:pt x="982" y="0"/>
                </a:lnTo>
                <a:lnTo>
                  <a:pt x="988" y="2"/>
                </a:lnTo>
                <a:lnTo>
                  <a:pt x="995" y="4"/>
                </a:lnTo>
                <a:lnTo>
                  <a:pt x="1003" y="4"/>
                </a:lnTo>
                <a:lnTo>
                  <a:pt x="1011" y="5"/>
                </a:lnTo>
                <a:lnTo>
                  <a:pt x="1018" y="7"/>
                </a:lnTo>
                <a:lnTo>
                  <a:pt x="1026" y="11"/>
                </a:lnTo>
                <a:lnTo>
                  <a:pt x="1030" y="15"/>
                </a:lnTo>
                <a:lnTo>
                  <a:pt x="1035" y="21"/>
                </a:lnTo>
                <a:lnTo>
                  <a:pt x="1035" y="21"/>
                </a:lnTo>
                <a:lnTo>
                  <a:pt x="1045" y="21"/>
                </a:lnTo>
                <a:lnTo>
                  <a:pt x="1053" y="21"/>
                </a:lnTo>
                <a:lnTo>
                  <a:pt x="1060" y="21"/>
                </a:lnTo>
                <a:lnTo>
                  <a:pt x="1066" y="21"/>
                </a:lnTo>
                <a:lnTo>
                  <a:pt x="1072" y="21"/>
                </a:lnTo>
                <a:lnTo>
                  <a:pt x="1075" y="21"/>
                </a:lnTo>
                <a:lnTo>
                  <a:pt x="1081" y="21"/>
                </a:lnTo>
                <a:lnTo>
                  <a:pt x="1085" y="21"/>
                </a:lnTo>
                <a:lnTo>
                  <a:pt x="1087" y="21"/>
                </a:lnTo>
                <a:lnTo>
                  <a:pt x="1091" y="21"/>
                </a:lnTo>
                <a:lnTo>
                  <a:pt x="1095" y="21"/>
                </a:lnTo>
                <a:lnTo>
                  <a:pt x="1096" y="21"/>
                </a:lnTo>
                <a:lnTo>
                  <a:pt x="1100" y="21"/>
                </a:lnTo>
                <a:lnTo>
                  <a:pt x="1104" y="21"/>
                </a:lnTo>
                <a:lnTo>
                  <a:pt x="1108" y="21"/>
                </a:lnTo>
                <a:lnTo>
                  <a:pt x="1112" y="21"/>
                </a:lnTo>
                <a:lnTo>
                  <a:pt x="1114" y="21"/>
                </a:lnTo>
                <a:lnTo>
                  <a:pt x="1114" y="21"/>
                </a:lnTo>
                <a:lnTo>
                  <a:pt x="1114" y="28"/>
                </a:lnTo>
                <a:lnTo>
                  <a:pt x="1114" y="38"/>
                </a:lnTo>
                <a:lnTo>
                  <a:pt x="1116" y="45"/>
                </a:lnTo>
                <a:lnTo>
                  <a:pt x="1117" y="53"/>
                </a:lnTo>
                <a:lnTo>
                  <a:pt x="1119" y="63"/>
                </a:lnTo>
                <a:lnTo>
                  <a:pt x="1121" y="70"/>
                </a:lnTo>
                <a:lnTo>
                  <a:pt x="1123" y="78"/>
                </a:lnTo>
                <a:lnTo>
                  <a:pt x="1125" y="87"/>
                </a:lnTo>
                <a:lnTo>
                  <a:pt x="1125" y="99"/>
                </a:lnTo>
                <a:lnTo>
                  <a:pt x="1125" y="99"/>
                </a:lnTo>
                <a:lnTo>
                  <a:pt x="1127" y="103"/>
                </a:lnTo>
                <a:lnTo>
                  <a:pt x="1129" y="107"/>
                </a:lnTo>
                <a:lnTo>
                  <a:pt x="1131" y="112"/>
                </a:lnTo>
                <a:lnTo>
                  <a:pt x="1135" y="116"/>
                </a:lnTo>
                <a:lnTo>
                  <a:pt x="1137" y="120"/>
                </a:lnTo>
                <a:lnTo>
                  <a:pt x="1138" y="126"/>
                </a:lnTo>
                <a:lnTo>
                  <a:pt x="1140" y="129"/>
                </a:lnTo>
                <a:lnTo>
                  <a:pt x="1142" y="135"/>
                </a:lnTo>
                <a:lnTo>
                  <a:pt x="1144" y="141"/>
                </a:lnTo>
                <a:lnTo>
                  <a:pt x="1146" y="147"/>
                </a:lnTo>
                <a:lnTo>
                  <a:pt x="1148" y="152"/>
                </a:lnTo>
                <a:lnTo>
                  <a:pt x="1150" y="158"/>
                </a:lnTo>
                <a:lnTo>
                  <a:pt x="1150" y="164"/>
                </a:lnTo>
                <a:lnTo>
                  <a:pt x="1152" y="169"/>
                </a:lnTo>
                <a:lnTo>
                  <a:pt x="1152" y="175"/>
                </a:lnTo>
                <a:lnTo>
                  <a:pt x="1152" y="181"/>
                </a:lnTo>
                <a:lnTo>
                  <a:pt x="1152" y="181"/>
                </a:lnTo>
                <a:lnTo>
                  <a:pt x="1152" y="185"/>
                </a:lnTo>
                <a:lnTo>
                  <a:pt x="1152" y="189"/>
                </a:lnTo>
                <a:lnTo>
                  <a:pt x="1152" y="192"/>
                </a:lnTo>
                <a:lnTo>
                  <a:pt x="1152" y="196"/>
                </a:lnTo>
                <a:lnTo>
                  <a:pt x="1152" y="200"/>
                </a:lnTo>
                <a:lnTo>
                  <a:pt x="1152" y="206"/>
                </a:lnTo>
                <a:lnTo>
                  <a:pt x="1152" y="210"/>
                </a:lnTo>
                <a:lnTo>
                  <a:pt x="1152" y="213"/>
                </a:lnTo>
                <a:lnTo>
                  <a:pt x="1152" y="219"/>
                </a:lnTo>
                <a:lnTo>
                  <a:pt x="1150" y="223"/>
                </a:lnTo>
                <a:lnTo>
                  <a:pt x="1150" y="227"/>
                </a:lnTo>
                <a:lnTo>
                  <a:pt x="1150" y="232"/>
                </a:lnTo>
                <a:lnTo>
                  <a:pt x="1148" y="236"/>
                </a:lnTo>
                <a:lnTo>
                  <a:pt x="1148" y="240"/>
                </a:lnTo>
                <a:lnTo>
                  <a:pt x="1146" y="244"/>
                </a:lnTo>
                <a:lnTo>
                  <a:pt x="1144" y="248"/>
                </a:lnTo>
                <a:lnTo>
                  <a:pt x="1144" y="288"/>
                </a:lnTo>
                <a:lnTo>
                  <a:pt x="1138" y="299"/>
                </a:lnTo>
              </a:path>
            </a:pathLst>
          </a:custGeom>
          <a:solidFill>
            <a:schemeClr val="bg2"/>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 name="Freeform 16"/>
          <p:cNvSpPr>
            <a:spLocks/>
          </p:cNvSpPr>
          <p:nvPr/>
        </p:nvSpPr>
        <p:spPr bwMode="auto">
          <a:xfrm>
            <a:off x="3670300" y="5906989"/>
            <a:ext cx="173038" cy="139700"/>
          </a:xfrm>
          <a:custGeom>
            <a:avLst/>
            <a:gdLst>
              <a:gd name="T0" fmla="*/ 66 w 190"/>
              <a:gd name="T1" fmla="*/ 20 h 161"/>
              <a:gd name="T2" fmla="*/ 74 w 190"/>
              <a:gd name="T3" fmla="*/ 14 h 161"/>
              <a:gd name="T4" fmla="*/ 87 w 190"/>
              <a:gd name="T5" fmla="*/ 8 h 161"/>
              <a:gd name="T6" fmla="*/ 103 w 190"/>
              <a:gd name="T7" fmla="*/ 4 h 161"/>
              <a:gd name="T8" fmla="*/ 112 w 190"/>
              <a:gd name="T9" fmla="*/ 0 h 161"/>
              <a:gd name="T10" fmla="*/ 114 w 190"/>
              <a:gd name="T11" fmla="*/ 2 h 161"/>
              <a:gd name="T12" fmla="*/ 124 w 190"/>
              <a:gd name="T13" fmla="*/ 4 h 161"/>
              <a:gd name="T14" fmla="*/ 135 w 190"/>
              <a:gd name="T15" fmla="*/ 6 h 161"/>
              <a:gd name="T16" fmla="*/ 149 w 190"/>
              <a:gd name="T17" fmla="*/ 12 h 161"/>
              <a:gd name="T18" fmla="*/ 162 w 190"/>
              <a:gd name="T19" fmla="*/ 18 h 161"/>
              <a:gd name="T20" fmla="*/ 175 w 190"/>
              <a:gd name="T21" fmla="*/ 23 h 161"/>
              <a:gd name="T22" fmla="*/ 185 w 190"/>
              <a:gd name="T23" fmla="*/ 31 h 161"/>
              <a:gd name="T24" fmla="*/ 190 w 190"/>
              <a:gd name="T25" fmla="*/ 37 h 161"/>
              <a:gd name="T26" fmla="*/ 190 w 190"/>
              <a:gd name="T27" fmla="*/ 40 h 161"/>
              <a:gd name="T28" fmla="*/ 189 w 190"/>
              <a:gd name="T29" fmla="*/ 46 h 161"/>
              <a:gd name="T30" fmla="*/ 185 w 190"/>
              <a:gd name="T31" fmla="*/ 56 h 161"/>
              <a:gd name="T32" fmla="*/ 175 w 190"/>
              <a:gd name="T33" fmla="*/ 69 h 161"/>
              <a:gd name="T34" fmla="*/ 166 w 190"/>
              <a:gd name="T35" fmla="*/ 82 h 161"/>
              <a:gd name="T36" fmla="*/ 156 w 190"/>
              <a:gd name="T37" fmla="*/ 94 h 161"/>
              <a:gd name="T38" fmla="*/ 149 w 190"/>
              <a:gd name="T39" fmla="*/ 105 h 161"/>
              <a:gd name="T40" fmla="*/ 141 w 190"/>
              <a:gd name="T41" fmla="*/ 113 h 161"/>
              <a:gd name="T42" fmla="*/ 137 w 190"/>
              <a:gd name="T43" fmla="*/ 117 h 161"/>
              <a:gd name="T44" fmla="*/ 135 w 190"/>
              <a:gd name="T45" fmla="*/ 119 h 161"/>
              <a:gd name="T46" fmla="*/ 126 w 190"/>
              <a:gd name="T47" fmla="*/ 121 h 161"/>
              <a:gd name="T48" fmla="*/ 116 w 190"/>
              <a:gd name="T49" fmla="*/ 119 h 161"/>
              <a:gd name="T50" fmla="*/ 107 w 190"/>
              <a:gd name="T51" fmla="*/ 119 h 161"/>
              <a:gd name="T52" fmla="*/ 103 w 190"/>
              <a:gd name="T53" fmla="*/ 119 h 161"/>
              <a:gd name="T54" fmla="*/ 91 w 190"/>
              <a:gd name="T55" fmla="*/ 128 h 161"/>
              <a:gd name="T56" fmla="*/ 84 w 190"/>
              <a:gd name="T57" fmla="*/ 144 h 161"/>
              <a:gd name="T58" fmla="*/ 76 w 190"/>
              <a:gd name="T59" fmla="*/ 155 h 161"/>
              <a:gd name="T60" fmla="*/ 61 w 190"/>
              <a:gd name="T61" fmla="*/ 161 h 161"/>
              <a:gd name="T62" fmla="*/ 55 w 190"/>
              <a:gd name="T63" fmla="*/ 161 h 161"/>
              <a:gd name="T64" fmla="*/ 46 w 190"/>
              <a:gd name="T65" fmla="*/ 155 h 161"/>
              <a:gd name="T66" fmla="*/ 36 w 190"/>
              <a:gd name="T67" fmla="*/ 147 h 161"/>
              <a:gd name="T68" fmla="*/ 26 w 190"/>
              <a:gd name="T69" fmla="*/ 136 h 161"/>
              <a:gd name="T70" fmla="*/ 19 w 190"/>
              <a:gd name="T71" fmla="*/ 123 h 161"/>
              <a:gd name="T72" fmla="*/ 13 w 190"/>
              <a:gd name="T73" fmla="*/ 107 h 161"/>
              <a:gd name="T74" fmla="*/ 7 w 190"/>
              <a:gd name="T75" fmla="*/ 96 h 161"/>
              <a:gd name="T76" fmla="*/ 2 w 190"/>
              <a:gd name="T77" fmla="*/ 84 h 161"/>
              <a:gd name="T78" fmla="*/ 17 w 190"/>
              <a:gd name="T79" fmla="*/ 75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0" h="161">
                <a:moveTo>
                  <a:pt x="66" y="20"/>
                </a:moveTo>
                <a:lnTo>
                  <a:pt x="66" y="20"/>
                </a:lnTo>
                <a:lnTo>
                  <a:pt x="68" y="18"/>
                </a:lnTo>
                <a:lnTo>
                  <a:pt x="74" y="14"/>
                </a:lnTo>
                <a:lnTo>
                  <a:pt x="80" y="12"/>
                </a:lnTo>
                <a:lnTo>
                  <a:pt x="87" y="8"/>
                </a:lnTo>
                <a:lnTo>
                  <a:pt x="95" y="6"/>
                </a:lnTo>
                <a:lnTo>
                  <a:pt x="103" y="4"/>
                </a:lnTo>
                <a:lnTo>
                  <a:pt x="108" y="2"/>
                </a:lnTo>
                <a:lnTo>
                  <a:pt x="112" y="0"/>
                </a:lnTo>
                <a:lnTo>
                  <a:pt x="112" y="0"/>
                </a:lnTo>
                <a:lnTo>
                  <a:pt x="114" y="2"/>
                </a:lnTo>
                <a:lnTo>
                  <a:pt x="118" y="2"/>
                </a:lnTo>
                <a:lnTo>
                  <a:pt x="124" y="4"/>
                </a:lnTo>
                <a:lnTo>
                  <a:pt x="129" y="4"/>
                </a:lnTo>
                <a:lnTo>
                  <a:pt x="135" y="6"/>
                </a:lnTo>
                <a:lnTo>
                  <a:pt x="141" y="10"/>
                </a:lnTo>
                <a:lnTo>
                  <a:pt x="149" y="12"/>
                </a:lnTo>
                <a:lnTo>
                  <a:pt x="156" y="14"/>
                </a:lnTo>
                <a:lnTo>
                  <a:pt x="162" y="18"/>
                </a:lnTo>
                <a:lnTo>
                  <a:pt x="170" y="20"/>
                </a:lnTo>
                <a:lnTo>
                  <a:pt x="175" y="23"/>
                </a:lnTo>
                <a:lnTo>
                  <a:pt x="181" y="27"/>
                </a:lnTo>
                <a:lnTo>
                  <a:pt x="185" y="31"/>
                </a:lnTo>
                <a:lnTo>
                  <a:pt x="189" y="33"/>
                </a:lnTo>
                <a:lnTo>
                  <a:pt x="190" y="37"/>
                </a:lnTo>
                <a:lnTo>
                  <a:pt x="190" y="40"/>
                </a:lnTo>
                <a:lnTo>
                  <a:pt x="190" y="40"/>
                </a:lnTo>
                <a:lnTo>
                  <a:pt x="190" y="42"/>
                </a:lnTo>
                <a:lnTo>
                  <a:pt x="189" y="46"/>
                </a:lnTo>
                <a:lnTo>
                  <a:pt x="187" y="50"/>
                </a:lnTo>
                <a:lnTo>
                  <a:pt x="185" y="56"/>
                </a:lnTo>
                <a:lnTo>
                  <a:pt x="179" y="61"/>
                </a:lnTo>
                <a:lnTo>
                  <a:pt x="175" y="69"/>
                </a:lnTo>
                <a:lnTo>
                  <a:pt x="171" y="75"/>
                </a:lnTo>
                <a:lnTo>
                  <a:pt x="166" y="82"/>
                </a:lnTo>
                <a:lnTo>
                  <a:pt x="162" y="88"/>
                </a:lnTo>
                <a:lnTo>
                  <a:pt x="156" y="94"/>
                </a:lnTo>
                <a:lnTo>
                  <a:pt x="152" y="100"/>
                </a:lnTo>
                <a:lnTo>
                  <a:pt x="149" y="105"/>
                </a:lnTo>
                <a:lnTo>
                  <a:pt x="145" y="109"/>
                </a:lnTo>
                <a:lnTo>
                  <a:pt x="141" y="113"/>
                </a:lnTo>
                <a:lnTo>
                  <a:pt x="139" y="117"/>
                </a:lnTo>
                <a:lnTo>
                  <a:pt x="137" y="117"/>
                </a:lnTo>
                <a:lnTo>
                  <a:pt x="137" y="117"/>
                </a:lnTo>
                <a:lnTo>
                  <a:pt x="135" y="119"/>
                </a:lnTo>
                <a:lnTo>
                  <a:pt x="129" y="121"/>
                </a:lnTo>
                <a:lnTo>
                  <a:pt x="126" y="121"/>
                </a:lnTo>
                <a:lnTo>
                  <a:pt x="120" y="121"/>
                </a:lnTo>
                <a:lnTo>
                  <a:pt x="116" y="119"/>
                </a:lnTo>
                <a:lnTo>
                  <a:pt x="110" y="119"/>
                </a:lnTo>
                <a:lnTo>
                  <a:pt x="107" y="119"/>
                </a:lnTo>
                <a:lnTo>
                  <a:pt x="103" y="119"/>
                </a:lnTo>
                <a:lnTo>
                  <a:pt x="103" y="119"/>
                </a:lnTo>
                <a:lnTo>
                  <a:pt x="97" y="123"/>
                </a:lnTo>
                <a:lnTo>
                  <a:pt x="91" y="128"/>
                </a:lnTo>
                <a:lnTo>
                  <a:pt x="87" y="136"/>
                </a:lnTo>
                <a:lnTo>
                  <a:pt x="84" y="144"/>
                </a:lnTo>
                <a:lnTo>
                  <a:pt x="80" y="149"/>
                </a:lnTo>
                <a:lnTo>
                  <a:pt x="76" y="155"/>
                </a:lnTo>
                <a:lnTo>
                  <a:pt x="70" y="159"/>
                </a:lnTo>
                <a:lnTo>
                  <a:pt x="61" y="161"/>
                </a:lnTo>
                <a:lnTo>
                  <a:pt x="61" y="161"/>
                </a:lnTo>
                <a:lnTo>
                  <a:pt x="55" y="161"/>
                </a:lnTo>
                <a:lnTo>
                  <a:pt x="51" y="159"/>
                </a:lnTo>
                <a:lnTo>
                  <a:pt x="46" y="155"/>
                </a:lnTo>
                <a:lnTo>
                  <a:pt x="40" y="151"/>
                </a:lnTo>
                <a:lnTo>
                  <a:pt x="36" y="147"/>
                </a:lnTo>
                <a:lnTo>
                  <a:pt x="32" y="142"/>
                </a:lnTo>
                <a:lnTo>
                  <a:pt x="26" y="136"/>
                </a:lnTo>
                <a:lnTo>
                  <a:pt x="23" y="128"/>
                </a:lnTo>
                <a:lnTo>
                  <a:pt x="19" y="123"/>
                </a:lnTo>
                <a:lnTo>
                  <a:pt x="17" y="115"/>
                </a:lnTo>
                <a:lnTo>
                  <a:pt x="13" y="107"/>
                </a:lnTo>
                <a:lnTo>
                  <a:pt x="9" y="102"/>
                </a:lnTo>
                <a:lnTo>
                  <a:pt x="7" y="96"/>
                </a:lnTo>
                <a:lnTo>
                  <a:pt x="5" y="90"/>
                </a:lnTo>
                <a:lnTo>
                  <a:pt x="2" y="84"/>
                </a:lnTo>
                <a:lnTo>
                  <a:pt x="0" y="81"/>
                </a:lnTo>
                <a:lnTo>
                  <a:pt x="17" y="75"/>
                </a:lnTo>
                <a:lnTo>
                  <a:pt x="66" y="20"/>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 name="Freeform 17"/>
          <p:cNvSpPr>
            <a:spLocks/>
          </p:cNvSpPr>
          <p:nvPr/>
        </p:nvSpPr>
        <p:spPr bwMode="auto">
          <a:xfrm>
            <a:off x="2647950" y="5121177"/>
            <a:ext cx="949325" cy="801688"/>
          </a:xfrm>
          <a:custGeom>
            <a:avLst/>
            <a:gdLst>
              <a:gd name="T0" fmla="*/ 80 w 1057"/>
              <a:gd name="T1" fmla="*/ 189 h 918"/>
              <a:gd name="T2" fmla="*/ 132 w 1057"/>
              <a:gd name="T3" fmla="*/ 276 h 918"/>
              <a:gd name="T4" fmla="*/ 187 w 1057"/>
              <a:gd name="T5" fmla="*/ 362 h 918"/>
              <a:gd name="T6" fmla="*/ 215 w 1057"/>
              <a:gd name="T7" fmla="*/ 410 h 918"/>
              <a:gd name="T8" fmla="*/ 235 w 1057"/>
              <a:gd name="T9" fmla="*/ 427 h 918"/>
              <a:gd name="T10" fmla="*/ 248 w 1057"/>
              <a:gd name="T11" fmla="*/ 456 h 918"/>
              <a:gd name="T12" fmla="*/ 214 w 1057"/>
              <a:gd name="T13" fmla="*/ 486 h 918"/>
              <a:gd name="T14" fmla="*/ 214 w 1057"/>
              <a:gd name="T15" fmla="*/ 486 h 918"/>
              <a:gd name="T16" fmla="*/ 223 w 1057"/>
              <a:gd name="T17" fmla="*/ 555 h 918"/>
              <a:gd name="T18" fmla="*/ 235 w 1057"/>
              <a:gd name="T19" fmla="*/ 584 h 918"/>
              <a:gd name="T20" fmla="*/ 244 w 1057"/>
              <a:gd name="T21" fmla="*/ 612 h 918"/>
              <a:gd name="T22" fmla="*/ 248 w 1057"/>
              <a:gd name="T23" fmla="*/ 631 h 918"/>
              <a:gd name="T24" fmla="*/ 248 w 1057"/>
              <a:gd name="T25" fmla="*/ 650 h 918"/>
              <a:gd name="T26" fmla="*/ 248 w 1057"/>
              <a:gd name="T27" fmla="*/ 671 h 918"/>
              <a:gd name="T28" fmla="*/ 263 w 1057"/>
              <a:gd name="T29" fmla="*/ 700 h 918"/>
              <a:gd name="T30" fmla="*/ 277 w 1057"/>
              <a:gd name="T31" fmla="*/ 774 h 918"/>
              <a:gd name="T32" fmla="*/ 303 w 1057"/>
              <a:gd name="T33" fmla="*/ 820 h 918"/>
              <a:gd name="T34" fmla="*/ 339 w 1057"/>
              <a:gd name="T35" fmla="*/ 860 h 918"/>
              <a:gd name="T36" fmla="*/ 378 w 1057"/>
              <a:gd name="T37" fmla="*/ 893 h 918"/>
              <a:gd name="T38" fmla="*/ 393 w 1057"/>
              <a:gd name="T39" fmla="*/ 868 h 918"/>
              <a:gd name="T40" fmla="*/ 412 w 1057"/>
              <a:gd name="T41" fmla="*/ 849 h 918"/>
              <a:gd name="T42" fmla="*/ 442 w 1057"/>
              <a:gd name="T43" fmla="*/ 877 h 918"/>
              <a:gd name="T44" fmla="*/ 458 w 1057"/>
              <a:gd name="T45" fmla="*/ 902 h 918"/>
              <a:gd name="T46" fmla="*/ 486 w 1057"/>
              <a:gd name="T47" fmla="*/ 912 h 918"/>
              <a:gd name="T48" fmla="*/ 525 w 1057"/>
              <a:gd name="T49" fmla="*/ 916 h 918"/>
              <a:gd name="T50" fmla="*/ 557 w 1057"/>
              <a:gd name="T51" fmla="*/ 918 h 918"/>
              <a:gd name="T52" fmla="*/ 576 w 1057"/>
              <a:gd name="T53" fmla="*/ 912 h 918"/>
              <a:gd name="T54" fmla="*/ 597 w 1057"/>
              <a:gd name="T55" fmla="*/ 897 h 918"/>
              <a:gd name="T56" fmla="*/ 622 w 1057"/>
              <a:gd name="T57" fmla="*/ 883 h 918"/>
              <a:gd name="T58" fmla="*/ 631 w 1057"/>
              <a:gd name="T59" fmla="*/ 391 h 918"/>
              <a:gd name="T60" fmla="*/ 893 w 1057"/>
              <a:gd name="T61" fmla="*/ 70 h 918"/>
              <a:gd name="T62" fmla="*/ 916 w 1057"/>
              <a:gd name="T63" fmla="*/ 88 h 918"/>
              <a:gd name="T64" fmla="*/ 933 w 1057"/>
              <a:gd name="T65" fmla="*/ 99 h 918"/>
              <a:gd name="T66" fmla="*/ 954 w 1057"/>
              <a:gd name="T67" fmla="*/ 82 h 918"/>
              <a:gd name="T68" fmla="*/ 975 w 1057"/>
              <a:gd name="T69" fmla="*/ 67 h 918"/>
              <a:gd name="T70" fmla="*/ 1009 w 1057"/>
              <a:gd name="T71" fmla="*/ 61 h 918"/>
              <a:gd name="T72" fmla="*/ 1034 w 1057"/>
              <a:gd name="T73" fmla="*/ 61 h 918"/>
              <a:gd name="T74" fmla="*/ 1057 w 1057"/>
              <a:gd name="T75" fmla="*/ 61 h 918"/>
              <a:gd name="T76" fmla="*/ 1028 w 1057"/>
              <a:gd name="T77" fmla="*/ 40 h 918"/>
              <a:gd name="T78" fmla="*/ 994 w 1057"/>
              <a:gd name="T79" fmla="*/ 34 h 918"/>
              <a:gd name="T80" fmla="*/ 950 w 1057"/>
              <a:gd name="T81" fmla="*/ 38 h 918"/>
              <a:gd name="T82" fmla="*/ 906 w 1057"/>
              <a:gd name="T83" fmla="*/ 44 h 918"/>
              <a:gd name="T84" fmla="*/ 864 w 1057"/>
              <a:gd name="T85" fmla="*/ 51 h 918"/>
              <a:gd name="T86" fmla="*/ 822 w 1057"/>
              <a:gd name="T87" fmla="*/ 61 h 918"/>
              <a:gd name="T88" fmla="*/ 776 w 1057"/>
              <a:gd name="T89" fmla="*/ 67 h 918"/>
              <a:gd name="T90" fmla="*/ 729 w 1057"/>
              <a:gd name="T91" fmla="*/ 70 h 918"/>
              <a:gd name="T92" fmla="*/ 685 w 1057"/>
              <a:gd name="T93" fmla="*/ 70 h 918"/>
              <a:gd name="T94" fmla="*/ 624 w 1057"/>
              <a:gd name="T95" fmla="*/ 67 h 918"/>
              <a:gd name="T96" fmla="*/ 568 w 1057"/>
              <a:gd name="T97" fmla="*/ 57 h 918"/>
              <a:gd name="T98" fmla="*/ 536 w 1057"/>
              <a:gd name="T99" fmla="*/ 48 h 918"/>
              <a:gd name="T100" fmla="*/ 519 w 1057"/>
              <a:gd name="T101" fmla="*/ 32 h 918"/>
              <a:gd name="T102" fmla="*/ 168 w 1057"/>
              <a:gd name="T103" fmla="*/ 23 h 918"/>
              <a:gd name="T104" fmla="*/ 135 w 1057"/>
              <a:gd name="T105" fmla="*/ 2 h 918"/>
              <a:gd name="T106" fmla="*/ 97 w 1057"/>
              <a:gd name="T107" fmla="*/ 2 h 918"/>
              <a:gd name="T108" fmla="*/ 63 w 1057"/>
              <a:gd name="T109" fmla="*/ 11 h 918"/>
              <a:gd name="T110" fmla="*/ 34 w 1057"/>
              <a:gd name="T111" fmla="*/ 9 h 918"/>
              <a:gd name="T112" fmla="*/ 0 w 1057"/>
              <a:gd name="T113" fmla="*/ 11 h 918"/>
              <a:gd name="T114" fmla="*/ 11 w 1057"/>
              <a:gd name="T115" fmla="*/ 65 h 918"/>
              <a:gd name="T116" fmla="*/ 29 w 1057"/>
              <a:gd name="T117" fmla="*/ 93 h 918"/>
              <a:gd name="T118" fmla="*/ 44 w 1057"/>
              <a:gd name="T119" fmla="*/ 12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57" h="918">
                <a:moveTo>
                  <a:pt x="59" y="141"/>
                </a:moveTo>
                <a:lnTo>
                  <a:pt x="59" y="141"/>
                </a:lnTo>
                <a:lnTo>
                  <a:pt x="65" y="156"/>
                </a:lnTo>
                <a:lnTo>
                  <a:pt x="72" y="173"/>
                </a:lnTo>
                <a:lnTo>
                  <a:pt x="80" y="189"/>
                </a:lnTo>
                <a:lnTo>
                  <a:pt x="90" y="206"/>
                </a:lnTo>
                <a:lnTo>
                  <a:pt x="99" y="223"/>
                </a:lnTo>
                <a:lnTo>
                  <a:pt x="111" y="242"/>
                </a:lnTo>
                <a:lnTo>
                  <a:pt x="120" y="259"/>
                </a:lnTo>
                <a:lnTo>
                  <a:pt x="132" y="276"/>
                </a:lnTo>
                <a:lnTo>
                  <a:pt x="143" y="296"/>
                </a:lnTo>
                <a:lnTo>
                  <a:pt x="154" y="313"/>
                </a:lnTo>
                <a:lnTo>
                  <a:pt x="166" y="330"/>
                </a:lnTo>
                <a:lnTo>
                  <a:pt x="177" y="347"/>
                </a:lnTo>
                <a:lnTo>
                  <a:pt x="187" y="362"/>
                </a:lnTo>
                <a:lnTo>
                  <a:pt x="196" y="380"/>
                </a:lnTo>
                <a:lnTo>
                  <a:pt x="206" y="395"/>
                </a:lnTo>
                <a:lnTo>
                  <a:pt x="214" y="410"/>
                </a:lnTo>
                <a:lnTo>
                  <a:pt x="214" y="410"/>
                </a:lnTo>
                <a:lnTo>
                  <a:pt x="215" y="410"/>
                </a:lnTo>
                <a:lnTo>
                  <a:pt x="217" y="412"/>
                </a:lnTo>
                <a:lnTo>
                  <a:pt x="221" y="414"/>
                </a:lnTo>
                <a:lnTo>
                  <a:pt x="225" y="418"/>
                </a:lnTo>
                <a:lnTo>
                  <a:pt x="231" y="421"/>
                </a:lnTo>
                <a:lnTo>
                  <a:pt x="235" y="427"/>
                </a:lnTo>
                <a:lnTo>
                  <a:pt x="238" y="431"/>
                </a:lnTo>
                <a:lnTo>
                  <a:pt x="244" y="439"/>
                </a:lnTo>
                <a:lnTo>
                  <a:pt x="246" y="444"/>
                </a:lnTo>
                <a:lnTo>
                  <a:pt x="248" y="450"/>
                </a:lnTo>
                <a:lnTo>
                  <a:pt x="248" y="456"/>
                </a:lnTo>
                <a:lnTo>
                  <a:pt x="248" y="463"/>
                </a:lnTo>
                <a:lnTo>
                  <a:pt x="242" y="469"/>
                </a:lnTo>
                <a:lnTo>
                  <a:pt x="236" y="475"/>
                </a:lnTo>
                <a:lnTo>
                  <a:pt x="227" y="481"/>
                </a:lnTo>
                <a:lnTo>
                  <a:pt x="214" y="486"/>
                </a:lnTo>
                <a:lnTo>
                  <a:pt x="214" y="486"/>
                </a:lnTo>
                <a:lnTo>
                  <a:pt x="214" y="486"/>
                </a:lnTo>
                <a:lnTo>
                  <a:pt x="214" y="486"/>
                </a:lnTo>
                <a:lnTo>
                  <a:pt x="214" y="486"/>
                </a:lnTo>
                <a:lnTo>
                  <a:pt x="214" y="486"/>
                </a:lnTo>
                <a:lnTo>
                  <a:pt x="217" y="486"/>
                </a:lnTo>
                <a:lnTo>
                  <a:pt x="217" y="545"/>
                </a:lnTo>
                <a:lnTo>
                  <a:pt x="217" y="545"/>
                </a:lnTo>
                <a:lnTo>
                  <a:pt x="219" y="549"/>
                </a:lnTo>
                <a:lnTo>
                  <a:pt x="223" y="555"/>
                </a:lnTo>
                <a:lnTo>
                  <a:pt x="225" y="561"/>
                </a:lnTo>
                <a:lnTo>
                  <a:pt x="227" y="566"/>
                </a:lnTo>
                <a:lnTo>
                  <a:pt x="231" y="572"/>
                </a:lnTo>
                <a:lnTo>
                  <a:pt x="233" y="578"/>
                </a:lnTo>
                <a:lnTo>
                  <a:pt x="235" y="584"/>
                </a:lnTo>
                <a:lnTo>
                  <a:pt x="236" y="589"/>
                </a:lnTo>
                <a:lnTo>
                  <a:pt x="238" y="595"/>
                </a:lnTo>
                <a:lnTo>
                  <a:pt x="242" y="601"/>
                </a:lnTo>
                <a:lnTo>
                  <a:pt x="242" y="607"/>
                </a:lnTo>
                <a:lnTo>
                  <a:pt x="244" y="612"/>
                </a:lnTo>
                <a:lnTo>
                  <a:pt x="246" y="616"/>
                </a:lnTo>
                <a:lnTo>
                  <a:pt x="246" y="622"/>
                </a:lnTo>
                <a:lnTo>
                  <a:pt x="248" y="628"/>
                </a:lnTo>
                <a:lnTo>
                  <a:pt x="248" y="631"/>
                </a:lnTo>
                <a:lnTo>
                  <a:pt x="248" y="631"/>
                </a:lnTo>
                <a:lnTo>
                  <a:pt x="248" y="635"/>
                </a:lnTo>
                <a:lnTo>
                  <a:pt x="248" y="639"/>
                </a:lnTo>
                <a:lnTo>
                  <a:pt x="248" y="641"/>
                </a:lnTo>
                <a:lnTo>
                  <a:pt x="248" y="645"/>
                </a:lnTo>
                <a:lnTo>
                  <a:pt x="248" y="650"/>
                </a:lnTo>
                <a:lnTo>
                  <a:pt x="248" y="654"/>
                </a:lnTo>
                <a:lnTo>
                  <a:pt x="248" y="660"/>
                </a:lnTo>
                <a:lnTo>
                  <a:pt x="248" y="666"/>
                </a:lnTo>
                <a:lnTo>
                  <a:pt x="248" y="666"/>
                </a:lnTo>
                <a:lnTo>
                  <a:pt x="248" y="671"/>
                </a:lnTo>
                <a:lnTo>
                  <a:pt x="250" y="677"/>
                </a:lnTo>
                <a:lnTo>
                  <a:pt x="252" y="685"/>
                </a:lnTo>
                <a:lnTo>
                  <a:pt x="256" y="690"/>
                </a:lnTo>
                <a:lnTo>
                  <a:pt x="259" y="696"/>
                </a:lnTo>
                <a:lnTo>
                  <a:pt x="263" y="700"/>
                </a:lnTo>
                <a:lnTo>
                  <a:pt x="267" y="706"/>
                </a:lnTo>
                <a:lnTo>
                  <a:pt x="271" y="708"/>
                </a:lnTo>
                <a:lnTo>
                  <a:pt x="271" y="763"/>
                </a:lnTo>
                <a:lnTo>
                  <a:pt x="271" y="763"/>
                </a:lnTo>
                <a:lnTo>
                  <a:pt x="277" y="774"/>
                </a:lnTo>
                <a:lnTo>
                  <a:pt x="280" y="784"/>
                </a:lnTo>
                <a:lnTo>
                  <a:pt x="286" y="793"/>
                </a:lnTo>
                <a:lnTo>
                  <a:pt x="292" y="803"/>
                </a:lnTo>
                <a:lnTo>
                  <a:pt x="298" y="811"/>
                </a:lnTo>
                <a:lnTo>
                  <a:pt x="303" y="820"/>
                </a:lnTo>
                <a:lnTo>
                  <a:pt x="311" y="828"/>
                </a:lnTo>
                <a:lnTo>
                  <a:pt x="317" y="837"/>
                </a:lnTo>
                <a:lnTo>
                  <a:pt x="324" y="845"/>
                </a:lnTo>
                <a:lnTo>
                  <a:pt x="332" y="853"/>
                </a:lnTo>
                <a:lnTo>
                  <a:pt x="339" y="860"/>
                </a:lnTo>
                <a:lnTo>
                  <a:pt x="347" y="868"/>
                </a:lnTo>
                <a:lnTo>
                  <a:pt x="353" y="874"/>
                </a:lnTo>
                <a:lnTo>
                  <a:pt x="362" y="881"/>
                </a:lnTo>
                <a:lnTo>
                  <a:pt x="370" y="887"/>
                </a:lnTo>
                <a:lnTo>
                  <a:pt x="378" y="893"/>
                </a:lnTo>
                <a:lnTo>
                  <a:pt x="378" y="893"/>
                </a:lnTo>
                <a:lnTo>
                  <a:pt x="383" y="889"/>
                </a:lnTo>
                <a:lnTo>
                  <a:pt x="387" y="883"/>
                </a:lnTo>
                <a:lnTo>
                  <a:pt x="391" y="876"/>
                </a:lnTo>
                <a:lnTo>
                  <a:pt x="393" y="868"/>
                </a:lnTo>
                <a:lnTo>
                  <a:pt x="395" y="860"/>
                </a:lnTo>
                <a:lnTo>
                  <a:pt x="399" y="855"/>
                </a:lnTo>
                <a:lnTo>
                  <a:pt x="404" y="851"/>
                </a:lnTo>
                <a:lnTo>
                  <a:pt x="412" y="849"/>
                </a:lnTo>
                <a:lnTo>
                  <a:pt x="412" y="849"/>
                </a:lnTo>
                <a:lnTo>
                  <a:pt x="422" y="851"/>
                </a:lnTo>
                <a:lnTo>
                  <a:pt x="429" y="856"/>
                </a:lnTo>
                <a:lnTo>
                  <a:pt x="435" y="862"/>
                </a:lnTo>
                <a:lnTo>
                  <a:pt x="439" y="870"/>
                </a:lnTo>
                <a:lnTo>
                  <a:pt x="442" y="877"/>
                </a:lnTo>
                <a:lnTo>
                  <a:pt x="446" y="887"/>
                </a:lnTo>
                <a:lnTo>
                  <a:pt x="450" y="895"/>
                </a:lnTo>
                <a:lnTo>
                  <a:pt x="454" y="900"/>
                </a:lnTo>
                <a:lnTo>
                  <a:pt x="454" y="900"/>
                </a:lnTo>
                <a:lnTo>
                  <a:pt x="458" y="902"/>
                </a:lnTo>
                <a:lnTo>
                  <a:pt x="462" y="906"/>
                </a:lnTo>
                <a:lnTo>
                  <a:pt x="467" y="908"/>
                </a:lnTo>
                <a:lnTo>
                  <a:pt x="473" y="910"/>
                </a:lnTo>
                <a:lnTo>
                  <a:pt x="481" y="912"/>
                </a:lnTo>
                <a:lnTo>
                  <a:pt x="486" y="912"/>
                </a:lnTo>
                <a:lnTo>
                  <a:pt x="494" y="914"/>
                </a:lnTo>
                <a:lnTo>
                  <a:pt x="502" y="914"/>
                </a:lnTo>
                <a:lnTo>
                  <a:pt x="509" y="916"/>
                </a:lnTo>
                <a:lnTo>
                  <a:pt x="517" y="916"/>
                </a:lnTo>
                <a:lnTo>
                  <a:pt x="525" y="916"/>
                </a:lnTo>
                <a:lnTo>
                  <a:pt x="532" y="918"/>
                </a:lnTo>
                <a:lnTo>
                  <a:pt x="540" y="918"/>
                </a:lnTo>
                <a:lnTo>
                  <a:pt x="545" y="918"/>
                </a:lnTo>
                <a:lnTo>
                  <a:pt x="551" y="918"/>
                </a:lnTo>
                <a:lnTo>
                  <a:pt x="557" y="918"/>
                </a:lnTo>
                <a:lnTo>
                  <a:pt x="557" y="918"/>
                </a:lnTo>
                <a:lnTo>
                  <a:pt x="563" y="918"/>
                </a:lnTo>
                <a:lnTo>
                  <a:pt x="566" y="916"/>
                </a:lnTo>
                <a:lnTo>
                  <a:pt x="572" y="914"/>
                </a:lnTo>
                <a:lnTo>
                  <a:pt x="576" y="912"/>
                </a:lnTo>
                <a:lnTo>
                  <a:pt x="580" y="908"/>
                </a:lnTo>
                <a:lnTo>
                  <a:pt x="586" y="906"/>
                </a:lnTo>
                <a:lnTo>
                  <a:pt x="589" y="902"/>
                </a:lnTo>
                <a:lnTo>
                  <a:pt x="593" y="898"/>
                </a:lnTo>
                <a:lnTo>
                  <a:pt x="597" y="897"/>
                </a:lnTo>
                <a:lnTo>
                  <a:pt x="603" y="893"/>
                </a:lnTo>
                <a:lnTo>
                  <a:pt x="607" y="889"/>
                </a:lnTo>
                <a:lnTo>
                  <a:pt x="610" y="887"/>
                </a:lnTo>
                <a:lnTo>
                  <a:pt x="616" y="885"/>
                </a:lnTo>
                <a:lnTo>
                  <a:pt x="622" y="883"/>
                </a:lnTo>
                <a:lnTo>
                  <a:pt x="628" y="881"/>
                </a:lnTo>
                <a:lnTo>
                  <a:pt x="633" y="881"/>
                </a:lnTo>
                <a:lnTo>
                  <a:pt x="633" y="879"/>
                </a:lnTo>
                <a:lnTo>
                  <a:pt x="631" y="610"/>
                </a:lnTo>
                <a:lnTo>
                  <a:pt x="631" y="391"/>
                </a:lnTo>
                <a:lnTo>
                  <a:pt x="713" y="391"/>
                </a:lnTo>
                <a:lnTo>
                  <a:pt x="713" y="93"/>
                </a:lnTo>
                <a:lnTo>
                  <a:pt x="725" y="93"/>
                </a:lnTo>
                <a:lnTo>
                  <a:pt x="893" y="70"/>
                </a:lnTo>
                <a:lnTo>
                  <a:pt x="893" y="70"/>
                </a:lnTo>
                <a:lnTo>
                  <a:pt x="896" y="72"/>
                </a:lnTo>
                <a:lnTo>
                  <a:pt x="902" y="76"/>
                </a:lnTo>
                <a:lnTo>
                  <a:pt x="906" y="80"/>
                </a:lnTo>
                <a:lnTo>
                  <a:pt x="910" y="84"/>
                </a:lnTo>
                <a:lnTo>
                  <a:pt x="916" y="88"/>
                </a:lnTo>
                <a:lnTo>
                  <a:pt x="919" y="93"/>
                </a:lnTo>
                <a:lnTo>
                  <a:pt x="925" y="97"/>
                </a:lnTo>
                <a:lnTo>
                  <a:pt x="929" y="101"/>
                </a:lnTo>
                <a:lnTo>
                  <a:pt x="929" y="101"/>
                </a:lnTo>
                <a:lnTo>
                  <a:pt x="933" y="99"/>
                </a:lnTo>
                <a:lnTo>
                  <a:pt x="938" y="95"/>
                </a:lnTo>
                <a:lnTo>
                  <a:pt x="942" y="91"/>
                </a:lnTo>
                <a:lnTo>
                  <a:pt x="946" y="88"/>
                </a:lnTo>
                <a:lnTo>
                  <a:pt x="950" y="86"/>
                </a:lnTo>
                <a:lnTo>
                  <a:pt x="954" y="82"/>
                </a:lnTo>
                <a:lnTo>
                  <a:pt x="958" y="78"/>
                </a:lnTo>
                <a:lnTo>
                  <a:pt x="961" y="74"/>
                </a:lnTo>
                <a:lnTo>
                  <a:pt x="965" y="72"/>
                </a:lnTo>
                <a:lnTo>
                  <a:pt x="971" y="69"/>
                </a:lnTo>
                <a:lnTo>
                  <a:pt x="975" y="67"/>
                </a:lnTo>
                <a:lnTo>
                  <a:pt x="980" y="65"/>
                </a:lnTo>
                <a:lnTo>
                  <a:pt x="988" y="63"/>
                </a:lnTo>
                <a:lnTo>
                  <a:pt x="994" y="61"/>
                </a:lnTo>
                <a:lnTo>
                  <a:pt x="1001" y="61"/>
                </a:lnTo>
                <a:lnTo>
                  <a:pt x="1009" y="61"/>
                </a:lnTo>
                <a:lnTo>
                  <a:pt x="1009" y="61"/>
                </a:lnTo>
                <a:lnTo>
                  <a:pt x="1015" y="61"/>
                </a:lnTo>
                <a:lnTo>
                  <a:pt x="1022" y="61"/>
                </a:lnTo>
                <a:lnTo>
                  <a:pt x="1028" y="61"/>
                </a:lnTo>
                <a:lnTo>
                  <a:pt x="1034" y="61"/>
                </a:lnTo>
                <a:lnTo>
                  <a:pt x="1040" y="61"/>
                </a:lnTo>
                <a:lnTo>
                  <a:pt x="1045" y="61"/>
                </a:lnTo>
                <a:lnTo>
                  <a:pt x="1051" y="61"/>
                </a:lnTo>
                <a:lnTo>
                  <a:pt x="1057" y="61"/>
                </a:lnTo>
                <a:lnTo>
                  <a:pt x="1057" y="61"/>
                </a:lnTo>
                <a:lnTo>
                  <a:pt x="1051" y="57"/>
                </a:lnTo>
                <a:lnTo>
                  <a:pt x="1045" y="53"/>
                </a:lnTo>
                <a:lnTo>
                  <a:pt x="1040" y="49"/>
                </a:lnTo>
                <a:lnTo>
                  <a:pt x="1034" y="46"/>
                </a:lnTo>
                <a:lnTo>
                  <a:pt x="1028" y="40"/>
                </a:lnTo>
                <a:lnTo>
                  <a:pt x="1022" y="38"/>
                </a:lnTo>
                <a:lnTo>
                  <a:pt x="1013" y="36"/>
                </a:lnTo>
                <a:lnTo>
                  <a:pt x="1003" y="34"/>
                </a:lnTo>
                <a:lnTo>
                  <a:pt x="1003" y="34"/>
                </a:lnTo>
                <a:lnTo>
                  <a:pt x="994" y="34"/>
                </a:lnTo>
                <a:lnTo>
                  <a:pt x="984" y="34"/>
                </a:lnTo>
                <a:lnTo>
                  <a:pt x="975" y="36"/>
                </a:lnTo>
                <a:lnTo>
                  <a:pt x="967" y="36"/>
                </a:lnTo>
                <a:lnTo>
                  <a:pt x="958" y="36"/>
                </a:lnTo>
                <a:lnTo>
                  <a:pt x="950" y="38"/>
                </a:lnTo>
                <a:lnTo>
                  <a:pt x="940" y="40"/>
                </a:lnTo>
                <a:lnTo>
                  <a:pt x="931" y="40"/>
                </a:lnTo>
                <a:lnTo>
                  <a:pt x="923" y="42"/>
                </a:lnTo>
                <a:lnTo>
                  <a:pt x="916" y="42"/>
                </a:lnTo>
                <a:lnTo>
                  <a:pt x="906" y="44"/>
                </a:lnTo>
                <a:lnTo>
                  <a:pt x="898" y="46"/>
                </a:lnTo>
                <a:lnTo>
                  <a:pt x="889" y="48"/>
                </a:lnTo>
                <a:lnTo>
                  <a:pt x="881" y="49"/>
                </a:lnTo>
                <a:lnTo>
                  <a:pt x="872" y="51"/>
                </a:lnTo>
                <a:lnTo>
                  <a:pt x="864" y="51"/>
                </a:lnTo>
                <a:lnTo>
                  <a:pt x="856" y="53"/>
                </a:lnTo>
                <a:lnTo>
                  <a:pt x="847" y="55"/>
                </a:lnTo>
                <a:lnTo>
                  <a:pt x="839" y="57"/>
                </a:lnTo>
                <a:lnTo>
                  <a:pt x="830" y="59"/>
                </a:lnTo>
                <a:lnTo>
                  <a:pt x="822" y="61"/>
                </a:lnTo>
                <a:lnTo>
                  <a:pt x="813" y="61"/>
                </a:lnTo>
                <a:lnTo>
                  <a:pt x="805" y="63"/>
                </a:lnTo>
                <a:lnTo>
                  <a:pt x="795" y="65"/>
                </a:lnTo>
                <a:lnTo>
                  <a:pt x="786" y="65"/>
                </a:lnTo>
                <a:lnTo>
                  <a:pt x="776" y="67"/>
                </a:lnTo>
                <a:lnTo>
                  <a:pt x="769" y="67"/>
                </a:lnTo>
                <a:lnTo>
                  <a:pt x="759" y="69"/>
                </a:lnTo>
                <a:lnTo>
                  <a:pt x="750" y="69"/>
                </a:lnTo>
                <a:lnTo>
                  <a:pt x="740" y="70"/>
                </a:lnTo>
                <a:lnTo>
                  <a:pt x="729" y="70"/>
                </a:lnTo>
                <a:lnTo>
                  <a:pt x="719" y="70"/>
                </a:lnTo>
                <a:lnTo>
                  <a:pt x="719" y="70"/>
                </a:lnTo>
                <a:lnTo>
                  <a:pt x="708" y="70"/>
                </a:lnTo>
                <a:lnTo>
                  <a:pt x="696" y="70"/>
                </a:lnTo>
                <a:lnTo>
                  <a:pt x="685" y="70"/>
                </a:lnTo>
                <a:lnTo>
                  <a:pt x="673" y="69"/>
                </a:lnTo>
                <a:lnTo>
                  <a:pt x="660" y="69"/>
                </a:lnTo>
                <a:lnTo>
                  <a:pt x="648" y="69"/>
                </a:lnTo>
                <a:lnTo>
                  <a:pt x="635" y="67"/>
                </a:lnTo>
                <a:lnTo>
                  <a:pt x="624" y="67"/>
                </a:lnTo>
                <a:lnTo>
                  <a:pt x="612" y="65"/>
                </a:lnTo>
                <a:lnTo>
                  <a:pt x="601" y="63"/>
                </a:lnTo>
                <a:lnTo>
                  <a:pt x="589" y="61"/>
                </a:lnTo>
                <a:lnTo>
                  <a:pt x="578" y="59"/>
                </a:lnTo>
                <a:lnTo>
                  <a:pt x="568" y="57"/>
                </a:lnTo>
                <a:lnTo>
                  <a:pt x="557" y="55"/>
                </a:lnTo>
                <a:lnTo>
                  <a:pt x="547" y="51"/>
                </a:lnTo>
                <a:lnTo>
                  <a:pt x="540" y="49"/>
                </a:lnTo>
                <a:lnTo>
                  <a:pt x="540" y="49"/>
                </a:lnTo>
                <a:lnTo>
                  <a:pt x="536" y="48"/>
                </a:lnTo>
                <a:lnTo>
                  <a:pt x="532" y="44"/>
                </a:lnTo>
                <a:lnTo>
                  <a:pt x="528" y="42"/>
                </a:lnTo>
                <a:lnTo>
                  <a:pt x="525" y="38"/>
                </a:lnTo>
                <a:lnTo>
                  <a:pt x="521" y="34"/>
                </a:lnTo>
                <a:lnTo>
                  <a:pt x="519" y="32"/>
                </a:lnTo>
                <a:lnTo>
                  <a:pt x="515" y="30"/>
                </a:lnTo>
                <a:lnTo>
                  <a:pt x="513" y="28"/>
                </a:lnTo>
                <a:lnTo>
                  <a:pt x="174" y="28"/>
                </a:lnTo>
                <a:lnTo>
                  <a:pt x="174" y="28"/>
                </a:lnTo>
                <a:lnTo>
                  <a:pt x="168" y="23"/>
                </a:lnTo>
                <a:lnTo>
                  <a:pt x="162" y="17"/>
                </a:lnTo>
                <a:lnTo>
                  <a:pt x="156" y="11"/>
                </a:lnTo>
                <a:lnTo>
                  <a:pt x="151" y="8"/>
                </a:lnTo>
                <a:lnTo>
                  <a:pt x="143" y="4"/>
                </a:lnTo>
                <a:lnTo>
                  <a:pt x="135" y="2"/>
                </a:lnTo>
                <a:lnTo>
                  <a:pt x="126" y="0"/>
                </a:lnTo>
                <a:lnTo>
                  <a:pt x="114" y="0"/>
                </a:lnTo>
                <a:lnTo>
                  <a:pt x="114" y="0"/>
                </a:lnTo>
                <a:lnTo>
                  <a:pt x="105" y="0"/>
                </a:lnTo>
                <a:lnTo>
                  <a:pt x="97" y="2"/>
                </a:lnTo>
                <a:lnTo>
                  <a:pt x="90" y="2"/>
                </a:lnTo>
                <a:lnTo>
                  <a:pt x="82" y="6"/>
                </a:lnTo>
                <a:lnTo>
                  <a:pt x="76" y="8"/>
                </a:lnTo>
                <a:lnTo>
                  <a:pt x="69" y="9"/>
                </a:lnTo>
                <a:lnTo>
                  <a:pt x="63" y="11"/>
                </a:lnTo>
                <a:lnTo>
                  <a:pt x="55" y="11"/>
                </a:lnTo>
                <a:lnTo>
                  <a:pt x="55" y="11"/>
                </a:lnTo>
                <a:lnTo>
                  <a:pt x="48" y="11"/>
                </a:lnTo>
                <a:lnTo>
                  <a:pt x="42" y="11"/>
                </a:lnTo>
                <a:lnTo>
                  <a:pt x="34" y="9"/>
                </a:lnTo>
                <a:lnTo>
                  <a:pt x="29" y="9"/>
                </a:lnTo>
                <a:lnTo>
                  <a:pt x="23" y="9"/>
                </a:lnTo>
                <a:lnTo>
                  <a:pt x="15" y="9"/>
                </a:lnTo>
                <a:lnTo>
                  <a:pt x="9" y="9"/>
                </a:lnTo>
                <a:lnTo>
                  <a:pt x="0" y="11"/>
                </a:lnTo>
                <a:lnTo>
                  <a:pt x="0" y="46"/>
                </a:lnTo>
                <a:lnTo>
                  <a:pt x="0" y="46"/>
                </a:lnTo>
                <a:lnTo>
                  <a:pt x="4" y="51"/>
                </a:lnTo>
                <a:lnTo>
                  <a:pt x="8" y="57"/>
                </a:lnTo>
                <a:lnTo>
                  <a:pt x="11" y="65"/>
                </a:lnTo>
                <a:lnTo>
                  <a:pt x="15" y="70"/>
                </a:lnTo>
                <a:lnTo>
                  <a:pt x="19" y="76"/>
                </a:lnTo>
                <a:lnTo>
                  <a:pt x="21" y="82"/>
                </a:lnTo>
                <a:lnTo>
                  <a:pt x="25" y="88"/>
                </a:lnTo>
                <a:lnTo>
                  <a:pt x="29" y="93"/>
                </a:lnTo>
                <a:lnTo>
                  <a:pt x="32" y="101"/>
                </a:lnTo>
                <a:lnTo>
                  <a:pt x="34" y="107"/>
                </a:lnTo>
                <a:lnTo>
                  <a:pt x="38" y="112"/>
                </a:lnTo>
                <a:lnTo>
                  <a:pt x="42" y="118"/>
                </a:lnTo>
                <a:lnTo>
                  <a:pt x="44" y="124"/>
                </a:lnTo>
                <a:lnTo>
                  <a:pt x="48" y="130"/>
                </a:lnTo>
                <a:lnTo>
                  <a:pt x="51" y="135"/>
                </a:lnTo>
                <a:lnTo>
                  <a:pt x="55" y="141"/>
                </a:lnTo>
                <a:lnTo>
                  <a:pt x="59" y="141"/>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8" name="Freeform 18"/>
          <p:cNvSpPr>
            <a:spLocks/>
          </p:cNvSpPr>
          <p:nvPr/>
        </p:nvSpPr>
        <p:spPr bwMode="auto">
          <a:xfrm>
            <a:off x="3214688" y="5175152"/>
            <a:ext cx="655638" cy="611188"/>
          </a:xfrm>
          <a:custGeom>
            <a:avLst/>
            <a:gdLst>
              <a:gd name="T0" fmla="*/ 435 w 729"/>
              <a:gd name="T1" fmla="*/ 21 h 700"/>
              <a:gd name="T2" fmla="*/ 452 w 729"/>
              <a:gd name="T3" fmla="*/ 50 h 700"/>
              <a:gd name="T4" fmla="*/ 475 w 729"/>
              <a:gd name="T5" fmla="*/ 78 h 700"/>
              <a:gd name="T6" fmla="*/ 485 w 729"/>
              <a:gd name="T7" fmla="*/ 105 h 700"/>
              <a:gd name="T8" fmla="*/ 494 w 729"/>
              <a:gd name="T9" fmla="*/ 128 h 700"/>
              <a:gd name="T10" fmla="*/ 517 w 729"/>
              <a:gd name="T11" fmla="*/ 143 h 700"/>
              <a:gd name="T12" fmla="*/ 559 w 729"/>
              <a:gd name="T13" fmla="*/ 160 h 700"/>
              <a:gd name="T14" fmla="*/ 574 w 729"/>
              <a:gd name="T15" fmla="*/ 175 h 700"/>
              <a:gd name="T16" fmla="*/ 590 w 729"/>
              <a:gd name="T17" fmla="*/ 195 h 700"/>
              <a:gd name="T18" fmla="*/ 605 w 729"/>
              <a:gd name="T19" fmla="*/ 206 h 700"/>
              <a:gd name="T20" fmla="*/ 607 w 729"/>
              <a:gd name="T21" fmla="*/ 229 h 700"/>
              <a:gd name="T22" fmla="*/ 609 w 729"/>
              <a:gd name="T23" fmla="*/ 257 h 700"/>
              <a:gd name="T24" fmla="*/ 618 w 729"/>
              <a:gd name="T25" fmla="*/ 277 h 700"/>
              <a:gd name="T26" fmla="*/ 655 w 729"/>
              <a:gd name="T27" fmla="*/ 294 h 700"/>
              <a:gd name="T28" fmla="*/ 678 w 729"/>
              <a:gd name="T29" fmla="*/ 301 h 700"/>
              <a:gd name="T30" fmla="*/ 697 w 729"/>
              <a:gd name="T31" fmla="*/ 315 h 700"/>
              <a:gd name="T32" fmla="*/ 714 w 729"/>
              <a:gd name="T33" fmla="*/ 328 h 700"/>
              <a:gd name="T34" fmla="*/ 723 w 729"/>
              <a:gd name="T35" fmla="*/ 341 h 700"/>
              <a:gd name="T36" fmla="*/ 679 w 729"/>
              <a:gd name="T37" fmla="*/ 370 h 700"/>
              <a:gd name="T38" fmla="*/ 658 w 729"/>
              <a:gd name="T39" fmla="*/ 376 h 700"/>
              <a:gd name="T40" fmla="*/ 636 w 729"/>
              <a:gd name="T41" fmla="*/ 376 h 700"/>
              <a:gd name="T42" fmla="*/ 609 w 729"/>
              <a:gd name="T43" fmla="*/ 399 h 700"/>
              <a:gd name="T44" fmla="*/ 578 w 729"/>
              <a:gd name="T45" fmla="*/ 437 h 700"/>
              <a:gd name="T46" fmla="*/ 561 w 729"/>
              <a:gd name="T47" fmla="*/ 448 h 700"/>
              <a:gd name="T48" fmla="*/ 540 w 729"/>
              <a:gd name="T49" fmla="*/ 464 h 700"/>
              <a:gd name="T50" fmla="*/ 525 w 729"/>
              <a:gd name="T51" fmla="*/ 486 h 700"/>
              <a:gd name="T52" fmla="*/ 512 w 729"/>
              <a:gd name="T53" fmla="*/ 511 h 700"/>
              <a:gd name="T54" fmla="*/ 491 w 729"/>
              <a:gd name="T55" fmla="*/ 530 h 700"/>
              <a:gd name="T56" fmla="*/ 471 w 729"/>
              <a:gd name="T57" fmla="*/ 538 h 700"/>
              <a:gd name="T58" fmla="*/ 451 w 729"/>
              <a:gd name="T59" fmla="*/ 546 h 700"/>
              <a:gd name="T60" fmla="*/ 443 w 729"/>
              <a:gd name="T61" fmla="*/ 572 h 700"/>
              <a:gd name="T62" fmla="*/ 430 w 729"/>
              <a:gd name="T63" fmla="*/ 599 h 700"/>
              <a:gd name="T64" fmla="*/ 407 w 729"/>
              <a:gd name="T65" fmla="*/ 612 h 700"/>
              <a:gd name="T66" fmla="*/ 382 w 729"/>
              <a:gd name="T67" fmla="*/ 614 h 700"/>
              <a:gd name="T68" fmla="*/ 361 w 729"/>
              <a:gd name="T69" fmla="*/ 614 h 700"/>
              <a:gd name="T70" fmla="*/ 332 w 729"/>
              <a:gd name="T71" fmla="*/ 614 h 700"/>
              <a:gd name="T72" fmla="*/ 298 w 729"/>
              <a:gd name="T73" fmla="*/ 614 h 700"/>
              <a:gd name="T74" fmla="*/ 267 w 729"/>
              <a:gd name="T75" fmla="*/ 591 h 700"/>
              <a:gd name="T76" fmla="*/ 233 w 729"/>
              <a:gd name="T77" fmla="*/ 586 h 700"/>
              <a:gd name="T78" fmla="*/ 210 w 729"/>
              <a:gd name="T79" fmla="*/ 624 h 700"/>
              <a:gd name="T80" fmla="*/ 191 w 729"/>
              <a:gd name="T81" fmla="*/ 650 h 700"/>
              <a:gd name="T82" fmla="*/ 159 w 729"/>
              <a:gd name="T83" fmla="*/ 679 h 700"/>
              <a:gd name="T84" fmla="*/ 117 w 729"/>
              <a:gd name="T85" fmla="*/ 698 h 700"/>
              <a:gd name="T86" fmla="*/ 79 w 729"/>
              <a:gd name="T87" fmla="*/ 696 h 700"/>
              <a:gd name="T88" fmla="*/ 54 w 729"/>
              <a:gd name="T89" fmla="*/ 692 h 700"/>
              <a:gd name="T90" fmla="*/ 48 w 729"/>
              <a:gd name="T91" fmla="*/ 675 h 700"/>
              <a:gd name="T92" fmla="*/ 59 w 729"/>
              <a:gd name="T93" fmla="*/ 650 h 700"/>
              <a:gd name="T94" fmla="*/ 59 w 729"/>
              <a:gd name="T95" fmla="*/ 620 h 700"/>
              <a:gd name="T96" fmla="*/ 48 w 729"/>
              <a:gd name="T97" fmla="*/ 588 h 700"/>
              <a:gd name="T98" fmla="*/ 29 w 729"/>
              <a:gd name="T99" fmla="*/ 567 h 700"/>
              <a:gd name="T100" fmla="*/ 0 w 729"/>
              <a:gd name="T101" fmla="*/ 549 h 700"/>
              <a:gd name="T102" fmla="*/ 262 w 729"/>
              <a:gd name="T103" fmla="*/ 9 h 700"/>
              <a:gd name="T104" fmla="*/ 279 w 729"/>
              <a:gd name="T105" fmla="*/ 23 h 700"/>
              <a:gd name="T106" fmla="*/ 298 w 729"/>
              <a:gd name="T107" fmla="*/ 40 h 700"/>
              <a:gd name="T108" fmla="*/ 319 w 729"/>
              <a:gd name="T109" fmla="*/ 25 h 700"/>
              <a:gd name="T110" fmla="*/ 340 w 729"/>
              <a:gd name="T111" fmla="*/ 8 h 700"/>
              <a:gd name="T112" fmla="*/ 370 w 729"/>
              <a:gd name="T113" fmla="*/ 0 h 700"/>
              <a:gd name="T114" fmla="*/ 397 w 729"/>
              <a:gd name="T115" fmla="*/ 0 h 700"/>
              <a:gd name="T116" fmla="*/ 431 w 729"/>
              <a:gd name="T117"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9" h="700">
                <a:moveTo>
                  <a:pt x="431" y="0"/>
                </a:moveTo>
                <a:lnTo>
                  <a:pt x="431" y="0"/>
                </a:lnTo>
                <a:lnTo>
                  <a:pt x="431" y="8"/>
                </a:lnTo>
                <a:lnTo>
                  <a:pt x="433" y="15"/>
                </a:lnTo>
                <a:lnTo>
                  <a:pt x="435" y="21"/>
                </a:lnTo>
                <a:lnTo>
                  <a:pt x="437" y="29"/>
                </a:lnTo>
                <a:lnTo>
                  <a:pt x="441" y="34"/>
                </a:lnTo>
                <a:lnTo>
                  <a:pt x="445" y="40"/>
                </a:lnTo>
                <a:lnTo>
                  <a:pt x="449" y="46"/>
                </a:lnTo>
                <a:lnTo>
                  <a:pt x="452" y="50"/>
                </a:lnTo>
                <a:lnTo>
                  <a:pt x="458" y="57"/>
                </a:lnTo>
                <a:lnTo>
                  <a:pt x="462" y="61"/>
                </a:lnTo>
                <a:lnTo>
                  <a:pt x="466" y="67"/>
                </a:lnTo>
                <a:lnTo>
                  <a:pt x="471" y="72"/>
                </a:lnTo>
                <a:lnTo>
                  <a:pt x="475" y="78"/>
                </a:lnTo>
                <a:lnTo>
                  <a:pt x="479" y="86"/>
                </a:lnTo>
                <a:lnTo>
                  <a:pt x="481" y="93"/>
                </a:lnTo>
                <a:lnTo>
                  <a:pt x="485" y="99"/>
                </a:lnTo>
                <a:lnTo>
                  <a:pt x="485" y="99"/>
                </a:lnTo>
                <a:lnTo>
                  <a:pt x="485" y="105"/>
                </a:lnTo>
                <a:lnTo>
                  <a:pt x="487" y="111"/>
                </a:lnTo>
                <a:lnTo>
                  <a:pt x="489" y="116"/>
                </a:lnTo>
                <a:lnTo>
                  <a:pt x="489" y="120"/>
                </a:lnTo>
                <a:lnTo>
                  <a:pt x="491" y="124"/>
                </a:lnTo>
                <a:lnTo>
                  <a:pt x="494" y="128"/>
                </a:lnTo>
                <a:lnTo>
                  <a:pt x="498" y="132"/>
                </a:lnTo>
                <a:lnTo>
                  <a:pt x="502" y="135"/>
                </a:lnTo>
                <a:lnTo>
                  <a:pt x="502" y="135"/>
                </a:lnTo>
                <a:lnTo>
                  <a:pt x="510" y="139"/>
                </a:lnTo>
                <a:lnTo>
                  <a:pt x="517" y="143"/>
                </a:lnTo>
                <a:lnTo>
                  <a:pt x="525" y="145"/>
                </a:lnTo>
                <a:lnTo>
                  <a:pt x="533" y="149"/>
                </a:lnTo>
                <a:lnTo>
                  <a:pt x="542" y="153"/>
                </a:lnTo>
                <a:lnTo>
                  <a:pt x="552" y="156"/>
                </a:lnTo>
                <a:lnTo>
                  <a:pt x="559" y="160"/>
                </a:lnTo>
                <a:lnTo>
                  <a:pt x="567" y="166"/>
                </a:lnTo>
                <a:lnTo>
                  <a:pt x="567" y="166"/>
                </a:lnTo>
                <a:lnTo>
                  <a:pt x="571" y="168"/>
                </a:lnTo>
                <a:lnTo>
                  <a:pt x="573" y="172"/>
                </a:lnTo>
                <a:lnTo>
                  <a:pt x="574" y="175"/>
                </a:lnTo>
                <a:lnTo>
                  <a:pt x="578" y="181"/>
                </a:lnTo>
                <a:lnTo>
                  <a:pt x="580" y="185"/>
                </a:lnTo>
                <a:lnTo>
                  <a:pt x="582" y="189"/>
                </a:lnTo>
                <a:lnTo>
                  <a:pt x="586" y="193"/>
                </a:lnTo>
                <a:lnTo>
                  <a:pt x="590" y="195"/>
                </a:lnTo>
                <a:lnTo>
                  <a:pt x="590" y="195"/>
                </a:lnTo>
                <a:lnTo>
                  <a:pt x="595" y="196"/>
                </a:lnTo>
                <a:lnTo>
                  <a:pt x="599" y="200"/>
                </a:lnTo>
                <a:lnTo>
                  <a:pt x="603" y="202"/>
                </a:lnTo>
                <a:lnTo>
                  <a:pt x="605" y="206"/>
                </a:lnTo>
                <a:lnTo>
                  <a:pt x="605" y="210"/>
                </a:lnTo>
                <a:lnTo>
                  <a:pt x="607" y="215"/>
                </a:lnTo>
                <a:lnTo>
                  <a:pt x="607" y="219"/>
                </a:lnTo>
                <a:lnTo>
                  <a:pt x="607" y="225"/>
                </a:lnTo>
                <a:lnTo>
                  <a:pt x="607" y="229"/>
                </a:lnTo>
                <a:lnTo>
                  <a:pt x="607" y="235"/>
                </a:lnTo>
                <a:lnTo>
                  <a:pt x="607" y="240"/>
                </a:lnTo>
                <a:lnTo>
                  <a:pt x="607" y="246"/>
                </a:lnTo>
                <a:lnTo>
                  <a:pt x="607" y="252"/>
                </a:lnTo>
                <a:lnTo>
                  <a:pt x="609" y="257"/>
                </a:lnTo>
                <a:lnTo>
                  <a:pt x="609" y="263"/>
                </a:lnTo>
                <a:lnTo>
                  <a:pt x="611" y="269"/>
                </a:lnTo>
                <a:lnTo>
                  <a:pt x="611" y="269"/>
                </a:lnTo>
                <a:lnTo>
                  <a:pt x="615" y="273"/>
                </a:lnTo>
                <a:lnTo>
                  <a:pt x="618" y="277"/>
                </a:lnTo>
                <a:lnTo>
                  <a:pt x="624" y="280"/>
                </a:lnTo>
                <a:lnTo>
                  <a:pt x="632" y="284"/>
                </a:lnTo>
                <a:lnTo>
                  <a:pt x="639" y="288"/>
                </a:lnTo>
                <a:lnTo>
                  <a:pt x="647" y="290"/>
                </a:lnTo>
                <a:lnTo>
                  <a:pt x="655" y="294"/>
                </a:lnTo>
                <a:lnTo>
                  <a:pt x="662" y="296"/>
                </a:lnTo>
                <a:lnTo>
                  <a:pt x="662" y="296"/>
                </a:lnTo>
                <a:lnTo>
                  <a:pt x="668" y="298"/>
                </a:lnTo>
                <a:lnTo>
                  <a:pt x="674" y="299"/>
                </a:lnTo>
                <a:lnTo>
                  <a:pt x="678" y="301"/>
                </a:lnTo>
                <a:lnTo>
                  <a:pt x="681" y="305"/>
                </a:lnTo>
                <a:lnTo>
                  <a:pt x="685" y="307"/>
                </a:lnTo>
                <a:lnTo>
                  <a:pt x="689" y="309"/>
                </a:lnTo>
                <a:lnTo>
                  <a:pt x="693" y="313"/>
                </a:lnTo>
                <a:lnTo>
                  <a:pt x="697" y="315"/>
                </a:lnTo>
                <a:lnTo>
                  <a:pt x="700" y="319"/>
                </a:lnTo>
                <a:lnTo>
                  <a:pt x="704" y="320"/>
                </a:lnTo>
                <a:lnTo>
                  <a:pt x="706" y="324"/>
                </a:lnTo>
                <a:lnTo>
                  <a:pt x="710" y="326"/>
                </a:lnTo>
                <a:lnTo>
                  <a:pt x="714" y="328"/>
                </a:lnTo>
                <a:lnTo>
                  <a:pt x="719" y="332"/>
                </a:lnTo>
                <a:lnTo>
                  <a:pt x="723" y="334"/>
                </a:lnTo>
                <a:lnTo>
                  <a:pt x="729" y="336"/>
                </a:lnTo>
                <a:lnTo>
                  <a:pt x="729" y="336"/>
                </a:lnTo>
                <a:lnTo>
                  <a:pt x="723" y="341"/>
                </a:lnTo>
                <a:lnTo>
                  <a:pt x="716" y="347"/>
                </a:lnTo>
                <a:lnTo>
                  <a:pt x="706" y="353"/>
                </a:lnTo>
                <a:lnTo>
                  <a:pt x="698" y="359"/>
                </a:lnTo>
                <a:lnTo>
                  <a:pt x="689" y="364"/>
                </a:lnTo>
                <a:lnTo>
                  <a:pt x="679" y="370"/>
                </a:lnTo>
                <a:lnTo>
                  <a:pt x="674" y="374"/>
                </a:lnTo>
                <a:lnTo>
                  <a:pt x="668" y="376"/>
                </a:lnTo>
                <a:lnTo>
                  <a:pt x="668" y="376"/>
                </a:lnTo>
                <a:lnTo>
                  <a:pt x="664" y="376"/>
                </a:lnTo>
                <a:lnTo>
                  <a:pt x="658" y="376"/>
                </a:lnTo>
                <a:lnTo>
                  <a:pt x="655" y="376"/>
                </a:lnTo>
                <a:lnTo>
                  <a:pt x="649" y="376"/>
                </a:lnTo>
                <a:lnTo>
                  <a:pt x="643" y="376"/>
                </a:lnTo>
                <a:lnTo>
                  <a:pt x="639" y="376"/>
                </a:lnTo>
                <a:lnTo>
                  <a:pt x="636" y="376"/>
                </a:lnTo>
                <a:lnTo>
                  <a:pt x="632" y="378"/>
                </a:lnTo>
                <a:lnTo>
                  <a:pt x="632" y="378"/>
                </a:lnTo>
                <a:lnTo>
                  <a:pt x="622" y="383"/>
                </a:lnTo>
                <a:lnTo>
                  <a:pt x="615" y="391"/>
                </a:lnTo>
                <a:lnTo>
                  <a:pt x="609" y="399"/>
                </a:lnTo>
                <a:lnTo>
                  <a:pt x="603" y="404"/>
                </a:lnTo>
                <a:lnTo>
                  <a:pt x="597" y="414"/>
                </a:lnTo>
                <a:lnTo>
                  <a:pt x="592" y="422"/>
                </a:lnTo>
                <a:lnTo>
                  <a:pt x="586" y="429"/>
                </a:lnTo>
                <a:lnTo>
                  <a:pt x="578" y="437"/>
                </a:lnTo>
                <a:lnTo>
                  <a:pt x="578" y="437"/>
                </a:lnTo>
                <a:lnTo>
                  <a:pt x="574" y="439"/>
                </a:lnTo>
                <a:lnTo>
                  <a:pt x="571" y="443"/>
                </a:lnTo>
                <a:lnTo>
                  <a:pt x="565" y="444"/>
                </a:lnTo>
                <a:lnTo>
                  <a:pt x="561" y="448"/>
                </a:lnTo>
                <a:lnTo>
                  <a:pt x="555" y="452"/>
                </a:lnTo>
                <a:lnTo>
                  <a:pt x="550" y="454"/>
                </a:lnTo>
                <a:lnTo>
                  <a:pt x="544" y="458"/>
                </a:lnTo>
                <a:lnTo>
                  <a:pt x="540" y="464"/>
                </a:lnTo>
                <a:lnTo>
                  <a:pt x="540" y="464"/>
                </a:lnTo>
                <a:lnTo>
                  <a:pt x="536" y="467"/>
                </a:lnTo>
                <a:lnTo>
                  <a:pt x="533" y="473"/>
                </a:lnTo>
                <a:lnTo>
                  <a:pt x="531" y="477"/>
                </a:lnTo>
                <a:lnTo>
                  <a:pt x="529" y="483"/>
                </a:lnTo>
                <a:lnTo>
                  <a:pt x="525" y="486"/>
                </a:lnTo>
                <a:lnTo>
                  <a:pt x="523" y="492"/>
                </a:lnTo>
                <a:lnTo>
                  <a:pt x="521" y="496"/>
                </a:lnTo>
                <a:lnTo>
                  <a:pt x="517" y="502"/>
                </a:lnTo>
                <a:lnTo>
                  <a:pt x="515" y="505"/>
                </a:lnTo>
                <a:lnTo>
                  <a:pt x="512" y="511"/>
                </a:lnTo>
                <a:lnTo>
                  <a:pt x="508" y="515"/>
                </a:lnTo>
                <a:lnTo>
                  <a:pt x="504" y="519"/>
                </a:lnTo>
                <a:lnTo>
                  <a:pt x="500" y="523"/>
                </a:lnTo>
                <a:lnTo>
                  <a:pt x="496" y="526"/>
                </a:lnTo>
                <a:lnTo>
                  <a:pt x="491" y="530"/>
                </a:lnTo>
                <a:lnTo>
                  <a:pt x="485" y="534"/>
                </a:lnTo>
                <a:lnTo>
                  <a:pt x="485" y="534"/>
                </a:lnTo>
                <a:lnTo>
                  <a:pt x="481" y="536"/>
                </a:lnTo>
                <a:lnTo>
                  <a:pt x="477" y="536"/>
                </a:lnTo>
                <a:lnTo>
                  <a:pt x="471" y="538"/>
                </a:lnTo>
                <a:lnTo>
                  <a:pt x="466" y="538"/>
                </a:lnTo>
                <a:lnTo>
                  <a:pt x="462" y="538"/>
                </a:lnTo>
                <a:lnTo>
                  <a:pt x="456" y="540"/>
                </a:lnTo>
                <a:lnTo>
                  <a:pt x="454" y="542"/>
                </a:lnTo>
                <a:lnTo>
                  <a:pt x="451" y="546"/>
                </a:lnTo>
                <a:lnTo>
                  <a:pt x="451" y="546"/>
                </a:lnTo>
                <a:lnTo>
                  <a:pt x="449" y="553"/>
                </a:lnTo>
                <a:lnTo>
                  <a:pt x="447" y="561"/>
                </a:lnTo>
                <a:lnTo>
                  <a:pt x="445" y="567"/>
                </a:lnTo>
                <a:lnTo>
                  <a:pt x="443" y="572"/>
                </a:lnTo>
                <a:lnTo>
                  <a:pt x="441" y="580"/>
                </a:lnTo>
                <a:lnTo>
                  <a:pt x="437" y="584"/>
                </a:lnTo>
                <a:lnTo>
                  <a:pt x="435" y="589"/>
                </a:lnTo>
                <a:lnTo>
                  <a:pt x="431" y="595"/>
                </a:lnTo>
                <a:lnTo>
                  <a:pt x="430" y="599"/>
                </a:lnTo>
                <a:lnTo>
                  <a:pt x="426" y="603"/>
                </a:lnTo>
                <a:lnTo>
                  <a:pt x="422" y="607"/>
                </a:lnTo>
                <a:lnTo>
                  <a:pt x="418" y="608"/>
                </a:lnTo>
                <a:lnTo>
                  <a:pt x="412" y="610"/>
                </a:lnTo>
                <a:lnTo>
                  <a:pt x="407" y="612"/>
                </a:lnTo>
                <a:lnTo>
                  <a:pt x="399" y="614"/>
                </a:lnTo>
                <a:lnTo>
                  <a:pt x="391" y="614"/>
                </a:lnTo>
                <a:lnTo>
                  <a:pt x="391" y="614"/>
                </a:lnTo>
                <a:lnTo>
                  <a:pt x="388" y="614"/>
                </a:lnTo>
                <a:lnTo>
                  <a:pt x="382" y="614"/>
                </a:lnTo>
                <a:lnTo>
                  <a:pt x="378" y="614"/>
                </a:lnTo>
                <a:lnTo>
                  <a:pt x="374" y="614"/>
                </a:lnTo>
                <a:lnTo>
                  <a:pt x="368" y="614"/>
                </a:lnTo>
                <a:lnTo>
                  <a:pt x="365" y="614"/>
                </a:lnTo>
                <a:lnTo>
                  <a:pt x="361" y="614"/>
                </a:lnTo>
                <a:lnTo>
                  <a:pt x="355" y="614"/>
                </a:lnTo>
                <a:lnTo>
                  <a:pt x="351" y="614"/>
                </a:lnTo>
                <a:lnTo>
                  <a:pt x="346" y="614"/>
                </a:lnTo>
                <a:lnTo>
                  <a:pt x="340" y="614"/>
                </a:lnTo>
                <a:lnTo>
                  <a:pt x="332" y="614"/>
                </a:lnTo>
                <a:lnTo>
                  <a:pt x="325" y="614"/>
                </a:lnTo>
                <a:lnTo>
                  <a:pt x="317" y="614"/>
                </a:lnTo>
                <a:lnTo>
                  <a:pt x="307" y="614"/>
                </a:lnTo>
                <a:lnTo>
                  <a:pt x="298" y="614"/>
                </a:lnTo>
                <a:lnTo>
                  <a:pt x="298" y="614"/>
                </a:lnTo>
                <a:lnTo>
                  <a:pt x="292" y="610"/>
                </a:lnTo>
                <a:lnTo>
                  <a:pt x="286" y="607"/>
                </a:lnTo>
                <a:lnTo>
                  <a:pt x="281" y="601"/>
                </a:lnTo>
                <a:lnTo>
                  <a:pt x="275" y="597"/>
                </a:lnTo>
                <a:lnTo>
                  <a:pt x="267" y="591"/>
                </a:lnTo>
                <a:lnTo>
                  <a:pt x="262" y="588"/>
                </a:lnTo>
                <a:lnTo>
                  <a:pt x="254" y="586"/>
                </a:lnTo>
                <a:lnTo>
                  <a:pt x="244" y="584"/>
                </a:lnTo>
                <a:lnTo>
                  <a:pt x="244" y="584"/>
                </a:lnTo>
                <a:lnTo>
                  <a:pt x="233" y="586"/>
                </a:lnTo>
                <a:lnTo>
                  <a:pt x="224" y="591"/>
                </a:lnTo>
                <a:lnTo>
                  <a:pt x="220" y="597"/>
                </a:lnTo>
                <a:lnTo>
                  <a:pt x="216" y="607"/>
                </a:lnTo>
                <a:lnTo>
                  <a:pt x="212" y="616"/>
                </a:lnTo>
                <a:lnTo>
                  <a:pt x="210" y="624"/>
                </a:lnTo>
                <a:lnTo>
                  <a:pt x="206" y="633"/>
                </a:lnTo>
                <a:lnTo>
                  <a:pt x="201" y="641"/>
                </a:lnTo>
                <a:lnTo>
                  <a:pt x="201" y="641"/>
                </a:lnTo>
                <a:lnTo>
                  <a:pt x="197" y="645"/>
                </a:lnTo>
                <a:lnTo>
                  <a:pt x="191" y="650"/>
                </a:lnTo>
                <a:lnTo>
                  <a:pt x="185" y="656"/>
                </a:lnTo>
                <a:lnTo>
                  <a:pt x="180" y="662"/>
                </a:lnTo>
                <a:lnTo>
                  <a:pt x="172" y="668"/>
                </a:lnTo>
                <a:lnTo>
                  <a:pt x="166" y="673"/>
                </a:lnTo>
                <a:lnTo>
                  <a:pt x="159" y="679"/>
                </a:lnTo>
                <a:lnTo>
                  <a:pt x="151" y="685"/>
                </a:lnTo>
                <a:lnTo>
                  <a:pt x="141" y="689"/>
                </a:lnTo>
                <a:lnTo>
                  <a:pt x="134" y="692"/>
                </a:lnTo>
                <a:lnTo>
                  <a:pt x="124" y="696"/>
                </a:lnTo>
                <a:lnTo>
                  <a:pt x="117" y="698"/>
                </a:lnTo>
                <a:lnTo>
                  <a:pt x="107" y="700"/>
                </a:lnTo>
                <a:lnTo>
                  <a:pt x="98" y="700"/>
                </a:lnTo>
                <a:lnTo>
                  <a:pt x="88" y="698"/>
                </a:lnTo>
                <a:lnTo>
                  <a:pt x="79" y="696"/>
                </a:lnTo>
                <a:lnTo>
                  <a:pt x="79" y="696"/>
                </a:lnTo>
                <a:lnTo>
                  <a:pt x="75" y="694"/>
                </a:lnTo>
                <a:lnTo>
                  <a:pt x="69" y="694"/>
                </a:lnTo>
                <a:lnTo>
                  <a:pt x="63" y="694"/>
                </a:lnTo>
                <a:lnTo>
                  <a:pt x="59" y="694"/>
                </a:lnTo>
                <a:lnTo>
                  <a:pt x="54" y="692"/>
                </a:lnTo>
                <a:lnTo>
                  <a:pt x="50" y="691"/>
                </a:lnTo>
                <a:lnTo>
                  <a:pt x="48" y="687"/>
                </a:lnTo>
                <a:lnTo>
                  <a:pt x="48" y="683"/>
                </a:lnTo>
                <a:lnTo>
                  <a:pt x="48" y="683"/>
                </a:lnTo>
                <a:lnTo>
                  <a:pt x="48" y="675"/>
                </a:lnTo>
                <a:lnTo>
                  <a:pt x="50" y="670"/>
                </a:lnTo>
                <a:lnTo>
                  <a:pt x="52" y="664"/>
                </a:lnTo>
                <a:lnTo>
                  <a:pt x="54" y="660"/>
                </a:lnTo>
                <a:lnTo>
                  <a:pt x="58" y="656"/>
                </a:lnTo>
                <a:lnTo>
                  <a:pt x="59" y="650"/>
                </a:lnTo>
                <a:lnTo>
                  <a:pt x="61" y="643"/>
                </a:lnTo>
                <a:lnTo>
                  <a:pt x="61" y="635"/>
                </a:lnTo>
                <a:lnTo>
                  <a:pt x="61" y="635"/>
                </a:lnTo>
                <a:lnTo>
                  <a:pt x="61" y="628"/>
                </a:lnTo>
                <a:lnTo>
                  <a:pt x="59" y="620"/>
                </a:lnTo>
                <a:lnTo>
                  <a:pt x="59" y="612"/>
                </a:lnTo>
                <a:lnTo>
                  <a:pt x="58" y="605"/>
                </a:lnTo>
                <a:lnTo>
                  <a:pt x="54" y="599"/>
                </a:lnTo>
                <a:lnTo>
                  <a:pt x="52" y="593"/>
                </a:lnTo>
                <a:lnTo>
                  <a:pt x="48" y="588"/>
                </a:lnTo>
                <a:lnTo>
                  <a:pt x="46" y="584"/>
                </a:lnTo>
                <a:lnTo>
                  <a:pt x="42" y="578"/>
                </a:lnTo>
                <a:lnTo>
                  <a:pt x="37" y="574"/>
                </a:lnTo>
                <a:lnTo>
                  <a:pt x="33" y="570"/>
                </a:lnTo>
                <a:lnTo>
                  <a:pt x="29" y="567"/>
                </a:lnTo>
                <a:lnTo>
                  <a:pt x="25" y="563"/>
                </a:lnTo>
                <a:lnTo>
                  <a:pt x="21" y="559"/>
                </a:lnTo>
                <a:lnTo>
                  <a:pt x="16" y="555"/>
                </a:lnTo>
                <a:lnTo>
                  <a:pt x="12" y="553"/>
                </a:lnTo>
                <a:lnTo>
                  <a:pt x="0" y="549"/>
                </a:lnTo>
                <a:lnTo>
                  <a:pt x="0" y="330"/>
                </a:lnTo>
                <a:lnTo>
                  <a:pt x="82" y="330"/>
                </a:lnTo>
                <a:lnTo>
                  <a:pt x="82" y="32"/>
                </a:lnTo>
                <a:lnTo>
                  <a:pt x="94" y="32"/>
                </a:lnTo>
                <a:lnTo>
                  <a:pt x="262" y="9"/>
                </a:lnTo>
                <a:lnTo>
                  <a:pt x="262" y="9"/>
                </a:lnTo>
                <a:lnTo>
                  <a:pt x="265" y="11"/>
                </a:lnTo>
                <a:lnTo>
                  <a:pt x="271" y="15"/>
                </a:lnTo>
                <a:lnTo>
                  <a:pt x="275" y="19"/>
                </a:lnTo>
                <a:lnTo>
                  <a:pt x="279" y="23"/>
                </a:lnTo>
                <a:lnTo>
                  <a:pt x="285" y="27"/>
                </a:lnTo>
                <a:lnTo>
                  <a:pt x="288" y="32"/>
                </a:lnTo>
                <a:lnTo>
                  <a:pt x="294" y="36"/>
                </a:lnTo>
                <a:lnTo>
                  <a:pt x="298" y="40"/>
                </a:lnTo>
                <a:lnTo>
                  <a:pt x="298" y="40"/>
                </a:lnTo>
                <a:lnTo>
                  <a:pt x="302" y="38"/>
                </a:lnTo>
                <a:lnTo>
                  <a:pt x="307" y="34"/>
                </a:lnTo>
                <a:lnTo>
                  <a:pt x="311" y="30"/>
                </a:lnTo>
                <a:lnTo>
                  <a:pt x="315" y="27"/>
                </a:lnTo>
                <a:lnTo>
                  <a:pt x="319" y="25"/>
                </a:lnTo>
                <a:lnTo>
                  <a:pt x="323" y="21"/>
                </a:lnTo>
                <a:lnTo>
                  <a:pt x="327" y="17"/>
                </a:lnTo>
                <a:lnTo>
                  <a:pt x="330" y="13"/>
                </a:lnTo>
                <a:lnTo>
                  <a:pt x="334" y="11"/>
                </a:lnTo>
                <a:lnTo>
                  <a:pt x="340" y="8"/>
                </a:lnTo>
                <a:lnTo>
                  <a:pt x="344" y="6"/>
                </a:lnTo>
                <a:lnTo>
                  <a:pt x="349" y="4"/>
                </a:lnTo>
                <a:lnTo>
                  <a:pt x="357" y="2"/>
                </a:lnTo>
                <a:lnTo>
                  <a:pt x="363" y="0"/>
                </a:lnTo>
                <a:lnTo>
                  <a:pt x="370" y="0"/>
                </a:lnTo>
                <a:lnTo>
                  <a:pt x="378" y="0"/>
                </a:lnTo>
                <a:lnTo>
                  <a:pt x="378" y="0"/>
                </a:lnTo>
                <a:lnTo>
                  <a:pt x="384" y="0"/>
                </a:lnTo>
                <a:lnTo>
                  <a:pt x="391" y="0"/>
                </a:lnTo>
                <a:lnTo>
                  <a:pt x="397" y="0"/>
                </a:lnTo>
                <a:lnTo>
                  <a:pt x="405" y="0"/>
                </a:lnTo>
                <a:lnTo>
                  <a:pt x="410" y="0"/>
                </a:lnTo>
                <a:lnTo>
                  <a:pt x="418" y="0"/>
                </a:lnTo>
                <a:lnTo>
                  <a:pt x="424" y="0"/>
                </a:lnTo>
                <a:lnTo>
                  <a:pt x="431" y="0"/>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9" name="Freeform 19"/>
          <p:cNvSpPr>
            <a:spLocks/>
          </p:cNvSpPr>
          <p:nvPr/>
        </p:nvSpPr>
        <p:spPr bwMode="auto">
          <a:xfrm>
            <a:off x="3370263" y="4506814"/>
            <a:ext cx="827088" cy="685800"/>
          </a:xfrm>
          <a:custGeom>
            <a:avLst/>
            <a:gdLst>
              <a:gd name="T0" fmla="*/ 580 w 921"/>
              <a:gd name="T1" fmla="*/ 597 h 788"/>
              <a:gd name="T2" fmla="*/ 532 w 921"/>
              <a:gd name="T3" fmla="*/ 637 h 788"/>
              <a:gd name="T4" fmla="*/ 521 w 921"/>
              <a:gd name="T5" fmla="*/ 670 h 788"/>
              <a:gd name="T6" fmla="*/ 479 w 921"/>
              <a:gd name="T7" fmla="*/ 683 h 788"/>
              <a:gd name="T8" fmla="*/ 444 w 921"/>
              <a:gd name="T9" fmla="*/ 708 h 788"/>
              <a:gd name="T10" fmla="*/ 406 w 921"/>
              <a:gd name="T11" fmla="*/ 763 h 788"/>
              <a:gd name="T12" fmla="*/ 355 w 921"/>
              <a:gd name="T13" fmla="*/ 788 h 788"/>
              <a:gd name="T14" fmla="*/ 296 w 921"/>
              <a:gd name="T15" fmla="*/ 773 h 788"/>
              <a:gd name="T16" fmla="*/ 242 w 921"/>
              <a:gd name="T17" fmla="*/ 759 h 788"/>
              <a:gd name="T18" fmla="*/ 187 w 921"/>
              <a:gd name="T19" fmla="*/ 740 h 788"/>
              <a:gd name="T20" fmla="*/ 130 w 921"/>
              <a:gd name="T21" fmla="*/ 746 h 788"/>
              <a:gd name="T22" fmla="*/ 2 w 921"/>
              <a:gd name="T23" fmla="*/ 391 h 788"/>
              <a:gd name="T24" fmla="*/ 48 w 921"/>
              <a:gd name="T25" fmla="*/ 391 h 788"/>
              <a:gd name="T26" fmla="*/ 93 w 921"/>
              <a:gd name="T27" fmla="*/ 385 h 788"/>
              <a:gd name="T28" fmla="*/ 153 w 921"/>
              <a:gd name="T29" fmla="*/ 366 h 788"/>
              <a:gd name="T30" fmla="*/ 164 w 921"/>
              <a:gd name="T31" fmla="*/ 311 h 788"/>
              <a:gd name="T32" fmla="*/ 164 w 921"/>
              <a:gd name="T33" fmla="*/ 263 h 788"/>
              <a:gd name="T34" fmla="*/ 189 w 921"/>
              <a:gd name="T35" fmla="*/ 246 h 788"/>
              <a:gd name="T36" fmla="*/ 219 w 921"/>
              <a:gd name="T37" fmla="*/ 254 h 788"/>
              <a:gd name="T38" fmla="*/ 256 w 921"/>
              <a:gd name="T39" fmla="*/ 244 h 788"/>
              <a:gd name="T40" fmla="*/ 275 w 921"/>
              <a:gd name="T41" fmla="*/ 271 h 788"/>
              <a:gd name="T42" fmla="*/ 345 w 921"/>
              <a:gd name="T43" fmla="*/ 301 h 788"/>
              <a:gd name="T44" fmla="*/ 399 w 921"/>
              <a:gd name="T45" fmla="*/ 288 h 788"/>
              <a:gd name="T46" fmla="*/ 431 w 921"/>
              <a:gd name="T47" fmla="*/ 303 h 788"/>
              <a:gd name="T48" fmla="*/ 488 w 921"/>
              <a:gd name="T49" fmla="*/ 336 h 788"/>
              <a:gd name="T50" fmla="*/ 525 w 921"/>
              <a:gd name="T51" fmla="*/ 370 h 788"/>
              <a:gd name="T52" fmla="*/ 555 w 921"/>
              <a:gd name="T53" fmla="*/ 414 h 788"/>
              <a:gd name="T54" fmla="*/ 582 w 921"/>
              <a:gd name="T55" fmla="*/ 408 h 788"/>
              <a:gd name="T56" fmla="*/ 612 w 921"/>
              <a:gd name="T57" fmla="*/ 406 h 788"/>
              <a:gd name="T58" fmla="*/ 601 w 921"/>
              <a:gd name="T59" fmla="*/ 332 h 788"/>
              <a:gd name="T60" fmla="*/ 551 w 921"/>
              <a:gd name="T61" fmla="*/ 326 h 788"/>
              <a:gd name="T62" fmla="*/ 513 w 921"/>
              <a:gd name="T63" fmla="*/ 275 h 788"/>
              <a:gd name="T64" fmla="*/ 517 w 921"/>
              <a:gd name="T65" fmla="*/ 227 h 788"/>
              <a:gd name="T66" fmla="*/ 526 w 921"/>
              <a:gd name="T67" fmla="*/ 179 h 788"/>
              <a:gd name="T68" fmla="*/ 526 w 921"/>
              <a:gd name="T69" fmla="*/ 124 h 788"/>
              <a:gd name="T70" fmla="*/ 517 w 921"/>
              <a:gd name="T71" fmla="*/ 97 h 788"/>
              <a:gd name="T72" fmla="*/ 536 w 921"/>
              <a:gd name="T73" fmla="*/ 67 h 788"/>
              <a:gd name="T74" fmla="*/ 555 w 921"/>
              <a:gd name="T75" fmla="*/ 31 h 788"/>
              <a:gd name="T76" fmla="*/ 595 w 921"/>
              <a:gd name="T77" fmla="*/ 11 h 788"/>
              <a:gd name="T78" fmla="*/ 643 w 921"/>
              <a:gd name="T79" fmla="*/ 8 h 788"/>
              <a:gd name="T80" fmla="*/ 721 w 921"/>
              <a:gd name="T81" fmla="*/ 25 h 788"/>
              <a:gd name="T82" fmla="*/ 744 w 921"/>
              <a:gd name="T83" fmla="*/ 38 h 788"/>
              <a:gd name="T84" fmla="*/ 759 w 921"/>
              <a:gd name="T85" fmla="*/ 36 h 788"/>
              <a:gd name="T86" fmla="*/ 778 w 921"/>
              <a:gd name="T87" fmla="*/ 50 h 788"/>
              <a:gd name="T88" fmla="*/ 824 w 921"/>
              <a:gd name="T89" fmla="*/ 69 h 788"/>
              <a:gd name="T90" fmla="*/ 885 w 921"/>
              <a:gd name="T91" fmla="*/ 97 h 788"/>
              <a:gd name="T92" fmla="*/ 904 w 921"/>
              <a:gd name="T93" fmla="*/ 134 h 788"/>
              <a:gd name="T94" fmla="*/ 921 w 921"/>
              <a:gd name="T95" fmla="*/ 177 h 788"/>
              <a:gd name="T96" fmla="*/ 902 w 921"/>
              <a:gd name="T97" fmla="*/ 225 h 788"/>
              <a:gd name="T98" fmla="*/ 895 w 921"/>
              <a:gd name="T99" fmla="*/ 258 h 788"/>
              <a:gd name="T100" fmla="*/ 904 w 921"/>
              <a:gd name="T101" fmla="*/ 300 h 788"/>
              <a:gd name="T102" fmla="*/ 893 w 921"/>
              <a:gd name="T103" fmla="*/ 328 h 788"/>
              <a:gd name="T104" fmla="*/ 883 w 921"/>
              <a:gd name="T105" fmla="*/ 364 h 788"/>
              <a:gd name="T106" fmla="*/ 866 w 921"/>
              <a:gd name="T107" fmla="*/ 397 h 788"/>
              <a:gd name="T108" fmla="*/ 845 w 921"/>
              <a:gd name="T109" fmla="*/ 424 h 788"/>
              <a:gd name="T110" fmla="*/ 881 w 921"/>
              <a:gd name="T111" fmla="*/ 452 h 788"/>
              <a:gd name="T112" fmla="*/ 834 w 921"/>
              <a:gd name="T113" fmla="*/ 475 h 788"/>
              <a:gd name="T114" fmla="*/ 761 w 921"/>
              <a:gd name="T115" fmla="*/ 496 h 788"/>
              <a:gd name="T116" fmla="*/ 721 w 921"/>
              <a:gd name="T117" fmla="*/ 509 h 788"/>
              <a:gd name="T118" fmla="*/ 679 w 921"/>
              <a:gd name="T119" fmla="*/ 525 h 788"/>
              <a:gd name="T120" fmla="*/ 639 w 921"/>
              <a:gd name="T121" fmla="*/ 551 h 788"/>
              <a:gd name="T122" fmla="*/ 645 w 921"/>
              <a:gd name="T123" fmla="*/ 574 h 788"/>
              <a:gd name="T124" fmla="*/ 647 w 921"/>
              <a:gd name="T125" fmla="*/ 591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1" h="788">
                <a:moveTo>
                  <a:pt x="631" y="590"/>
                </a:moveTo>
                <a:lnTo>
                  <a:pt x="631" y="590"/>
                </a:lnTo>
                <a:lnTo>
                  <a:pt x="624" y="590"/>
                </a:lnTo>
                <a:lnTo>
                  <a:pt x="616" y="590"/>
                </a:lnTo>
                <a:lnTo>
                  <a:pt x="609" y="590"/>
                </a:lnTo>
                <a:lnTo>
                  <a:pt x="601" y="591"/>
                </a:lnTo>
                <a:lnTo>
                  <a:pt x="595" y="593"/>
                </a:lnTo>
                <a:lnTo>
                  <a:pt x="588" y="595"/>
                </a:lnTo>
                <a:lnTo>
                  <a:pt x="580" y="597"/>
                </a:lnTo>
                <a:lnTo>
                  <a:pt x="574" y="599"/>
                </a:lnTo>
                <a:lnTo>
                  <a:pt x="568" y="603"/>
                </a:lnTo>
                <a:lnTo>
                  <a:pt x="563" y="607"/>
                </a:lnTo>
                <a:lnTo>
                  <a:pt x="557" y="610"/>
                </a:lnTo>
                <a:lnTo>
                  <a:pt x="551" y="614"/>
                </a:lnTo>
                <a:lnTo>
                  <a:pt x="546" y="620"/>
                </a:lnTo>
                <a:lnTo>
                  <a:pt x="542" y="624"/>
                </a:lnTo>
                <a:lnTo>
                  <a:pt x="538" y="630"/>
                </a:lnTo>
                <a:lnTo>
                  <a:pt x="532" y="637"/>
                </a:lnTo>
                <a:lnTo>
                  <a:pt x="532" y="637"/>
                </a:lnTo>
                <a:lnTo>
                  <a:pt x="532" y="639"/>
                </a:lnTo>
                <a:lnTo>
                  <a:pt x="530" y="645"/>
                </a:lnTo>
                <a:lnTo>
                  <a:pt x="530" y="649"/>
                </a:lnTo>
                <a:lnTo>
                  <a:pt x="530" y="654"/>
                </a:lnTo>
                <a:lnTo>
                  <a:pt x="530" y="658"/>
                </a:lnTo>
                <a:lnTo>
                  <a:pt x="528" y="664"/>
                </a:lnTo>
                <a:lnTo>
                  <a:pt x="526" y="668"/>
                </a:lnTo>
                <a:lnTo>
                  <a:pt x="521" y="670"/>
                </a:lnTo>
                <a:lnTo>
                  <a:pt x="521" y="670"/>
                </a:lnTo>
                <a:lnTo>
                  <a:pt x="515" y="672"/>
                </a:lnTo>
                <a:lnTo>
                  <a:pt x="509" y="673"/>
                </a:lnTo>
                <a:lnTo>
                  <a:pt x="504" y="675"/>
                </a:lnTo>
                <a:lnTo>
                  <a:pt x="500" y="677"/>
                </a:lnTo>
                <a:lnTo>
                  <a:pt x="494" y="679"/>
                </a:lnTo>
                <a:lnTo>
                  <a:pt x="488" y="681"/>
                </a:lnTo>
                <a:lnTo>
                  <a:pt x="483" y="683"/>
                </a:lnTo>
                <a:lnTo>
                  <a:pt x="479" y="683"/>
                </a:lnTo>
                <a:lnTo>
                  <a:pt x="473" y="687"/>
                </a:lnTo>
                <a:lnTo>
                  <a:pt x="469" y="689"/>
                </a:lnTo>
                <a:lnTo>
                  <a:pt x="464" y="691"/>
                </a:lnTo>
                <a:lnTo>
                  <a:pt x="460" y="693"/>
                </a:lnTo>
                <a:lnTo>
                  <a:pt x="456" y="696"/>
                </a:lnTo>
                <a:lnTo>
                  <a:pt x="452" y="700"/>
                </a:lnTo>
                <a:lnTo>
                  <a:pt x="448" y="704"/>
                </a:lnTo>
                <a:lnTo>
                  <a:pt x="444" y="708"/>
                </a:lnTo>
                <a:lnTo>
                  <a:pt x="444" y="708"/>
                </a:lnTo>
                <a:lnTo>
                  <a:pt x="441" y="712"/>
                </a:lnTo>
                <a:lnTo>
                  <a:pt x="437" y="717"/>
                </a:lnTo>
                <a:lnTo>
                  <a:pt x="433" y="723"/>
                </a:lnTo>
                <a:lnTo>
                  <a:pt x="429" y="729"/>
                </a:lnTo>
                <a:lnTo>
                  <a:pt x="425" y="736"/>
                </a:lnTo>
                <a:lnTo>
                  <a:pt x="422" y="742"/>
                </a:lnTo>
                <a:lnTo>
                  <a:pt x="418" y="750"/>
                </a:lnTo>
                <a:lnTo>
                  <a:pt x="412" y="755"/>
                </a:lnTo>
                <a:lnTo>
                  <a:pt x="406" y="763"/>
                </a:lnTo>
                <a:lnTo>
                  <a:pt x="402" y="769"/>
                </a:lnTo>
                <a:lnTo>
                  <a:pt x="395" y="773"/>
                </a:lnTo>
                <a:lnTo>
                  <a:pt x="389" y="778"/>
                </a:lnTo>
                <a:lnTo>
                  <a:pt x="383" y="782"/>
                </a:lnTo>
                <a:lnTo>
                  <a:pt x="378" y="786"/>
                </a:lnTo>
                <a:lnTo>
                  <a:pt x="370" y="786"/>
                </a:lnTo>
                <a:lnTo>
                  <a:pt x="362" y="788"/>
                </a:lnTo>
                <a:lnTo>
                  <a:pt x="362" y="788"/>
                </a:lnTo>
                <a:lnTo>
                  <a:pt x="355" y="788"/>
                </a:lnTo>
                <a:lnTo>
                  <a:pt x="349" y="786"/>
                </a:lnTo>
                <a:lnTo>
                  <a:pt x="343" y="786"/>
                </a:lnTo>
                <a:lnTo>
                  <a:pt x="336" y="784"/>
                </a:lnTo>
                <a:lnTo>
                  <a:pt x="330" y="782"/>
                </a:lnTo>
                <a:lnTo>
                  <a:pt x="324" y="780"/>
                </a:lnTo>
                <a:lnTo>
                  <a:pt x="317" y="778"/>
                </a:lnTo>
                <a:lnTo>
                  <a:pt x="309" y="776"/>
                </a:lnTo>
                <a:lnTo>
                  <a:pt x="303" y="775"/>
                </a:lnTo>
                <a:lnTo>
                  <a:pt x="296" y="773"/>
                </a:lnTo>
                <a:lnTo>
                  <a:pt x="290" y="771"/>
                </a:lnTo>
                <a:lnTo>
                  <a:pt x="282" y="771"/>
                </a:lnTo>
                <a:lnTo>
                  <a:pt x="275" y="769"/>
                </a:lnTo>
                <a:lnTo>
                  <a:pt x="269" y="767"/>
                </a:lnTo>
                <a:lnTo>
                  <a:pt x="261" y="767"/>
                </a:lnTo>
                <a:lnTo>
                  <a:pt x="254" y="767"/>
                </a:lnTo>
                <a:lnTo>
                  <a:pt x="254" y="767"/>
                </a:lnTo>
                <a:lnTo>
                  <a:pt x="248" y="763"/>
                </a:lnTo>
                <a:lnTo>
                  <a:pt x="242" y="759"/>
                </a:lnTo>
                <a:lnTo>
                  <a:pt x="237" y="755"/>
                </a:lnTo>
                <a:lnTo>
                  <a:pt x="231" y="752"/>
                </a:lnTo>
                <a:lnTo>
                  <a:pt x="225" y="746"/>
                </a:lnTo>
                <a:lnTo>
                  <a:pt x="219" y="744"/>
                </a:lnTo>
                <a:lnTo>
                  <a:pt x="210" y="742"/>
                </a:lnTo>
                <a:lnTo>
                  <a:pt x="200" y="740"/>
                </a:lnTo>
                <a:lnTo>
                  <a:pt x="200" y="740"/>
                </a:lnTo>
                <a:lnTo>
                  <a:pt x="195" y="740"/>
                </a:lnTo>
                <a:lnTo>
                  <a:pt x="187" y="740"/>
                </a:lnTo>
                <a:lnTo>
                  <a:pt x="181" y="740"/>
                </a:lnTo>
                <a:lnTo>
                  <a:pt x="174" y="742"/>
                </a:lnTo>
                <a:lnTo>
                  <a:pt x="168" y="742"/>
                </a:lnTo>
                <a:lnTo>
                  <a:pt x="160" y="742"/>
                </a:lnTo>
                <a:lnTo>
                  <a:pt x="155" y="742"/>
                </a:lnTo>
                <a:lnTo>
                  <a:pt x="149" y="744"/>
                </a:lnTo>
                <a:lnTo>
                  <a:pt x="143" y="744"/>
                </a:lnTo>
                <a:lnTo>
                  <a:pt x="135" y="746"/>
                </a:lnTo>
                <a:lnTo>
                  <a:pt x="130" y="746"/>
                </a:lnTo>
                <a:lnTo>
                  <a:pt x="124" y="746"/>
                </a:lnTo>
                <a:lnTo>
                  <a:pt x="118" y="748"/>
                </a:lnTo>
                <a:lnTo>
                  <a:pt x="111" y="748"/>
                </a:lnTo>
                <a:lnTo>
                  <a:pt x="105" y="750"/>
                </a:lnTo>
                <a:lnTo>
                  <a:pt x="99" y="752"/>
                </a:lnTo>
                <a:lnTo>
                  <a:pt x="0" y="637"/>
                </a:lnTo>
                <a:lnTo>
                  <a:pt x="0" y="391"/>
                </a:lnTo>
                <a:lnTo>
                  <a:pt x="0" y="391"/>
                </a:lnTo>
                <a:lnTo>
                  <a:pt x="2" y="391"/>
                </a:lnTo>
                <a:lnTo>
                  <a:pt x="6" y="391"/>
                </a:lnTo>
                <a:lnTo>
                  <a:pt x="10" y="391"/>
                </a:lnTo>
                <a:lnTo>
                  <a:pt x="13" y="391"/>
                </a:lnTo>
                <a:lnTo>
                  <a:pt x="19" y="391"/>
                </a:lnTo>
                <a:lnTo>
                  <a:pt x="25" y="391"/>
                </a:lnTo>
                <a:lnTo>
                  <a:pt x="31" y="391"/>
                </a:lnTo>
                <a:lnTo>
                  <a:pt x="36" y="391"/>
                </a:lnTo>
                <a:lnTo>
                  <a:pt x="42" y="391"/>
                </a:lnTo>
                <a:lnTo>
                  <a:pt x="48" y="391"/>
                </a:lnTo>
                <a:lnTo>
                  <a:pt x="53" y="391"/>
                </a:lnTo>
                <a:lnTo>
                  <a:pt x="59" y="391"/>
                </a:lnTo>
                <a:lnTo>
                  <a:pt x="63" y="391"/>
                </a:lnTo>
                <a:lnTo>
                  <a:pt x="69" y="391"/>
                </a:lnTo>
                <a:lnTo>
                  <a:pt x="72" y="391"/>
                </a:lnTo>
                <a:lnTo>
                  <a:pt x="76" y="391"/>
                </a:lnTo>
                <a:lnTo>
                  <a:pt x="76" y="391"/>
                </a:lnTo>
                <a:lnTo>
                  <a:pt x="86" y="389"/>
                </a:lnTo>
                <a:lnTo>
                  <a:pt x="93" y="385"/>
                </a:lnTo>
                <a:lnTo>
                  <a:pt x="101" y="383"/>
                </a:lnTo>
                <a:lnTo>
                  <a:pt x="109" y="382"/>
                </a:lnTo>
                <a:lnTo>
                  <a:pt x="116" y="382"/>
                </a:lnTo>
                <a:lnTo>
                  <a:pt x="124" y="380"/>
                </a:lnTo>
                <a:lnTo>
                  <a:pt x="132" y="378"/>
                </a:lnTo>
                <a:lnTo>
                  <a:pt x="137" y="376"/>
                </a:lnTo>
                <a:lnTo>
                  <a:pt x="143" y="374"/>
                </a:lnTo>
                <a:lnTo>
                  <a:pt x="149" y="370"/>
                </a:lnTo>
                <a:lnTo>
                  <a:pt x="153" y="366"/>
                </a:lnTo>
                <a:lnTo>
                  <a:pt x="156" y="362"/>
                </a:lnTo>
                <a:lnTo>
                  <a:pt x="160" y="357"/>
                </a:lnTo>
                <a:lnTo>
                  <a:pt x="162" y="349"/>
                </a:lnTo>
                <a:lnTo>
                  <a:pt x="164" y="340"/>
                </a:lnTo>
                <a:lnTo>
                  <a:pt x="164" y="330"/>
                </a:lnTo>
                <a:lnTo>
                  <a:pt x="164" y="330"/>
                </a:lnTo>
                <a:lnTo>
                  <a:pt x="164" y="322"/>
                </a:lnTo>
                <a:lnTo>
                  <a:pt x="164" y="317"/>
                </a:lnTo>
                <a:lnTo>
                  <a:pt x="164" y="311"/>
                </a:lnTo>
                <a:lnTo>
                  <a:pt x="164" y="307"/>
                </a:lnTo>
                <a:lnTo>
                  <a:pt x="164" y="301"/>
                </a:lnTo>
                <a:lnTo>
                  <a:pt x="164" y="298"/>
                </a:lnTo>
                <a:lnTo>
                  <a:pt x="164" y="292"/>
                </a:lnTo>
                <a:lnTo>
                  <a:pt x="164" y="288"/>
                </a:lnTo>
                <a:lnTo>
                  <a:pt x="164" y="282"/>
                </a:lnTo>
                <a:lnTo>
                  <a:pt x="164" y="277"/>
                </a:lnTo>
                <a:lnTo>
                  <a:pt x="164" y="271"/>
                </a:lnTo>
                <a:lnTo>
                  <a:pt x="164" y="263"/>
                </a:lnTo>
                <a:lnTo>
                  <a:pt x="164" y="258"/>
                </a:lnTo>
                <a:lnTo>
                  <a:pt x="164" y="248"/>
                </a:lnTo>
                <a:lnTo>
                  <a:pt x="164" y="238"/>
                </a:lnTo>
                <a:lnTo>
                  <a:pt x="164" y="229"/>
                </a:lnTo>
                <a:lnTo>
                  <a:pt x="164" y="229"/>
                </a:lnTo>
                <a:lnTo>
                  <a:pt x="177" y="231"/>
                </a:lnTo>
                <a:lnTo>
                  <a:pt x="185" y="235"/>
                </a:lnTo>
                <a:lnTo>
                  <a:pt x="189" y="238"/>
                </a:lnTo>
                <a:lnTo>
                  <a:pt x="189" y="246"/>
                </a:lnTo>
                <a:lnTo>
                  <a:pt x="189" y="252"/>
                </a:lnTo>
                <a:lnTo>
                  <a:pt x="191" y="258"/>
                </a:lnTo>
                <a:lnTo>
                  <a:pt x="195" y="261"/>
                </a:lnTo>
                <a:lnTo>
                  <a:pt x="200" y="261"/>
                </a:lnTo>
                <a:lnTo>
                  <a:pt x="200" y="261"/>
                </a:lnTo>
                <a:lnTo>
                  <a:pt x="206" y="261"/>
                </a:lnTo>
                <a:lnTo>
                  <a:pt x="210" y="259"/>
                </a:lnTo>
                <a:lnTo>
                  <a:pt x="216" y="256"/>
                </a:lnTo>
                <a:lnTo>
                  <a:pt x="219" y="254"/>
                </a:lnTo>
                <a:lnTo>
                  <a:pt x="225" y="250"/>
                </a:lnTo>
                <a:lnTo>
                  <a:pt x="231" y="248"/>
                </a:lnTo>
                <a:lnTo>
                  <a:pt x="237" y="244"/>
                </a:lnTo>
                <a:lnTo>
                  <a:pt x="244" y="244"/>
                </a:lnTo>
                <a:lnTo>
                  <a:pt x="244" y="244"/>
                </a:lnTo>
                <a:lnTo>
                  <a:pt x="248" y="244"/>
                </a:lnTo>
                <a:lnTo>
                  <a:pt x="250" y="244"/>
                </a:lnTo>
                <a:lnTo>
                  <a:pt x="254" y="244"/>
                </a:lnTo>
                <a:lnTo>
                  <a:pt x="256" y="244"/>
                </a:lnTo>
                <a:lnTo>
                  <a:pt x="258" y="246"/>
                </a:lnTo>
                <a:lnTo>
                  <a:pt x="259" y="246"/>
                </a:lnTo>
                <a:lnTo>
                  <a:pt x="261" y="244"/>
                </a:lnTo>
                <a:lnTo>
                  <a:pt x="265" y="244"/>
                </a:lnTo>
                <a:lnTo>
                  <a:pt x="265" y="244"/>
                </a:lnTo>
                <a:lnTo>
                  <a:pt x="265" y="252"/>
                </a:lnTo>
                <a:lnTo>
                  <a:pt x="269" y="259"/>
                </a:lnTo>
                <a:lnTo>
                  <a:pt x="271" y="265"/>
                </a:lnTo>
                <a:lnTo>
                  <a:pt x="275" y="271"/>
                </a:lnTo>
                <a:lnTo>
                  <a:pt x="280" y="277"/>
                </a:lnTo>
                <a:lnTo>
                  <a:pt x="286" y="280"/>
                </a:lnTo>
                <a:lnTo>
                  <a:pt x="294" y="286"/>
                </a:lnTo>
                <a:lnTo>
                  <a:pt x="301" y="290"/>
                </a:lnTo>
                <a:lnTo>
                  <a:pt x="309" y="292"/>
                </a:lnTo>
                <a:lnTo>
                  <a:pt x="319" y="296"/>
                </a:lnTo>
                <a:lnTo>
                  <a:pt x="328" y="298"/>
                </a:lnTo>
                <a:lnTo>
                  <a:pt x="336" y="300"/>
                </a:lnTo>
                <a:lnTo>
                  <a:pt x="345" y="301"/>
                </a:lnTo>
                <a:lnTo>
                  <a:pt x="355" y="303"/>
                </a:lnTo>
                <a:lnTo>
                  <a:pt x="362" y="303"/>
                </a:lnTo>
                <a:lnTo>
                  <a:pt x="372" y="303"/>
                </a:lnTo>
                <a:lnTo>
                  <a:pt x="372" y="303"/>
                </a:lnTo>
                <a:lnTo>
                  <a:pt x="378" y="303"/>
                </a:lnTo>
                <a:lnTo>
                  <a:pt x="385" y="300"/>
                </a:lnTo>
                <a:lnTo>
                  <a:pt x="389" y="298"/>
                </a:lnTo>
                <a:lnTo>
                  <a:pt x="395" y="294"/>
                </a:lnTo>
                <a:lnTo>
                  <a:pt x="399" y="288"/>
                </a:lnTo>
                <a:lnTo>
                  <a:pt x="401" y="284"/>
                </a:lnTo>
                <a:lnTo>
                  <a:pt x="404" y="279"/>
                </a:lnTo>
                <a:lnTo>
                  <a:pt x="406" y="273"/>
                </a:lnTo>
                <a:lnTo>
                  <a:pt x="406" y="273"/>
                </a:lnTo>
                <a:lnTo>
                  <a:pt x="414" y="279"/>
                </a:lnTo>
                <a:lnTo>
                  <a:pt x="420" y="284"/>
                </a:lnTo>
                <a:lnTo>
                  <a:pt x="423" y="290"/>
                </a:lnTo>
                <a:lnTo>
                  <a:pt x="427" y="298"/>
                </a:lnTo>
                <a:lnTo>
                  <a:pt x="431" y="303"/>
                </a:lnTo>
                <a:lnTo>
                  <a:pt x="435" y="309"/>
                </a:lnTo>
                <a:lnTo>
                  <a:pt x="439" y="317"/>
                </a:lnTo>
                <a:lnTo>
                  <a:pt x="444" y="321"/>
                </a:lnTo>
                <a:lnTo>
                  <a:pt x="444" y="321"/>
                </a:lnTo>
                <a:lnTo>
                  <a:pt x="454" y="326"/>
                </a:lnTo>
                <a:lnTo>
                  <a:pt x="464" y="330"/>
                </a:lnTo>
                <a:lnTo>
                  <a:pt x="471" y="332"/>
                </a:lnTo>
                <a:lnTo>
                  <a:pt x="479" y="334"/>
                </a:lnTo>
                <a:lnTo>
                  <a:pt x="488" y="336"/>
                </a:lnTo>
                <a:lnTo>
                  <a:pt x="496" y="338"/>
                </a:lnTo>
                <a:lnTo>
                  <a:pt x="502" y="341"/>
                </a:lnTo>
                <a:lnTo>
                  <a:pt x="509" y="347"/>
                </a:lnTo>
                <a:lnTo>
                  <a:pt x="509" y="347"/>
                </a:lnTo>
                <a:lnTo>
                  <a:pt x="513" y="351"/>
                </a:lnTo>
                <a:lnTo>
                  <a:pt x="515" y="355"/>
                </a:lnTo>
                <a:lnTo>
                  <a:pt x="519" y="359"/>
                </a:lnTo>
                <a:lnTo>
                  <a:pt x="523" y="364"/>
                </a:lnTo>
                <a:lnTo>
                  <a:pt x="525" y="370"/>
                </a:lnTo>
                <a:lnTo>
                  <a:pt x="528" y="376"/>
                </a:lnTo>
                <a:lnTo>
                  <a:pt x="530" y="382"/>
                </a:lnTo>
                <a:lnTo>
                  <a:pt x="534" y="387"/>
                </a:lnTo>
                <a:lnTo>
                  <a:pt x="538" y="393"/>
                </a:lnTo>
                <a:lnTo>
                  <a:pt x="542" y="399"/>
                </a:lnTo>
                <a:lnTo>
                  <a:pt x="544" y="403"/>
                </a:lnTo>
                <a:lnTo>
                  <a:pt x="547" y="406"/>
                </a:lnTo>
                <a:lnTo>
                  <a:pt x="551" y="410"/>
                </a:lnTo>
                <a:lnTo>
                  <a:pt x="555" y="414"/>
                </a:lnTo>
                <a:lnTo>
                  <a:pt x="559" y="416"/>
                </a:lnTo>
                <a:lnTo>
                  <a:pt x="563" y="416"/>
                </a:lnTo>
                <a:lnTo>
                  <a:pt x="563" y="416"/>
                </a:lnTo>
                <a:lnTo>
                  <a:pt x="567" y="416"/>
                </a:lnTo>
                <a:lnTo>
                  <a:pt x="570" y="414"/>
                </a:lnTo>
                <a:lnTo>
                  <a:pt x="572" y="412"/>
                </a:lnTo>
                <a:lnTo>
                  <a:pt x="576" y="410"/>
                </a:lnTo>
                <a:lnTo>
                  <a:pt x="580" y="408"/>
                </a:lnTo>
                <a:lnTo>
                  <a:pt x="582" y="408"/>
                </a:lnTo>
                <a:lnTo>
                  <a:pt x="586" y="406"/>
                </a:lnTo>
                <a:lnTo>
                  <a:pt x="589" y="406"/>
                </a:lnTo>
                <a:lnTo>
                  <a:pt x="589" y="406"/>
                </a:lnTo>
                <a:lnTo>
                  <a:pt x="595" y="406"/>
                </a:lnTo>
                <a:lnTo>
                  <a:pt x="599" y="406"/>
                </a:lnTo>
                <a:lnTo>
                  <a:pt x="603" y="406"/>
                </a:lnTo>
                <a:lnTo>
                  <a:pt x="605" y="406"/>
                </a:lnTo>
                <a:lnTo>
                  <a:pt x="609" y="406"/>
                </a:lnTo>
                <a:lnTo>
                  <a:pt x="612" y="406"/>
                </a:lnTo>
                <a:lnTo>
                  <a:pt x="616" y="406"/>
                </a:lnTo>
                <a:lnTo>
                  <a:pt x="620" y="406"/>
                </a:lnTo>
                <a:lnTo>
                  <a:pt x="620" y="321"/>
                </a:lnTo>
                <a:lnTo>
                  <a:pt x="620" y="321"/>
                </a:lnTo>
                <a:lnTo>
                  <a:pt x="614" y="322"/>
                </a:lnTo>
                <a:lnTo>
                  <a:pt x="610" y="324"/>
                </a:lnTo>
                <a:lnTo>
                  <a:pt x="607" y="326"/>
                </a:lnTo>
                <a:lnTo>
                  <a:pt x="605" y="328"/>
                </a:lnTo>
                <a:lnTo>
                  <a:pt x="601" y="332"/>
                </a:lnTo>
                <a:lnTo>
                  <a:pt x="599" y="334"/>
                </a:lnTo>
                <a:lnTo>
                  <a:pt x="597" y="338"/>
                </a:lnTo>
                <a:lnTo>
                  <a:pt x="595" y="341"/>
                </a:lnTo>
                <a:lnTo>
                  <a:pt x="572" y="341"/>
                </a:lnTo>
                <a:lnTo>
                  <a:pt x="572" y="341"/>
                </a:lnTo>
                <a:lnTo>
                  <a:pt x="567" y="338"/>
                </a:lnTo>
                <a:lnTo>
                  <a:pt x="563" y="336"/>
                </a:lnTo>
                <a:lnTo>
                  <a:pt x="557" y="332"/>
                </a:lnTo>
                <a:lnTo>
                  <a:pt x="551" y="326"/>
                </a:lnTo>
                <a:lnTo>
                  <a:pt x="546" y="322"/>
                </a:lnTo>
                <a:lnTo>
                  <a:pt x="542" y="317"/>
                </a:lnTo>
                <a:lnTo>
                  <a:pt x="536" y="313"/>
                </a:lnTo>
                <a:lnTo>
                  <a:pt x="530" y="307"/>
                </a:lnTo>
                <a:lnTo>
                  <a:pt x="526" y="300"/>
                </a:lnTo>
                <a:lnTo>
                  <a:pt x="523" y="294"/>
                </a:lnTo>
                <a:lnTo>
                  <a:pt x="519" y="288"/>
                </a:lnTo>
                <a:lnTo>
                  <a:pt x="515" y="282"/>
                </a:lnTo>
                <a:lnTo>
                  <a:pt x="513" y="275"/>
                </a:lnTo>
                <a:lnTo>
                  <a:pt x="511" y="269"/>
                </a:lnTo>
                <a:lnTo>
                  <a:pt x="509" y="263"/>
                </a:lnTo>
                <a:lnTo>
                  <a:pt x="509" y="256"/>
                </a:lnTo>
                <a:lnTo>
                  <a:pt x="509" y="256"/>
                </a:lnTo>
                <a:lnTo>
                  <a:pt x="509" y="250"/>
                </a:lnTo>
                <a:lnTo>
                  <a:pt x="511" y="242"/>
                </a:lnTo>
                <a:lnTo>
                  <a:pt x="513" y="237"/>
                </a:lnTo>
                <a:lnTo>
                  <a:pt x="515" y="231"/>
                </a:lnTo>
                <a:lnTo>
                  <a:pt x="517" y="227"/>
                </a:lnTo>
                <a:lnTo>
                  <a:pt x="521" y="223"/>
                </a:lnTo>
                <a:lnTo>
                  <a:pt x="525" y="219"/>
                </a:lnTo>
                <a:lnTo>
                  <a:pt x="526" y="216"/>
                </a:lnTo>
                <a:lnTo>
                  <a:pt x="526" y="216"/>
                </a:lnTo>
                <a:lnTo>
                  <a:pt x="526" y="208"/>
                </a:lnTo>
                <a:lnTo>
                  <a:pt x="526" y="200"/>
                </a:lnTo>
                <a:lnTo>
                  <a:pt x="526" y="193"/>
                </a:lnTo>
                <a:lnTo>
                  <a:pt x="526" y="185"/>
                </a:lnTo>
                <a:lnTo>
                  <a:pt x="526" y="179"/>
                </a:lnTo>
                <a:lnTo>
                  <a:pt x="526" y="172"/>
                </a:lnTo>
                <a:lnTo>
                  <a:pt x="526" y="166"/>
                </a:lnTo>
                <a:lnTo>
                  <a:pt x="526" y="158"/>
                </a:lnTo>
                <a:lnTo>
                  <a:pt x="526" y="153"/>
                </a:lnTo>
                <a:lnTo>
                  <a:pt x="526" y="145"/>
                </a:lnTo>
                <a:lnTo>
                  <a:pt x="526" y="139"/>
                </a:lnTo>
                <a:lnTo>
                  <a:pt x="526" y="135"/>
                </a:lnTo>
                <a:lnTo>
                  <a:pt x="526" y="130"/>
                </a:lnTo>
                <a:lnTo>
                  <a:pt x="526" y="124"/>
                </a:lnTo>
                <a:lnTo>
                  <a:pt x="526" y="120"/>
                </a:lnTo>
                <a:lnTo>
                  <a:pt x="526" y="116"/>
                </a:lnTo>
                <a:lnTo>
                  <a:pt x="526" y="116"/>
                </a:lnTo>
                <a:lnTo>
                  <a:pt x="526" y="113"/>
                </a:lnTo>
                <a:lnTo>
                  <a:pt x="525" y="109"/>
                </a:lnTo>
                <a:lnTo>
                  <a:pt x="523" y="107"/>
                </a:lnTo>
                <a:lnTo>
                  <a:pt x="521" y="103"/>
                </a:lnTo>
                <a:lnTo>
                  <a:pt x="519" y="101"/>
                </a:lnTo>
                <a:lnTo>
                  <a:pt x="517" y="97"/>
                </a:lnTo>
                <a:lnTo>
                  <a:pt x="515" y="95"/>
                </a:lnTo>
                <a:lnTo>
                  <a:pt x="515" y="92"/>
                </a:lnTo>
                <a:lnTo>
                  <a:pt x="515" y="92"/>
                </a:lnTo>
                <a:lnTo>
                  <a:pt x="517" y="86"/>
                </a:lnTo>
                <a:lnTo>
                  <a:pt x="519" y="80"/>
                </a:lnTo>
                <a:lnTo>
                  <a:pt x="523" y="76"/>
                </a:lnTo>
                <a:lnTo>
                  <a:pt x="526" y="73"/>
                </a:lnTo>
                <a:lnTo>
                  <a:pt x="532" y="71"/>
                </a:lnTo>
                <a:lnTo>
                  <a:pt x="536" y="67"/>
                </a:lnTo>
                <a:lnTo>
                  <a:pt x="540" y="65"/>
                </a:lnTo>
                <a:lnTo>
                  <a:pt x="542" y="63"/>
                </a:lnTo>
                <a:lnTo>
                  <a:pt x="542" y="63"/>
                </a:lnTo>
                <a:lnTo>
                  <a:pt x="547" y="57"/>
                </a:lnTo>
                <a:lnTo>
                  <a:pt x="549" y="53"/>
                </a:lnTo>
                <a:lnTo>
                  <a:pt x="551" y="48"/>
                </a:lnTo>
                <a:lnTo>
                  <a:pt x="551" y="42"/>
                </a:lnTo>
                <a:lnTo>
                  <a:pt x="553" y="36"/>
                </a:lnTo>
                <a:lnTo>
                  <a:pt x="555" y="31"/>
                </a:lnTo>
                <a:lnTo>
                  <a:pt x="557" y="27"/>
                </a:lnTo>
                <a:lnTo>
                  <a:pt x="563" y="23"/>
                </a:lnTo>
                <a:lnTo>
                  <a:pt x="563" y="23"/>
                </a:lnTo>
                <a:lnTo>
                  <a:pt x="568" y="19"/>
                </a:lnTo>
                <a:lnTo>
                  <a:pt x="574" y="17"/>
                </a:lnTo>
                <a:lnTo>
                  <a:pt x="580" y="15"/>
                </a:lnTo>
                <a:lnTo>
                  <a:pt x="586" y="13"/>
                </a:lnTo>
                <a:lnTo>
                  <a:pt x="589" y="13"/>
                </a:lnTo>
                <a:lnTo>
                  <a:pt x="595" y="11"/>
                </a:lnTo>
                <a:lnTo>
                  <a:pt x="601" y="11"/>
                </a:lnTo>
                <a:lnTo>
                  <a:pt x="605" y="11"/>
                </a:lnTo>
                <a:lnTo>
                  <a:pt x="610" y="11"/>
                </a:lnTo>
                <a:lnTo>
                  <a:pt x="616" y="11"/>
                </a:lnTo>
                <a:lnTo>
                  <a:pt x="622" y="10"/>
                </a:lnTo>
                <a:lnTo>
                  <a:pt x="626" y="10"/>
                </a:lnTo>
                <a:lnTo>
                  <a:pt x="631" y="10"/>
                </a:lnTo>
                <a:lnTo>
                  <a:pt x="637" y="8"/>
                </a:lnTo>
                <a:lnTo>
                  <a:pt x="643" y="8"/>
                </a:lnTo>
                <a:lnTo>
                  <a:pt x="649" y="4"/>
                </a:lnTo>
                <a:lnTo>
                  <a:pt x="700" y="0"/>
                </a:lnTo>
                <a:lnTo>
                  <a:pt x="700" y="0"/>
                </a:lnTo>
                <a:lnTo>
                  <a:pt x="704" y="4"/>
                </a:lnTo>
                <a:lnTo>
                  <a:pt x="708" y="8"/>
                </a:lnTo>
                <a:lnTo>
                  <a:pt x="712" y="11"/>
                </a:lnTo>
                <a:lnTo>
                  <a:pt x="715" y="15"/>
                </a:lnTo>
                <a:lnTo>
                  <a:pt x="719" y="21"/>
                </a:lnTo>
                <a:lnTo>
                  <a:pt x="721" y="25"/>
                </a:lnTo>
                <a:lnTo>
                  <a:pt x="725" y="29"/>
                </a:lnTo>
                <a:lnTo>
                  <a:pt x="729" y="32"/>
                </a:lnTo>
                <a:lnTo>
                  <a:pt x="729" y="32"/>
                </a:lnTo>
                <a:lnTo>
                  <a:pt x="731" y="34"/>
                </a:lnTo>
                <a:lnTo>
                  <a:pt x="733" y="34"/>
                </a:lnTo>
                <a:lnTo>
                  <a:pt x="736" y="36"/>
                </a:lnTo>
                <a:lnTo>
                  <a:pt x="738" y="38"/>
                </a:lnTo>
                <a:lnTo>
                  <a:pt x="742" y="38"/>
                </a:lnTo>
                <a:lnTo>
                  <a:pt x="744" y="38"/>
                </a:lnTo>
                <a:lnTo>
                  <a:pt x="746" y="38"/>
                </a:lnTo>
                <a:lnTo>
                  <a:pt x="746" y="38"/>
                </a:lnTo>
                <a:lnTo>
                  <a:pt x="746" y="38"/>
                </a:lnTo>
                <a:lnTo>
                  <a:pt x="752" y="36"/>
                </a:lnTo>
                <a:lnTo>
                  <a:pt x="753" y="36"/>
                </a:lnTo>
                <a:lnTo>
                  <a:pt x="755" y="36"/>
                </a:lnTo>
                <a:lnTo>
                  <a:pt x="757" y="36"/>
                </a:lnTo>
                <a:lnTo>
                  <a:pt x="757" y="36"/>
                </a:lnTo>
                <a:lnTo>
                  <a:pt x="759" y="36"/>
                </a:lnTo>
                <a:lnTo>
                  <a:pt x="759" y="36"/>
                </a:lnTo>
                <a:lnTo>
                  <a:pt x="761" y="36"/>
                </a:lnTo>
                <a:lnTo>
                  <a:pt x="761" y="36"/>
                </a:lnTo>
                <a:lnTo>
                  <a:pt x="763" y="36"/>
                </a:lnTo>
                <a:lnTo>
                  <a:pt x="765" y="38"/>
                </a:lnTo>
                <a:lnTo>
                  <a:pt x="767" y="42"/>
                </a:lnTo>
                <a:lnTo>
                  <a:pt x="771" y="44"/>
                </a:lnTo>
                <a:lnTo>
                  <a:pt x="774" y="48"/>
                </a:lnTo>
                <a:lnTo>
                  <a:pt x="778" y="50"/>
                </a:lnTo>
                <a:lnTo>
                  <a:pt x="780" y="52"/>
                </a:lnTo>
                <a:lnTo>
                  <a:pt x="782" y="53"/>
                </a:lnTo>
                <a:lnTo>
                  <a:pt x="782" y="53"/>
                </a:lnTo>
                <a:lnTo>
                  <a:pt x="790" y="57"/>
                </a:lnTo>
                <a:lnTo>
                  <a:pt x="797" y="61"/>
                </a:lnTo>
                <a:lnTo>
                  <a:pt x="805" y="63"/>
                </a:lnTo>
                <a:lnTo>
                  <a:pt x="813" y="65"/>
                </a:lnTo>
                <a:lnTo>
                  <a:pt x="818" y="67"/>
                </a:lnTo>
                <a:lnTo>
                  <a:pt x="824" y="69"/>
                </a:lnTo>
                <a:lnTo>
                  <a:pt x="832" y="73"/>
                </a:lnTo>
                <a:lnTo>
                  <a:pt x="839" y="74"/>
                </a:lnTo>
                <a:lnTo>
                  <a:pt x="839" y="74"/>
                </a:lnTo>
                <a:lnTo>
                  <a:pt x="847" y="78"/>
                </a:lnTo>
                <a:lnTo>
                  <a:pt x="855" y="84"/>
                </a:lnTo>
                <a:lnTo>
                  <a:pt x="862" y="88"/>
                </a:lnTo>
                <a:lnTo>
                  <a:pt x="870" y="92"/>
                </a:lnTo>
                <a:lnTo>
                  <a:pt x="877" y="95"/>
                </a:lnTo>
                <a:lnTo>
                  <a:pt x="885" y="97"/>
                </a:lnTo>
                <a:lnTo>
                  <a:pt x="893" y="101"/>
                </a:lnTo>
                <a:lnTo>
                  <a:pt x="900" y="103"/>
                </a:lnTo>
                <a:lnTo>
                  <a:pt x="900" y="103"/>
                </a:lnTo>
                <a:lnTo>
                  <a:pt x="898" y="109"/>
                </a:lnTo>
                <a:lnTo>
                  <a:pt x="898" y="113"/>
                </a:lnTo>
                <a:lnTo>
                  <a:pt x="900" y="118"/>
                </a:lnTo>
                <a:lnTo>
                  <a:pt x="900" y="124"/>
                </a:lnTo>
                <a:lnTo>
                  <a:pt x="902" y="128"/>
                </a:lnTo>
                <a:lnTo>
                  <a:pt x="904" y="134"/>
                </a:lnTo>
                <a:lnTo>
                  <a:pt x="906" y="137"/>
                </a:lnTo>
                <a:lnTo>
                  <a:pt x="908" y="143"/>
                </a:lnTo>
                <a:lnTo>
                  <a:pt x="912" y="147"/>
                </a:lnTo>
                <a:lnTo>
                  <a:pt x="914" y="153"/>
                </a:lnTo>
                <a:lnTo>
                  <a:pt x="916" y="156"/>
                </a:lnTo>
                <a:lnTo>
                  <a:pt x="918" y="162"/>
                </a:lnTo>
                <a:lnTo>
                  <a:pt x="919" y="168"/>
                </a:lnTo>
                <a:lnTo>
                  <a:pt x="921" y="172"/>
                </a:lnTo>
                <a:lnTo>
                  <a:pt x="921" y="177"/>
                </a:lnTo>
                <a:lnTo>
                  <a:pt x="921" y="181"/>
                </a:lnTo>
                <a:lnTo>
                  <a:pt x="921" y="181"/>
                </a:lnTo>
                <a:lnTo>
                  <a:pt x="921" y="189"/>
                </a:lnTo>
                <a:lnTo>
                  <a:pt x="918" y="195"/>
                </a:lnTo>
                <a:lnTo>
                  <a:pt x="916" y="200"/>
                </a:lnTo>
                <a:lnTo>
                  <a:pt x="912" y="206"/>
                </a:lnTo>
                <a:lnTo>
                  <a:pt x="908" y="212"/>
                </a:lnTo>
                <a:lnTo>
                  <a:pt x="904" y="217"/>
                </a:lnTo>
                <a:lnTo>
                  <a:pt x="902" y="225"/>
                </a:lnTo>
                <a:lnTo>
                  <a:pt x="900" y="231"/>
                </a:lnTo>
                <a:lnTo>
                  <a:pt x="900" y="231"/>
                </a:lnTo>
                <a:lnTo>
                  <a:pt x="900" y="235"/>
                </a:lnTo>
                <a:lnTo>
                  <a:pt x="900" y="238"/>
                </a:lnTo>
                <a:lnTo>
                  <a:pt x="898" y="242"/>
                </a:lnTo>
                <a:lnTo>
                  <a:pt x="898" y="246"/>
                </a:lnTo>
                <a:lnTo>
                  <a:pt x="897" y="250"/>
                </a:lnTo>
                <a:lnTo>
                  <a:pt x="895" y="254"/>
                </a:lnTo>
                <a:lnTo>
                  <a:pt x="895" y="258"/>
                </a:lnTo>
                <a:lnTo>
                  <a:pt x="895" y="261"/>
                </a:lnTo>
                <a:lnTo>
                  <a:pt x="895" y="261"/>
                </a:lnTo>
                <a:lnTo>
                  <a:pt x="895" y="269"/>
                </a:lnTo>
                <a:lnTo>
                  <a:pt x="897" y="273"/>
                </a:lnTo>
                <a:lnTo>
                  <a:pt x="898" y="279"/>
                </a:lnTo>
                <a:lnTo>
                  <a:pt x="900" y="284"/>
                </a:lnTo>
                <a:lnTo>
                  <a:pt x="902" y="288"/>
                </a:lnTo>
                <a:lnTo>
                  <a:pt x="904" y="294"/>
                </a:lnTo>
                <a:lnTo>
                  <a:pt x="904" y="300"/>
                </a:lnTo>
                <a:lnTo>
                  <a:pt x="906" y="307"/>
                </a:lnTo>
                <a:lnTo>
                  <a:pt x="906" y="307"/>
                </a:lnTo>
                <a:lnTo>
                  <a:pt x="904" y="311"/>
                </a:lnTo>
                <a:lnTo>
                  <a:pt x="904" y="315"/>
                </a:lnTo>
                <a:lnTo>
                  <a:pt x="902" y="319"/>
                </a:lnTo>
                <a:lnTo>
                  <a:pt x="900" y="321"/>
                </a:lnTo>
                <a:lnTo>
                  <a:pt x="898" y="324"/>
                </a:lnTo>
                <a:lnTo>
                  <a:pt x="897" y="326"/>
                </a:lnTo>
                <a:lnTo>
                  <a:pt x="893" y="328"/>
                </a:lnTo>
                <a:lnTo>
                  <a:pt x="891" y="332"/>
                </a:lnTo>
                <a:lnTo>
                  <a:pt x="891" y="332"/>
                </a:lnTo>
                <a:lnTo>
                  <a:pt x="887" y="336"/>
                </a:lnTo>
                <a:lnTo>
                  <a:pt x="885" y="340"/>
                </a:lnTo>
                <a:lnTo>
                  <a:pt x="885" y="345"/>
                </a:lnTo>
                <a:lnTo>
                  <a:pt x="883" y="349"/>
                </a:lnTo>
                <a:lnTo>
                  <a:pt x="883" y="355"/>
                </a:lnTo>
                <a:lnTo>
                  <a:pt x="883" y="359"/>
                </a:lnTo>
                <a:lnTo>
                  <a:pt x="883" y="364"/>
                </a:lnTo>
                <a:lnTo>
                  <a:pt x="881" y="370"/>
                </a:lnTo>
                <a:lnTo>
                  <a:pt x="881" y="370"/>
                </a:lnTo>
                <a:lnTo>
                  <a:pt x="879" y="374"/>
                </a:lnTo>
                <a:lnTo>
                  <a:pt x="877" y="378"/>
                </a:lnTo>
                <a:lnTo>
                  <a:pt x="876" y="382"/>
                </a:lnTo>
                <a:lnTo>
                  <a:pt x="874" y="385"/>
                </a:lnTo>
                <a:lnTo>
                  <a:pt x="872" y="387"/>
                </a:lnTo>
                <a:lnTo>
                  <a:pt x="870" y="391"/>
                </a:lnTo>
                <a:lnTo>
                  <a:pt x="866" y="397"/>
                </a:lnTo>
                <a:lnTo>
                  <a:pt x="864" y="403"/>
                </a:lnTo>
                <a:lnTo>
                  <a:pt x="864" y="403"/>
                </a:lnTo>
                <a:lnTo>
                  <a:pt x="862" y="406"/>
                </a:lnTo>
                <a:lnTo>
                  <a:pt x="858" y="408"/>
                </a:lnTo>
                <a:lnTo>
                  <a:pt x="855" y="410"/>
                </a:lnTo>
                <a:lnTo>
                  <a:pt x="853" y="414"/>
                </a:lnTo>
                <a:lnTo>
                  <a:pt x="849" y="416"/>
                </a:lnTo>
                <a:lnTo>
                  <a:pt x="847" y="420"/>
                </a:lnTo>
                <a:lnTo>
                  <a:pt x="845" y="424"/>
                </a:lnTo>
                <a:lnTo>
                  <a:pt x="843" y="427"/>
                </a:lnTo>
                <a:lnTo>
                  <a:pt x="843" y="427"/>
                </a:lnTo>
                <a:lnTo>
                  <a:pt x="845" y="437"/>
                </a:lnTo>
                <a:lnTo>
                  <a:pt x="849" y="443"/>
                </a:lnTo>
                <a:lnTo>
                  <a:pt x="853" y="445"/>
                </a:lnTo>
                <a:lnTo>
                  <a:pt x="860" y="446"/>
                </a:lnTo>
                <a:lnTo>
                  <a:pt x="868" y="448"/>
                </a:lnTo>
                <a:lnTo>
                  <a:pt x="874" y="450"/>
                </a:lnTo>
                <a:lnTo>
                  <a:pt x="881" y="452"/>
                </a:lnTo>
                <a:lnTo>
                  <a:pt x="887" y="456"/>
                </a:lnTo>
                <a:lnTo>
                  <a:pt x="887" y="456"/>
                </a:lnTo>
                <a:lnTo>
                  <a:pt x="881" y="460"/>
                </a:lnTo>
                <a:lnTo>
                  <a:pt x="874" y="462"/>
                </a:lnTo>
                <a:lnTo>
                  <a:pt x="864" y="464"/>
                </a:lnTo>
                <a:lnTo>
                  <a:pt x="856" y="467"/>
                </a:lnTo>
                <a:lnTo>
                  <a:pt x="849" y="469"/>
                </a:lnTo>
                <a:lnTo>
                  <a:pt x="841" y="473"/>
                </a:lnTo>
                <a:lnTo>
                  <a:pt x="834" y="475"/>
                </a:lnTo>
                <a:lnTo>
                  <a:pt x="824" y="477"/>
                </a:lnTo>
                <a:lnTo>
                  <a:pt x="816" y="481"/>
                </a:lnTo>
                <a:lnTo>
                  <a:pt x="809" y="483"/>
                </a:lnTo>
                <a:lnTo>
                  <a:pt x="799" y="486"/>
                </a:lnTo>
                <a:lnTo>
                  <a:pt x="792" y="488"/>
                </a:lnTo>
                <a:lnTo>
                  <a:pt x="784" y="490"/>
                </a:lnTo>
                <a:lnTo>
                  <a:pt x="776" y="494"/>
                </a:lnTo>
                <a:lnTo>
                  <a:pt x="769" y="496"/>
                </a:lnTo>
                <a:lnTo>
                  <a:pt x="761" y="496"/>
                </a:lnTo>
                <a:lnTo>
                  <a:pt x="761" y="496"/>
                </a:lnTo>
                <a:lnTo>
                  <a:pt x="755" y="498"/>
                </a:lnTo>
                <a:lnTo>
                  <a:pt x="750" y="500"/>
                </a:lnTo>
                <a:lnTo>
                  <a:pt x="746" y="502"/>
                </a:lnTo>
                <a:lnTo>
                  <a:pt x="740" y="502"/>
                </a:lnTo>
                <a:lnTo>
                  <a:pt x="734" y="504"/>
                </a:lnTo>
                <a:lnTo>
                  <a:pt x="731" y="506"/>
                </a:lnTo>
                <a:lnTo>
                  <a:pt x="725" y="507"/>
                </a:lnTo>
                <a:lnTo>
                  <a:pt x="721" y="509"/>
                </a:lnTo>
                <a:lnTo>
                  <a:pt x="715" y="511"/>
                </a:lnTo>
                <a:lnTo>
                  <a:pt x="712" y="513"/>
                </a:lnTo>
                <a:lnTo>
                  <a:pt x="706" y="515"/>
                </a:lnTo>
                <a:lnTo>
                  <a:pt x="702" y="517"/>
                </a:lnTo>
                <a:lnTo>
                  <a:pt x="696" y="519"/>
                </a:lnTo>
                <a:lnTo>
                  <a:pt x="691" y="521"/>
                </a:lnTo>
                <a:lnTo>
                  <a:pt x="685" y="523"/>
                </a:lnTo>
                <a:lnTo>
                  <a:pt x="679" y="525"/>
                </a:lnTo>
                <a:lnTo>
                  <a:pt x="679" y="525"/>
                </a:lnTo>
                <a:lnTo>
                  <a:pt x="677" y="525"/>
                </a:lnTo>
                <a:lnTo>
                  <a:pt x="671" y="527"/>
                </a:lnTo>
                <a:lnTo>
                  <a:pt x="668" y="530"/>
                </a:lnTo>
                <a:lnTo>
                  <a:pt x="662" y="532"/>
                </a:lnTo>
                <a:lnTo>
                  <a:pt x="656" y="534"/>
                </a:lnTo>
                <a:lnTo>
                  <a:pt x="650" y="538"/>
                </a:lnTo>
                <a:lnTo>
                  <a:pt x="645" y="540"/>
                </a:lnTo>
                <a:lnTo>
                  <a:pt x="639" y="540"/>
                </a:lnTo>
                <a:lnTo>
                  <a:pt x="639" y="551"/>
                </a:lnTo>
                <a:lnTo>
                  <a:pt x="639" y="551"/>
                </a:lnTo>
                <a:lnTo>
                  <a:pt x="639" y="553"/>
                </a:lnTo>
                <a:lnTo>
                  <a:pt x="641" y="557"/>
                </a:lnTo>
                <a:lnTo>
                  <a:pt x="641" y="559"/>
                </a:lnTo>
                <a:lnTo>
                  <a:pt x="643" y="563"/>
                </a:lnTo>
                <a:lnTo>
                  <a:pt x="643" y="565"/>
                </a:lnTo>
                <a:lnTo>
                  <a:pt x="645" y="569"/>
                </a:lnTo>
                <a:lnTo>
                  <a:pt x="645" y="572"/>
                </a:lnTo>
                <a:lnTo>
                  <a:pt x="645" y="574"/>
                </a:lnTo>
                <a:lnTo>
                  <a:pt x="645" y="574"/>
                </a:lnTo>
                <a:lnTo>
                  <a:pt x="645" y="576"/>
                </a:lnTo>
                <a:lnTo>
                  <a:pt x="647" y="576"/>
                </a:lnTo>
                <a:lnTo>
                  <a:pt x="647" y="578"/>
                </a:lnTo>
                <a:lnTo>
                  <a:pt x="647" y="580"/>
                </a:lnTo>
                <a:lnTo>
                  <a:pt x="647" y="582"/>
                </a:lnTo>
                <a:lnTo>
                  <a:pt x="647" y="586"/>
                </a:lnTo>
                <a:lnTo>
                  <a:pt x="647" y="588"/>
                </a:lnTo>
                <a:lnTo>
                  <a:pt x="647" y="591"/>
                </a:lnTo>
                <a:lnTo>
                  <a:pt x="631" y="590"/>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0" name="Freeform 20"/>
          <p:cNvSpPr>
            <a:spLocks/>
          </p:cNvSpPr>
          <p:nvPr/>
        </p:nvSpPr>
        <p:spPr bwMode="auto">
          <a:xfrm>
            <a:off x="2647950" y="4348064"/>
            <a:ext cx="869950" cy="836613"/>
          </a:xfrm>
          <a:custGeom>
            <a:avLst/>
            <a:gdLst>
              <a:gd name="T0" fmla="*/ 51 w 967"/>
              <a:gd name="T1" fmla="*/ 13 h 957"/>
              <a:gd name="T2" fmla="*/ 88 w 967"/>
              <a:gd name="T3" fmla="*/ 2 h 957"/>
              <a:gd name="T4" fmla="*/ 326 w 967"/>
              <a:gd name="T5" fmla="*/ 2 h 957"/>
              <a:gd name="T6" fmla="*/ 380 w 967"/>
              <a:gd name="T7" fmla="*/ 7 h 957"/>
              <a:gd name="T8" fmla="*/ 389 w 967"/>
              <a:gd name="T9" fmla="*/ 42 h 957"/>
              <a:gd name="T10" fmla="*/ 401 w 967"/>
              <a:gd name="T11" fmla="*/ 93 h 957"/>
              <a:gd name="T12" fmla="*/ 446 w 967"/>
              <a:gd name="T13" fmla="*/ 158 h 957"/>
              <a:gd name="T14" fmla="*/ 502 w 967"/>
              <a:gd name="T15" fmla="*/ 177 h 957"/>
              <a:gd name="T16" fmla="*/ 557 w 967"/>
              <a:gd name="T17" fmla="*/ 168 h 957"/>
              <a:gd name="T18" fmla="*/ 605 w 967"/>
              <a:gd name="T19" fmla="*/ 152 h 957"/>
              <a:gd name="T20" fmla="*/ 614 w 967"/>
              <a:gd name="T21" fmla="*/ 105 h 957"/>
              <a:gd name="T22" fmla="*/ 652 w 967"/>
              <a:gd name="T23" fmla="*/ 89 h 957"/>
              <a:gd name="T24" fmla="*/ 692 w 967"/>
              <a:gd name="T25" fmla="*/ 112 h 957"/>
              <a:gd name="T26" fmla="*/ 799 w 967"/>
              <a:gd name="T27" fmla="*/ 171 h 957"/>
              <a:gd name="T28" fmla="*/ 799 w 967"/>
              <a:gd name="T29" fmla="*/ 246 h 957"/>
              <a:gd name="T30" fmla="*/ 801 w 967"/>
              <a:gd name="T31" fmla="*/ 301 h 957"/>
              <a:gd name="T32" fmla="*/ 826 w 967"/>
              <a:gd name="T33" fmla="*/ 324 h 957"/>
              <a:gd name="T34" fmla="*/ 839 w 967"/>
              <a:gd name="T35" fmla="*/ 362 h 957"/>
              <a:gd name="T36" fmla="*/ 830 w 967"/>
              <a:gd name="T37" fmla="*/ 400 h 957"/>
              <a:gd name="T38" fmla="*/ 834 w 967"/>
              <a:gd name="T39" fmla="*/ 427 h 957"/>
              <a:gd name="T40" fmla="*/ 858 w 967"/>
              <a:gd name="T41" fmla="*/ 423 h 957"/>
              <a:gd name="T42" fmla="*/ 898 w 967"/>
              <a:gd name="T43" fmla="*/ 412 h 957"/>
              <a:gd name="T44" fmla="*/ 931 w 967"/>
              <a:gd name="T45" fmla="*/ 412 h 957"/>
              <a:gd name="T46" fmla="*/ 967 w 967"/>
              <a:gd name="T47" fmla="*/ 410 h 957"/>
              <a:gd name="T48" fmla="*/ 967 w 967"/>
              <a:gd name="T49" fmla="*/ 463 h 957"/>
              <a:gd name="T50" fmla="*/ 967 w 967"/>
              <a:gd name="T51" fmla="*/ 498 h 957"/>
              <a:gd name="T52" fmla="*/ 959 w 967"/>
              <a:gd name="T53" fmla="*/ 543 h 957"/>
              <a:gd name="T54" fmla="*/ 919 w 967"/>
              <a:gd name="T55" fmla="*/ 563 h 957"/>
              <a:gd name="T56" fmla="*/ 875 w 967"/>
              <a:gd name="T57" fmla="*/ 572 h 957"/>
              <a:gd name="T58" fmla="*/ 839 w 967"/>
              <a:gd name="T59" fmla="*/ 572 h 957"/>
              <a:gd name="T60" fmla="*/ 805 w 967"/>
              <a:gd name="T61" fmla="*/ 572 h 957"/>
              <a:gd name="T62" fmla="*/ 870 w 967"/>
              <a:gd name="T63" fmla="*/ 938 h 957"/>
              <a:gd name="T64" fmla="*/ 792 w 967"/>
              <a:gd name="T65" fmla="*/ 952 h 957"/>
              <a:gd name="T66" fmla="*/ 719 w 967"/>
              <a:gd name="T67" fmla="*/ 957 h 957"/>
              <a:gd name="T68" fmla="*/ 635 w 967"/>
              <a:gd name="T69" fmla="*/ 954 h 957"/>
              <a:gd name="T70" fmla="*/ 557 w 967"/>
              <a:gd name="T71" fmla="*/ 942 h 957"/>
              <a:gd name="T72" fmla="*/ 525 w 967"/>
              <a:gd name="T73" fmla="*/ 925 h 957"/>
              <a:gd name="T74" fmla="*/ 168 w 967"/>
              <a:gd name="T75" fmla="*/ 910 h 957"/>
              <a:gd name="T76" fmla="*/ 114 w 967"/>
              <a:gd name="T77" fmla="*/ 887 h 957"/>
              <a:gd name="T78" fmla="*/ 69 w 967"/>
              <a:gd name="T79" fmla="*/ 896 h 957"/>
              <a:gd name="T80" fmla="*/ 29 w 967"/>
              <a:gd name="T81" fmla="*/ 896 h 957"/>
              <a:gd name="T82" fmla="*/ 2 w 967"/>
              <a:gd name="T83" fmla="*/ 885 h 957"/>
              <a:gd name="T84" fmla="*/ 6 w 967"/>
              <a:gd name="T85" fmla="*/ 847 h 957"/>
              <a:gd name="T86" fmla="*/ 6 w 967"/>
              <a:gd name="T87" fmla="*/ 811 h 957"/>
              <a:gd name="T88" fmla="*/ 9 w 967"/>
              <a:gd name="T89" fmla="*/ 788 h 957"/>
              <a:gd name="T90" fmla="*/ 23 w 967"/>
              <a:gd name="T91" fmla="*/ 751 h 957"/>
              <a:gd name="T92" fmla="*/ 34 w 967"/>
              <a:gd name="T93" fmla="*/ 713 h 957"/>
              <a:gd name="T94" fmla="*/ 48 w 967"/>
              <a:gd name="T95" fmla="*/ 643 h 957"/>
              <a:gd name="T96" fmla="*/ 76 w 967"/>
              <a:gd name="T97" fmla="*/ 576 h 957"/>
              <a:gd name="T98" fmla="*/ 118 w 967"/>
              <a:gd name="T99" fmla="*/ 528 h 957"/>
              <a:gd name="T100" fmla="*/ 160 w 967"/>
              <a:gd name="T101" fmla="*/ 461 h 957"/>
              <a:gd name="T102" fmla="*/ 160 w 967"/>
              <a:gd name="T103" fmla="*/ 387 h 957"/>
              <a:gd name="T104" fmla="*/ 124 w 967"/>
              <a:gd name="T105" fmla="*/ 324 h 957"/>
              <a:gd name="T106" fmla="*/ 105 w 967"/>
              <a:gd name="T107" fmla="*/ 265 h 957"/>
              <a:gd name="T108" fmla="*/ 130 w 967"/>
              <a:gd name="T109" fmla="*/ 215 h 957"/>
              <a:gd name="T110" fmla="*/ 114 w 967"/>
              <a:gd name="T111" fmla="*/ 160 h 957"/>
              <a:gd name="T112" fmla="*/ 80 w 967"/>
              <a:gd name="T113" fmla="*/ 91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7" h="957">
                <a:moveTo>
                  <a:pt x="40" y="30"/>
                </a:moveTo>
                <a:lnTo>
                  <a:pt x="40" y="30"/>
                </a:lnTo>
                <a:lnTo>
                  <a:pt x="42" y="25"/>
                </a:lnTo>
                <a:lnTo>
                  <a:pt x="44" y="21"/>
                </a:lnTo>
                <a:lnTo>
                  <a:pt x="46" y="19"/>
                </a:lnTo>
                <a:lnTo>
                  <a:pt x="50" y="15"/>
                </a:lnTo>
                <a:lnTo>
                  <a:pt x="51" y="13"/>
                </a:lnTo>
                <a:lnTo>
                  <a:pt x="57" y="11"/>
                </a:lnTo>
                <a:lnTo>
                  <a:pt x="61" y="7"/>
                </a:lnTo>
                <a:lnTo>
                  <a:pt x="67" y="5"/>
                </a:lnTo>
                <a:lnTo>
                  <a:pt x="71" y="5"/>
                </a:lnTo>
                <a:lnTo>
                  <a:pt x="76" y="4"/>
                </a:lnTo>
                <a:lnTo>
                  <a:pt x="82" y="2"/>
                </a:lnTo>
                <a:lnTo>
                  <a:pt x="88" y="2"/>
                </a:lnTo>
                <a:lnTo>
                  <a:pt x="93" y="2"/>
                </a:lnTo>
                <a:lnTo>
                  <a:pt x="99" y="0"/>
                </a:lnTo>
                <a:lnTo>
                  <a:pt x="103" y="0"/>
                </a:lnTo>
                <a:lnTo>
                  <a:pt x="109" y="0"/>
                </a:lnTo>
                <a:lnTo>
                  <a:pt x="318" y="0"/>
                </a:lnTo>
                <a:lnTo>
                  <a:pt x="318" y="0"/>
                </a:lnTo>
                <a:lnTo>
                  <a:pt x="326" y="2"/>
                </a:lnTo>
                <a:lnTo>
                  <a:pt x="336" y="2"/>
                </a:lnTo>
                <a:lnTo>
                  <a:pt x="343" y="0"/>
                </a:lnTo>
                <a:lnTo>
                  <a:pt x="351" y="0"/>
                </a:lnTo>
                <a:lnTo>
                  <a:pt x="359" y="0"/>
                </a:lnTo>
                <a:lnTo>
                  <a:pt x="366" y="0"/>
                </a:lnTo>
                <a:lnTo>
                  <a:pt x="372" y="4"/>
                </a:lnTo>
                <a:lnTo>
                  <a:pt x="380" y="7"/>
                </a:lnTo>
                <a:lnTo>
                  <a:pt x="380" y="7"/>
                </a:lnTo>
                <a:lnTo>
                  <a:pt x="383" y="13"/>
                </a:lnTo>
                <a:lnTo>
                  <a:pt x="387" y="19"/>
                </a:lnTo>
                <a:lnTo>
                  <a:pt x="387" y="25"/>
                </a:lnTo>
                <a:lnTo>
                  <a:pt x="389" y="30"/>
                </a:lnTo>
                <a:lnTo>
                  <a:pt x="389" y="36"/>
                </a:lnTo>
                <a:lnTo>
                  <a:pt x="389" y="42"/>
                </a:lnTo>
                <a:lnTo>
                  <a:pt x="389" y="49"/>
                </a:lnTo>
                <a:lnTo>
                  <a:pt x="389" y="55"/>
                </a:lnTo>
                <a:lnTo>
                  <a:pt x="389" y="55"/>
                </a:lnTo>
                <a:lnTo>
                  <a:pt x="391" y="65"/>
                </a:lnTo>
                <a:lnTo>
                  <a:pt x="393" y="74"/>
                </a:lnTo>
                <a:lnTo>
                  <a:pt x="397" y="84"/>
                </a:lnTo>
                <a:lnTo>
                  <a:pt x="401" y="93"/>
                </a:lnTo>
                <a:lnTo>
                  <a:pt x="404" y="103"/>
                </a:lnTo>
                <a:lnTo>
                  <a:pt x="410" y="114"/>
                </a:lnTo>
                <a:lnTo>
                  <a:pt x="416" y="124"/>
                </a:lnTo>
                <a:lnTo>
                  <a:pt x="423" y="133"/>
                </a:lnTo>
                <a:lnTo>
                  <a:pt x="431" y="141"/>
                </a:lnTo>
                <a:lnTo>
                  <a:pt x="437" y="150"/>
                </a:lnTo>
                <a:lnTo>
                  <a:pt x="446" y="158"/>
                </a:lnTo>
                <a:lnTo>
                  <a:pt x="454" y="164"/>
                </a:lnTo>
                <a:lnTo>
                  <a:pt x="463" y="170"/>
                </a:lnTo>
                <a:lnTo>
                  <a:pt x="473" y="173"/>
                </a:lnTo>
                <a:lnTo>
                  <a:pt x="483" y="175"/>
                </a:lnTo>
                <a:lnTo>
                  <a:pt x="492" y="177"/>
                </a:lnTo>
                <a:lnTo>
                  <a:pt x="492" y="177"/>
                </a:lnTo>
                <a:lnTo>
                  <a:pt x="502" y="177"/>
                </a:lnTo>
                <a:lnTo>
                  <a:pt x="509" y="175"/>
                </a:lnTo>
                <a:lnTo>
                  <a:pt x="517" y="173"/>
                </a:lnTo>
                <a:lnTo>
                  <a:pt x="525" y="173"/>
                </a:lnTo>
                <a:lnTo>
                  <a:pt x="532" y="171"/>
                </a:lnTo>
                <a:lnTo>
                  <a:pt x="540" y="170"/>
                </a:lnTo>
                <a:lnTo>
                  <a:pt x="549" y="168"/>
                </a:lnTo>
                <a:lnTo>
                  <a:pt x="557" y="168"/>
                </a:lnTo>
                <a:lnTo>
                  <a:pt x="557" y="168"/>
                </a:lnTo>
                <a:lnTo>
                  <a:pt x="568" y="168"/>
                </a:lnTo>
                <a:lnTo>
                  <a:pt x="580" y="166"/>
                </a:lnTo>
                <a:lnTo>
                  <a:pt x="587" y="164"/>
                </a:lnTo>
                <a:lnTo>
                  <a:pt x="595" y="162"/>
                </a:lnTo>
                <a:lnTo>
                  <a:pt x="601" y="158"/>
                </a:lnTo>
                <a:lnTo>
                  <a:pt x="605" y="152"/>
                </a:lnTo>
                <a:lnTo>
                  <a:pt x="610" y="145"/>
                </a:lnTo>
                <a:lnTo>
                  <a:pt x="614" y="135"/>
                </a:lnTo>
                <a:lnTo>
                  <a:pt x="614" y="135"/>
                </a:lnTo>
                <a:lnTo>
                  <a:pt x="616" y="128"/>
                </a:lnTo>
                <a:lnTo>
                  <a:pt x="616" y="120"/>
                </a:lnTo>
                <a:lnTo>
                  <a:pt x="614" y="112"/>
                </a:lnTo>
                <a:lnTo>
                  <a:pt x="614" y="105"/>
                </a:lnTo>
                <a:lnTo>
                  <a:pt x="616" y="99"/>
                </a:lnTo>
                <a:lnTo>
                  <a:pt x="618" y="93"/>
                </a:lnTo>
                <a:lnTo>
                  <a:pt x="626" y="89"/>
                </a:lnTo>
                <a:lnTo>
                  <a:pt x="637" y="89"/>
                </a:lnTo>
                <a:lnTo>
                  <a:pt x="637" y="89"/>
                </a:lnTo>
                <a:lnTo>
                  <a:pt x="645" y="89"/>
                </a:lnTo>
                <a:lnTo>
                  <a:pt x="652" y="89"/>
                </a:lnTo>
                <a:lnTo>
                  <a:pt x="660" y="89"/>
                </a:lnTo>
                <a:lnTo>
                  <a:pt x="666" y="91"/>
                </a:lnTo>
                <a:lnTo>
                  <a:pt x="671" y="93"/>
                </a:lnTo>
                <a:lnTo>
                  <a:pt x="677" y="93"/>
                </a:lnTo>
                <a:lnTo>
                  <a:pt x="685" y="93"/>
                </a:lnTo>
                <a:lnTo>
                  <a:pt x="692" y="95"/>
                </a:lnTo>
                <a:lnTo>
                  <a:pt x="692" y="112"/>
                </a:lnTo>
                <a:lnTo>
                  <a:pt x="799" y="112"/>
                </a:lnTo>
                <a:lnTo>
                  <a:pt x="799" y="112"/>
                </a:lnTo>
                <a:lnTo>
                  <a:pt x="799" y="126"/>
                </a:lnTo>
                <a:lnTo>
                  <a:pt x="799" y="137"/>
                </a:lnTo>
                <a:lnTo>
                  <a:pt x="799" y="149"/>
                </a:lnTo>
                <a:lnTo>
                  <a:pt x="799" y="160"/>
                </a:lnTo>
                <a:lnTo>
                  <a:pt x="799" y="171"/>
                </a:lnTo>
                <a:lnTo>
                  <a:pt x="799" y="183"/>
                </a:lnTo>
                <a:lnTo>
                  <a:pt x="799" y="192"/>
                </a:lnTo>
                <a:lnTo>
                  <a:pt x="799" y="204"/>
                </a:lnTo>
                <a:lnTo>
                  <a:pt x="799" y="213"/>
                </a:lnTo>
                <a:lnTo>
                  <a:pt x="799" y="225"/>
                </a:lnTo>
                <a:lnTo>
                  <a:pt x="799" y="234"/>
                </a:lnTo>
                <a:lnTo>
                  <a:pt x="799" y="246"/>
                </a:lnTo>
                <a:lnTo>
                  <a:pt x="799" y="255"/>
                </a:lnTo>
                <a:lnTo>
                  <a:pt x="799" y="267"/>
                </a:lnTo>
                <a:lnTo>
                  <a:pt x="799" y="278"/>
                </a:lnTo>
                <a:lnTo>
                  <a:pt x="799" y="290"/>
                </a:lnTo>
                <a:lnTo>
                  <a:pt x="799" y="290"/>
                </a:lnTo>
                <a:lnTo>
                  <a:pt x="799" y="294"/>
                </a:lnTo>
                <a:lnTo>
                  <a:pt x="801" y="301"/>
                </a:lnTo>
                <a:lnTo>
                  <a:pt x="805" y="307"/>
                </a:lnTo>
                <a:lnTo>
                  <a:pt x="807" y="313"/>
                </a:lnTo>
                <a:lnTo>
                  <a:pt x="811" y="316"/>
                </a:lnTo>
                <a:lnTo>
                  <a:pt x="816" y="320"/>
                </a:lnTo>
                <a:lnTo>
                  <a:pt x="820" y="324"/>
                </a:lnTo>
                <a:lnTo>
                  <a:pt x="826" y="324"/>
                </a:lnTo>
                <a:lnTo>
                  <a:pt x="826" y="324"/>
                </a:lnTo>
                <a:lnTo>
                  <a:pt x="826" y="332"/>
                </a:lnTo>
                <a:lnTo>
                  <a:pt x="828" y="337"/>
                </a:lnTo>
                <a:lnTo>
                  <a:pt x="830" y="343"/>
                </a:lnTo>
                <a:lnTo>
                  <a:pt x="834" y="347"/>
                </a:lnTo>
                <a:lnTo>
                  <a:pt x="835" y="353"/>
                </a:lnTo>
                <a:lnTo>
                  <a:pt x="837" y="357"/>
                </a:lnTo>
                <a:lnTo>
                  <a:pt x="839" y="362"/>
                </a:lnTo>
                <a:lnTo>
                  <a:pt x="839" y="368"/>
                </a:lnTo>
                <a:lnTo>
                  <a:pt x="839" y="368"/>
                </a:lnTo>
                <a:lnTo>
                  <a:pt x="839" y="376"/>
                </a:lnTo>
                <a:lnTo>
                  <a:pt x="837" y="383"/>
                </a:lnTo>
                <a:lnTo>
                  <a:pt x="835" y="389"/>
                </a:lnTo>
                <a:lnTo>
                  <a:pt x="834" y="395"/>
                </a:lnTo>
                <a:lnTo>
                  <a:pt x="830" y="400"/>
                </a:lnTo>
                <a:lnTo>
                  <a:pt x="828" y="406"/>
                </a:lnTo>
                <a:lnTo>
                  <a:pt x="826" y="412"/>
                </a:lnTo>
                <a:lnTo>
                  <a:pt x="826" y="419"/>
                </a:lnTo>
                <a:lnTo>
                  <a:pt x="826" y="419"/>
                </a:lnTo>
                <a:lnTo>
                  <a:pt x="828" y="423"/>
                </a:lnTo>
                <a:lnTo>
                  <a:pt x="830" y="425"/>
                </a:lnTo>
                <a:lnTo>
                  <a:pt x="834" y="427"/>
                </a:lnTo>
                <a:lnTo>
                  <a:pt x="837" y="427"/>
                </a:lnTo>
                <a:lnTo>
                  <a:pt x="837" y="427"/>
                </a:lnTo>
                <a:lnTo>
                  <a:pt x="841" y="427"/>
                </a:lnTo>
                <a:lnTo>
                  <a:pt x="845" y="427"/>
                </a:lnTo>
                <a:lnTo>
                  <a:pt x="849" y="425"/>
                </a:lnTo>
                <a:lnTo>
                  <a:pt x="855" y="425"/>
                </a:lnTo>
                <a:lnTo>
                  <a:pt x="858" y="423"/>
                </a:lnTo>
                <a:lnTo>
                  <a:pt x="864" y="421"/>
                </a:lnTo>
                <a:lnTo>
                  <a:pt x="870" y="421"/>
                </a:lnTo>
                <a:lnTo>
                  <a:pt x="875" y="419"/>
                </a:lnTo>
                <a:lnTo>
                  <a:pt x="881" y="418"/>
                </a:lnTo>
                <a:lnTo>
                  <a:pt x="887" y="416"/>
                </a:lnTo>
                <a:lnTo>
                  <a:pt x="893" y="414"/>
                </a:lnTo>
                <a:lnTo>
                  <a:pt x="898" y="412"/>
                </a:lnTo>
                <a:lnTo>
                  <a:pt x="904" y="412"/>
                </a:lnTo>
                <a:lnTo>
                  <a:pt x="908" y="410"/>
                </a:lnTo>
                <a:lnTo>
                  <a:pt x="914" y="410"/>
                </a:lnTo>
                <a:lnTo>
                  <a:pt x="917" y="410"/>
                </a:lnTo>
                <a:lnTo>
                  <a:pt x="917" y="410"/>
                </a:lnTo>
                <a:lnTo>
                  <a:pt x="923" y="410"/>
                </a:lnTo>
                <a:lnTo>
                  <a:pt x="931" y="412"/>
                </a:lnTo>
                <a:lnTo>
                  <a:pt x="938" y="412"/>
                </a:lnTo>
                <a:lnTo>
                  <a:pt x="944" y="412"/>
                </a:lnTo>
                <a:lnTo>
                  <a:pt x="950" y="414"/>
                </a:lnTo>
                <a:lnTo>
                  <a:pt x="958" y="414"/>
                </a:lnTo>
                <a:lnTo>
                  <a:pt x="963" y="412"/>
                </a:lnTo>
                <a:lnTo>
                  <a:pt x="967" y="410"/>
                </a:lnTo>
                <a:lnTo>
                  <a:pt x="967" y="410"/>
                </a:lnTo>
                <a:lnTo>
                  <a:pt x="967" y="419"/>
                </a:lnTo>
                <a:lnTo>
                  <a:pt x="967" y="429"/>
                </a:lnTo>
                <a:lnTo>
                  <a:pt x="967" y="439"/>
                </a:lnTo>
                <a:lnTo>
                  <a:pt x="967" y="444"/>
                </a:lnTo>
                <a:lnTo>
                  <a:pt x="967" y="452"/>
                </a:lnTo>
                <a:lnTo>
                  <a:pt x="967" y="458"/>
                </a:lnTo>
                <a:lnTo>
                  <a:pt x="967" y="463"/>
                </a:lnTo>
                <a:lnTo>
                  <a:pt x="967" y="469"/>
                </a:lnTo>
                <a:lnTo>
                  <a:pt x="967" y="473"/>
                </a:lnTo>
                <a:lnTo>
                  <a:pt x="967" y="479"/>
                </a:lnTo>
                <a:lnTo>
                  <a:pt x="967" y="482"/>
                </a:lnTo>
                <a:lnTo>
                  <a:pt x="967" y="488"/>
                </a:lnTo>
                <a:lnTo>
                  <a:pt x="967" y="492"/>
                </a:lnTo>
                <a:lnTo>
                  <a:pt x="967" y="498"/>
                </a:lnTo>
                <a:lnTo>
                  <a:pt x="967" y="503"/>
                </a:lnTo>
                <a:lnTo>
                  <a:pt x="967" y="511"/>
                </a:lnTo>
                <a:lnTo>
                  <a:pt x="967" y="511"/>
                </a:lnTo>
                <a:lnTo>
                  <a:pt x="967" y="521"/>
                </a:lnTo>
                <a:lnTo>
                  <a:pt x="965" y="530"/>
                </a:lnTo>
                <a:lnTo>
                  <a:pt x="963" y="538"/>
                </a:lnTo>
                <a:lnTo>
                  <a:pt x="959" y="543"/>
                </a:lnTo>
                <a:lnTo>
                  <a:pt x="956" y="547"/>
                </a:lnTo>
                <a:lnTo>
                  <a:pt x="952" y="551"/>
                </a:lnTo>
                <a:lnTo>
                  <a:pt x="946" y="555"/>
                </a:lnTo>
                <a:lnTo>
                  <a:pt x="940" y="557"/>
                </a:lnTo>
                <a:lnTo>
                  <a:pt x="935" y="559"/>
                </a:lnTo>
                <a:lnTo>
                  <a:pt x="927" y="561"/>
                </a:lnTo>
                <a:lnTo>
                  <a:pt x="919" y="563"/>
                </a:lnTo>
                <a:lnTo>
                  <a:pt x="912" y="563"/>
                </a:lnTo>
                <a:lnTo>
                  <a:pt x="904" y="564"/>
                </a:lnTo>
                <a:lnTo>
                  <a:pt x="896" y="566"/>
                </a:lnTo>
                <a:lnTo>
                  <a:pt x="889" y="570"/>
                </a:lnTo>
                <a:lnTo>
                  <a:pt x="879" y="572"/>
                </a:lnTo>
                <a:lnTo>
                  <a:pt x="879" y="572"/>
                </a:lnTo>
                <a:lnTo>
                  <a:pt x="875" y="572"/>
                </a:lnTo>
                <a:lnTo>
                  <a:pt x="872" y="572"/>
                </a:lnTo>
                <a:lnTo>
                  <a:pt x="866" y="572"/>
                </a:lnTo>
                <a:lnTo>
                  <a:pt x="862" y="572"/>
                </a:lnTo>
                <a:lnTo>
                  <a:pt x="856" y="572"/>
                </a:lnTo>
                <a:lnTo>
                  <a:pt x="851" y="572"/>
                </a:lnTo>
                <a:lnTo>
                  <a:pt x="845" y="572"/>
                </a:lnTo>
                <a:lnTo>
                  <a:pt x="839" y="572"/>
                </a:lnTo>
                <a:lnTo>
                  <a:pt x="834" y="572"/>
                </a:lnTo>
                <a:lnTo>
                  <a:pt x="828" y="572"/>
                </a:lnTo>
                <a:lnTo>
                  <a:pt x="822" y="572"/>
                </a:lnTo>
                <a:lnTo>
                  <a:pt x="816" y="572"/>
                </a:lnTo>
                <a:lnTo>
                  <a:pt x="813" y="572"/>
                </a:lnTo>
                <a:lnTo>
                  <a:pt x="809" y="572"/>
                </a:lnTo>
                <a:lnTo>
                  <a:pt x="805" y="572"/>
                </a:lnTo>
                <a:lnTo>
                  <a:pt x="803" y="572"/>
                </a:lnTo>
                <a:lnTo>
                  <a:pt x="803" y="818"/>
                </a:lnTo>
                <a:lnTo>
                  <a:pt x="902" y="933"/>
                </a:lnTo>
                <a:lnTo>
                  <a:pt x="902" y="933"/>
                </a:lnTo>
                <a:lnTo>
                  <a:pt x="891" y="935"/>
                </a:lnTo>
                <a:lnTo>
                  <a:pt x="881" y="936"/>
                </a:lnTo>
                <a:lnTo>
                  <a:pt x="870" y="938"/>
                </a:lnTo>
                <a:lnTo>
                  <a:pt x="858" y="940"/>
                </a:lnTo>
                <a:lnTo>
                  <a:pt x="849" y="942"/>
                </a:lnTo>
                <a:lnTo>
                  <a:pt x="837" y="944"/>
                </a:lnTo>
                <a:lnTo>
                  <a:pt x="826" y="946"/>
                </a:lnTo>
                <a:lnTo>
                  <a:pt x="814" y="948"/>
                </a:lnTo>
                <a:lnTo>
                  <a:pt x="805" y="950"/>
                </a:lnTo>
                <a:lnTo>
                  <a:pt x="792" y="952"/>
                </a:lnTo>
                <a:lnTo>
                  <a:pt x="780" y="954"/>
                </a:lnTo>
                <a:lnTo>
                  <a:pt x="769" y="954"/>
                </a:lnTo>
                <a:lnTo>
                  <a:pt x="757" y="956"/>
                </a:lnTo>
                <a:lnTo>
                  <a:pt x="746" y="956"/>
                </a:lnTo>
                <a:lnTo>
                  <a:pt x="732" y="957"/>
                </a:lnTo>
                <a:lnTo>
                  <a:pt x="719" y="957"/>
                </a:lnTo>
                <a:lnTo>
                  <a:pt x="719" y="957"/>
                </a:lnTo>
                <a:lnTo>
                  <a:pt x="708" y="957"/>
                </a:lnTo>
                <a:lnTo>
                  <a:pt x="696" y="957"/>
                </a:lnTo>
                <a:lnTo>
                  <a:pt x="685" y="957"/>
                </a:lnTo>
                <a:lnTo>
                  <a:pt x="673" y="956"/>
                </a:lnTo>
                <a:lnTo>
                  <a:pt x="660" y="956"/>
                </a:lnTo>
                <a:lnTo>
                  <a:pt x="648" y="956"/>
                </a:lnTo>
                <a:lnTo>
                  <a:pt x="635" y="954"/>
                </a:lnTo>
                <a:lnTo>
                  <a:pt x="624" y="954"/>
                </a:lnTo>
                <a:lnTo>
                  <a:pt x="612" y="952"/>
                </a:lnTo>
                <a:lnTo>
                  <a:pt x="601" y="950"/>
                </a:lnTo>
                <a:lnTo>
                  <a:pt x="589" y="948"/>
                </a:lnTo>
                <a:lnTo>
                  <a:pt x="578" y="946"/>
                </a:lnTo>
                <a:lnTo>
                  <a:pt x="568" y="944"/>
                </a:lnTo>
                <a:lnTo>
                  <a:pt x="557" y="942"/>
                </a:lnTo>
                <a:lnTo>
                  <a:pt x="547" y="938"/>
                </a:lnTo>
                <a:lnTo>
                  <a:pt x="540" y="936"/>
                </a:lnTo>
                <a:lnTo>
                  <a:pt x="540" y="936"/>
                </a:lnTo>
                <a:lnTo>
                  <a:pt x="536" y="935"/>
                </a:lnTo>
                <a:lnTo>
                  <a:pt x="532" y="931"/>
                </a:lnTo>
                <a:lnTo>
                  <a:pt x="528" y="929"/>
                </a:lnTo>
                <a:lnTo>
                  <a:pt x="525" y="925"/>
                </a:lnTo>
                <a:lnTo>
                  <a:pt x="521" y="921"/>
                </a:lnTo>
                <a:lnTo>
                  <a:pt x="519" y="919"/>
                </a:lnTo>
                <a:lnTo>
                  <a:pt x="515" y="917"/>
                </a:lnTo>
                <a:lnTo>
                  <a:pt x="513" y="915"/>
                </a:lnTo>
                <a:lnTo>
                  <a:pt x="174" y="915"/>
                </a:lnTo>
                <a:lnTo>
                  <a:pt x="174" y="915"/>
                </a:lnTo>
                <a:lnTo>
                  <a:pt x="168" y="910"/>
                </a:lnTo>
                <a:lnTo>
                  <a:pt x="162" y="904"/>
                </a:lnTo>
                <a:lnTo>
                  <a:pt x="156" y="898"/>
                </a:lnTo>
                <a:lnTo>
                  <a:pt x="151" y="895"/>
                </a:lnTo>
                <a:lnTo>
                  <a:pt x="143" y="891"/>
                </a:lnTo>
                <a:lnTo>
                  <a:pt x="135" y="889"/>
                </a:lnTo>
                <a:lnTo>
                  <a:pt x="126" y="887"/>
                </a:lnTo>
                <a:lnTo>
                  <a:pt x="114" y="887"/>
                </a:lnTo>
                <a:lnTo>
                  <a:pt x="114" y="887"/>
                </a:lnTo>
                <a:lnTo>
                  <a:pt x="105" y="887"/>
                </a:lnTo>
                <a:lnTo>
                  <a:pt x="97" y="889"/>
                </a:lnTo>
                <a:lnTo>
                  <a:pt x="90" y="889"/>
                </a:lnTo>
                <a:lnTo>
                  <a:pt x="82" y="893"/>
                </a:lnTo>
                <a:lnTo>
                  <a:pt x="76" y="895"/>
                </a:lnTo>
                <a:lnTo>
                  <a:pt x="69" y="896"/>
                </a:lnTo>
                <a:lnTo>
                  <a:pt x="63" y="898"/>
                </a:lnTo>
                <a:lnTo>
                  <a:pt x="55" y="898"/>
                </a:lnTo>
                <a:lnTo>
                  <a:pt x="55" y="898"/>
                </a:lnTo>
                <a:lnTo>
                  <a:pt x="48" y="898"/>
                </a:lnTo>
                <a:lnTo>
                  <a:pt x="42" y="898"/>
                </a:lnTo>
                <a:lnTo>
                  <a:pt x="34" y="896"/>
                </a:lnTo>
                <a:lnTo>
                  <a:pt x="29" y="896"/>
                </a:lnTo>
                <a:lnTo>
                  <a:pt x="23" y="896"/>
                </a:lnTo>
                <a:lnTo>
                  <a:pt x="15" y="896"/>
                </a:lnTo>
                <a:lnTo>
                  <a:pt x="9" y="896"/>
                </a:lnTo>
                <a:lnTo>
                  <a:pt x="0" y="898"/>
                </a:lnTo>
                <a:lnTo>
                  <a:pt x="0" y="898"/>
                </a:lnTo>
                <a:lnTo>
                  <a:pt x="2" y="891"/>
                </a:lnTo>
                <a:lnTo>
                  <a:pt x="2" y="885"/>
                </a:lnTo>
                <a:lnTo>
                  <a:pt x="4" y="879"/>
                </a:lnTo>
                <a:lnTo>
                  <a:pt x="4" y="874"/>
                </a:lnTo>
                <a:lnTo>
                  <a:pt x="6" y="868"/>
                </a:lnTo>
                <a:lnTo>
                  <a:pt x="6" y="862"/>
                </a:lnTo>
                <a:lnTo>
                  <a:pt x="6" y="854"/>
                </a:lnTo>
                <a:lnTo>
                  <a:pt x="6" y="847"/>
                </a:lnTo>
                <a:lnTo>
                  <a:pt x="6" y="847"/>
                </a:lnTo>
                <a:lnTo>
                  <a:pt x="6" y="841"/>
                </a:lnTo>
                <a:lnTo>
                  <a:pt x="6" y="833"/>
                </a:lnTo>
                <a:lnTo>
                  <a:pt x="6" y="830"/>
                </a:lnTo>
                <a:lnTo>
                  <a:pt x="6" y="824"/>
                </a:lnTo>
                <a:lnTo>
                  <a:pt x="6" y="818"/>
                </a:lnTo>
                <a:lnTo>
                  <a:pt x="6" y="814"/>
                </a:lnTo>
                <a:lnTo>
                  <a:pt x="6" y="811"/>
                </a:lnTo>
                <a:lnTo>
                  <a:pt x="6" y="805"/>
                </a:lnTo>
                <a:lnTo>
                  <a:pt x="6" y="805"/>
                </a:lnTo>
                <a:lnTo>
                  <a:pt x="6" y="803"/>
                </a:lnTo>
                <a:lnTo>
                  <a:pt x="6" y="799"/>
                </a:lnTo>
                <a:lnTo>
                  <a:pt x="8" y="795"/>
                </a:lnTo>
                <a:lnTo>
                  <a:pt x="9" y="791"/>
                </a:lnTo>
                <a:lnTo>
                  <a:pt x="9" y="788"/>
                </a:lnTo>
                <a:lnTo>
                  <a:pt x="11" y="782"/>
                </a:lnTo>
                <a:lnTo>
                  <a:pt x="13" y="778"/>
                </a:lnTo>
                <a:lnTo>
                  <a:pt x="15" y="772"/>
                </a:lnTo>
                <a:lnTo>
                  <a:pt x="17" y="767"/>
                </a:lnTo>
                <a:lnTo>
                  <a:pt x="19" y="763"/>
                </a:lnTo>
                <a:lnTo>
                  <a:pt x="21" y="757"/>
                </a:lnTo>
                <a:lnTo>
                  <a:pt x="23" y="751"/>
                </a:lnTo>
                <a:lnTo>
                  <a:pt x="25" y="748"/>
                </a:lnTo>
                <a:lnTo>
                  <a:pt x="27" y="742"/>
                </a:lnTo>
                <a:lnTo>
                  <a:pt x="29" y="738"/>
                </a:lnTo>
                <a:lnTo>
                  <a:pt x="29" y="734"/>
                </a:lnTo>
                <a:lnTo>
                  <a:pt x="29" y="734"/>
                </a:lnTo>
                <a:lnTo>
                  <a:pt x="32" y="725"/>
                </a:lnTo>
                <a:lnTo>
                  <a:pt x="34" y="713"/>
                </a:lnTo>
                <a:lnTo>
                  <a:pt x="36" y="704"/>
                </a:lnTo>
                <a:lnTo>
                  <a:pt x="40" y="692"/>
                </a:lnTo>
                <a:lnTo>
                  <a:pt x="40" y="683"/>
                </a:lnTo>
                <a:lnTo>
                  <a:pt x="42" y="673"/>
                </a:lnTo>
                <a:lnTo>
                  <a:pt x="44" y="662"/>
                </a:lnTo>
                <a:lnTo>
                  <a:pt x="46" y="652"/>
                </a:lnTo>
                <a:lnTo>
                  <a:pt x="48" y="643"/>
                </a:lnTo>
                <a:lnTo>
                  <a:pt x="50" y="633"/>
                </a:lnTo>
                <a:lnTo>
                  <a:pt x="51" y="624"/>
                </a:lnTo>
                <a:lnTo>
                  <a:pt x="55" y="614"/>
                </a:lnTo>
                <a:lnTo>
                  <a:pt x="59" y="603"/>
                </a:lnTo>
                <a:lnTo>
                  <a:pt x="65" y="593"/>
                </a:lnTo>
                <a:lnTo>
                  <a:pt x="71" y="585"/>
                </a:lnTo>
                <a:lnTo>
                  <a:pt x="76" y="576"/>
                </a:lnTo>
                <a:lnTo>
                  <a:pt x="76" y="576"/>
                </a:lnTo>
                <a:lnTo>
                  <a:pt x="84" y="568"/>
                </a:lnTo>
                <a:lnTo>
                  <a:pt x="90" y="559"/>
                </a:lnTo>
                <a:lnTo>
                  <a:pt x="97" y="553"/>
                </a:lnTo>
                <a:lnTo>
                  <a:pt x="105" y="543"/>
                </a:lnTo>
                <a:lnTo>
                  <a:pt x="111" y="536"/>
                </a:lnTo>
                <a:lnTo>
                  <a:pt x="118" y="528"/>
                </a:lnTo>
                <a:lnTo>
                  <a:pt x="126" y="521"/>
                </a:lnTo>
                <a:lnTo>
                  <a:pt x="133" y="511"/>
                </a:lnTo>
                <a:lnTo>
                  <a:pt x="139" y="503"/>
                </a:lnTo>
                <a:lnTo>
                  <a:pt x="145" y="494"/>
                </a:lnTo>
                <a:lnTo>
                  <a:pt x="151" y="482"/>
                </a:lnTo>
                <a:lnTo>
                  <a:pt x="156" y="473"/>
                </a:lnTo>
                <a:lnTo>
                  <a:pt x="160" y="461"/>
                </a:lnTo>
                <a:lnTo>
                  <a:pt x="162" y="448"/>
                </a:lnTo>
                <a:lnTo>
                  <a:pt x="164" y="435"/>
                </a:lnTo>
                <a:lnTo>
                  <a:pt x="164" y="421"/>
                </a:lnTo>
                <a:lnTo>
                  <a:pt x="164" y="421"/>
                </a:lnTo>
                <a:lnTo>
                  <a:pt x="164" y="410"/>
                </a:lnTo>
                <a:lnTo>
                  <a:pt x="162" y="398"/>
                </a:lnTo>
                <a:lnTo>
                  <a:pt x="160" y="387"/>
                </a:lnTo>
                <a:lnTo>
                  <a:pt x="156" y="378"/>
                </a:lnTo>
                <a:lnTo>
                  <a:pt x="151" y="368"/>
                </a:lnTo>
                <a:lnTo>
                  <a:pt x="147" y="358"/>
                </a:lnTo>
                <a:lnTo>
                  <a:pt x="141" y="351"/>
                </a:lnTo>
                <a:lnTo>
                  <a:pt x="135" y="341"/>
                </a:lnTo>
                <a:lnTo>
                  <a:pt x="130" y="332"/>
                </a:lnTo>
                <a:lnTo>
                  <a:pt x="124" y="324"/>
                </a:lnTo>
                <a:lnTo>
                  <a:pt x="120" y="315"/>
                </a:lnTo>
                <a:lnTo>
                  <a:pt x="114" y="307"/>
                </a:lnTo>
                <a:lnTo>
                  <a:pt x="111" y="297"/>
                </a:lnTo>
                <a:lnTo>
                  <a:pt x="109" y="286"/>
                </a:lnTo>
                <a:lnTo>
                  <a:pt x="107" y="276"/>
                </a:lnTo>
                <a:lnTo>
                  <a:pt x="105" y="265"/>
                </a:lnTo>
                <a:lnTo>
                  <a:pt x="105" y="265"/>
                </a:lnTo>
                <a:lnTo>
                  <a:pt x="107" y="257"/>
                </a:lnTo>
                <a:lnTo>
                  <a:pt x="111" y="250"/>
                </a:lnTo>
                <a:lnTo>
                  <a:pt x="114" y="244"/>
                </a:lnTo>
                <a:lnTo>
                  <a:pt x="120" y="236"/>
                </a:lnTo>
                <a:lnTo>
                  <a:pt x="124" y="229"/>
                </a:lnTo>
                <a:lnTo>
                  <a:pt x="128" y="223"/>
                </a:lnTo>
                <a:lnTo>
                  <a:pt x="130" y="215"/>
                </a:lnTo>
                <a:lnTo>
                  <a:pt x="130" y="206"/>
                </a:lnTo>
                <a:lnTo>
                  <a:pt x="130" y="206"/>
                </a:lnTo>
                <a:lnTo>
                  <a:pt x="128" y="196"/>
                </a:lnTo>
                <a:lnTo>
                  <a:pt x="124" y="189"/>
                </a:lnTo>
                <a:lnTo>
                  <a:pt x="122" y="179"/>
                </a:lnTo>
                <a:lnTo>
                  <a:pt x="118" y="170"/>
                </a:lnTo>
                <a:lnTo>
                  <a:pt x="114" y="160"/>
                </a:lnTo>
                <a:lnTo>
                  <a:pt x="109" y="150"/>
                </a:lnTo>
                <a:lnTo>
                  <a:pt x="105" y="141"/>
                </a:lnTo>
                <a:lnTo>
                  <a:pt x="99" y="131"/>
                </a:lnTo>
                <a:lnTo>
                  <a:pt x="95" y="122"/>
                </a:lnTo>
                <a:lnTo>
                  <a:pt x="90" y="112"/>
                </a:lnTo>
                <a:lnTo>
                  <a:pt x="84" y="103"/>
                </a:lnTo>
                <a:lnTo>
                  <a:pt x="80" y="91"/>
                </a:lnTo>
                <a:lnTo>
                  <a:pt x="74" y="82"/>
                </a:lnTo>
                <a:lnTo>
                  <a:pt x="71" y="70"/>
                </a:lnTo>
                <a:lnTo>
                  <a:pt x="65" y="59"/>
                </a:lnTo>
                <a:lnTo>
                  <a:pt x="61" y="47"/>
                </a:lnTo>
                <a:lnTo>
                  <a:pt x="44" y="32"/>
                </a:lnTo>
                <a:lnTo>
                  <a:pt x="40" y="3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1" name="Freeform 21"/>
          <p:cNvSpPr>
            <a:spLocks/>
          </p:cNvSpPr>
          <p:nvPr/>
        </p:nvSpPr>
        <p:spPr bwMode="auto">
          <a:xfrm>
            <a:off x="3879850" y="4097239"/>
            <a:ext cx="131763" cy="147638"/>
          </a:xfrm>
          <a:custGeom>
            <a:avLst/>
            <a:gdLst>
              <a:gd name="T0" fmla="*/ 21 w 147"/>
              <a:gd name="T1" fmla="*/ 126 h 169"/>
              <a:gd name="T2" fmla="*/ 20 w 147"/>
              <a:gd name="T3" fmla="*/ 122 h 169"/>
              <a:gd name="T4" fmla="*/ 18 w 147"/>
              <a:gd name="T5" fmla="*/ 116 h 169"/>
              <a:gd name="T6" fmla="*/ 18 w 147"/>
              <a:gd name="T7" fmla="*/ 110 h 169"/>
              <a:gd name="T8" fmla="*/ 18 w 147"/>
              <a:gd name="T9" fmla="*/ 103 h 169"/>
              <a:gd name="T10" fmla="*/ 18 w 147"/>
              <a:gd name="T11" fmla="*/ 99 h 169"/>
              <a:gd name="T12" fmla="*/ 18 w 147"/>
              <a:gd name="T13" fmla="*/ 87 h 169"/>
              <a:gd name="T14" fmla="*/ 18 w 147"/>
              <a:gd name="T15" fmla="*/ 78 h 169"/>
              <a:gd name="T16" fmla="*/ 18 w 147"/>
              <a:gd name="T17" fmla="*/ 68 h 169"/>
              <a:gd name="T18" fmla="*/ 16 w 147"/>
              <a:gd name="T19" fmla="*/ 63 h 169"/>
              <a:gd name="T20" fmla="*/ 12 w 147"/>
              <a:gd name="T21" fmla="*/ 57 h 169"/>
              <a:gd name="T22" fmla="*/ 8 w 147"/>
              <a:gd name="T23" fmla="*/ 49 h 169"/>
              <a:gd name="T24" fmla="*/ 2 w 147"/>
              <a:gd name="T25" fmla="*/ 44 h 169"/>
              <a:gd name="T26" fmla="*/ 0 w 147"/>
              <a:gd name="T27" fmla="*/ 36 h 169"/>
              <a:gd name="T28" fmla="*/ 0 w 147"/>
              <a:gd name="T29" fmla="*/ 34 h 169"/>
              <a:gd name="T30" fmla="*/ 2 w 147"/>
              <a:gd name="T31" fmla="*/ 30 h 169"/>
              <a:gd name="T32" fmla="*/ 6 w 147"/>
              <a:gd name="T33" fmla="*/ 26 h 169"/>
              <a:gd name="T34" fmla="*/ 12 w 147"/>
              <a:gd name="T35" fmla="*/ 25 h 169"/>
              <a:gd name="T36" fmla="*/ 14 w 147"/>
              <a:gd name="T37" fmla="*/ 25 h 169"/>
              <a:gd name="T38" fmla="*/ 23 w 147"/>
              <a:gd name="T39" fmla="*/ 26 h 169"/>
              <a:gd name="T40" fmla="*/ 29 w 147"/>
              <a:gd name="T41" fmla="*/ 32 h 169"/>
              <a:gd name="T42" fmla="*/ 37 w 147"/>
              <a:gd name="T43" fmla="*/ 38 h 169"/>
              <a:gd name="T44" fmla="*/ 46 w 147"/>
              <a:gd name="T45" fmla="*/ 40 h 169"/>
              <a:gd name="T46" fmla="*/ 58 w 147"/>
              <a:gd name="T47" fmla="*/ 40 h 169"/>
              <a:gd name="T48" fmla="*/ 73 w 147"/>
              <a:gd name="T49" fmla="*/ 28 h 169"/>
              <a:gd name="T50" fmla="*/ 82 w 147"/>
              <a:gd name="T51" fmla="*/ 13 h 169"/>
              <a:gd name="T52" fmla="*/ 96 w 147"/>
              <a:gd name="T53" fmla="*/ 2 h 169"/>
              <a:gd name="T54" fmla="*/ 107 w 147"/>
              <a:gd name="T55" fmla="*/ 0 h 169"/>
              <a:gd name="T56" fmla="*/ 123 w 147"/>
              <a:gd name="T57" fmla="*/ 9 h 169"/>
              <a:gd name="T58" fmla="*/ 124 w 147"/>
              <a:gd name="T59" fmla="*/ 26 h 169"/>
              <a:gd name="T60" fmla="*/ 128 w 147"/>
              <a:gd name="T61" fmla="*/ 44 h 169"/>
              <a:gd name="T62" fmla="*/ 147 w 147"/>
              <a:gd name="T63" fmla="*/ 53 h 169"/>
              <a:gd name="T64" fmla="*/ 147 w 147"/>
              <a:gd name="T65" fmla="*/ 53 h 169"/>
              <a:gd name="T66" fmla="*/ 147 w 147"/>
              <a:gd name="T67" fmla="*/ 57 h 169"/>
              <a:gd name="T68" fmla="*/ 144 w 147"/>
              <a:gd name="T69" fmla="*/ 53 h 169"/>
              <a:gd name="T70" fmla="*/ 145 w 147"/>
              <a:gd name="T71" fmla="*/ 57 h 169"/>
              <a:gd name="T72" fmla="*/ 147 w 147"/>
              <a:gd name="T73" fmla="*/ 61 h 169"/>
              <a:gd name="T74" fmla="*/ 147 w 147"/>
              <a:gd name="T75" fmla="*/ 63 h 169"/>
              <a:gd name="T76" fmla="*/ 142 w 147"/>
              <a:gd name="T77" fmla="*/ 78 h 169"/>
              <a:gd name="T78" fmla="*/ 128 w 147"/>
              <a:gd name="T79" fmla="*/ 91 h 169"/>
              <a:gd name="T80" fmla="*/ 113 w 147"/>
              <a:gd name="T81" fmla="*/ 105 h 169"/>
              <a:gd name="T82" fmla="*/ 103 w 147"/>
              <a:gd name="T83" fmla="*/ 118 h 169"/>
              <a:gd name="T84" fmla="*/ 102 w 147"/>
              <a:gd name="T85" fmla="*/ 126 h 169"/>
              <a:gd name="T86" fmla="*/ 94 w 147"/>
              <a:gd name="T87" fmla="*/ 141 h 169"/>
              <a:gd name="T88" fmla="*/ 82 w 147"/>
              <a:gd name="T89" fmla="*/ 158 h 169"/>
              <a:gd name="T90" fmla="*/ 69 w 147"/>
              <a:gd name="T91" fmla="*/ 168 h 169"/>
              <a:gd name="T92" fmla="*/ 61 w 147"/>
              <a:gd name="T93" fmla="*/ 169 h 169"/>
              <a:gd name="T94" fmla="*/ 54 w 147"/>
              <a:gd name="T95" fmla="*/ 169 h 169"/>
              <a:gd name="T96" fmla="*/ 50 w 147"/>
              <a:gd name="T97" fmla="*/ 169 h 169"/>
              <a:gd name="T98" fmla="*/ 48 w 147"/>
              <a:gd name="T99" fmla="*/ 166 h 169"/>
              <a:gd name="T100" fmla="*/ 42 w 147"/>
              <a:gd name="T101" fmla="*/ 156 h 169"/>
              <a:gd name="T102" fmla="*/ 39 w 147"/>
              <a:gd name="T103" fmla="*/ 147 h 169"/>
              <a:gd name="T104" fmla="*/ 31 w 147"/>
              <a:gd name="T105" fmla="*/ 139 h 169"/>
              <a:gd name="T106" fmla="*/ 27 w 147"/>
              <a:gd name="T107" fmla="*/ 137 h 169"/>
              <a:gd name="T108" fmla="*/ 27 w 147"/>
              <a:gd name="T109" fmla="*/ 135 h 169"/>
              <a:gd name="T110" fmla="*/ 25 w 147"/>
              <a:gd name="T111" fmla="*/ 131 h 169"/>
              <a:gd name="T112" fmla="*/ 21 w 147"/>
              <a:gd name="T113" fmla="*/ 126 h 169"/>
              <a:gd name="T114" fmla="*/ 20 w 147"/>
              <a:gd name="T115" fmla="*/ 122 h 169"/>
              <a:gd name="T116" fmla="*/ 12 w 147"/>
              <a:gd name="T117" fmla="*/ 122 h 169"/>
              <a:gd name="T118" fmla="*/ 12 w 147"/>
              <a:gd name="T119" fmla="*/ 124 h 169"/>
              <a:gd name="T120" fmla="*/ 12 w 147"/>
              <a:gd name="T121" fmla="*/ 12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7" h="169">
                <a:moveTo>
                  <a:pt x="21" y="126"/>
                </a:moveTo>
                <a:lnTo>
                  <a:pt x="21" y="126"/>
                </a:lnTo>
                <a:lnTo>
                  <a:pt x="21" y="124"/>
                </a:lnTo>
                <a:lnTo>
                  <a:pt x="20" y="122"/>
                </a:lnTo>
                <a:lnTo>
                  <a:pt x="20" y="118"/>
                </a:lnTo>
                <a:lnTo>
                  <a:pt x="18" y="116"/>
                </a:lnTo>
                <a:lnTo>
                  <a:pt x="18" y="114"/>
                </a:lnTo>
                <a:lnTo>
                  <a:pt x="18" y="110"/>
                </a:lnTo>
                <a:lnTo>
                  <a:pt x="18" y="107"/>
                </a:lnTo>
                <a:lnTo>
                  <a:pt x="18" y="103"/>
                </a:lnTo>
                <a:lnTo>
                  <a:pt x="18" y="103"/>
                </a:lnTo>
                <a:lnTo>
                  <a:pt x="18" y="99"/>
                </a:lnTo>
                <a:lnTo>
                  <a:pt x="18" y="93"/>
                </a:lnTo>
                <a:lnTo>
                  <a:pt x="18" y="87"/>
                </a:lnTo>
                <a:lnTo>
                  <a:pt x="18" y="84"/>
                </a:lnTo>
                <a:lnTo>
                  <a:pt x="18" y="78"/>
                </a:lnTo>
                <a:lnTo>
                  <a:pt x="18" y="74"/>
                </a:lnTo>
                <a:lnTo>
                  <a:pt x="18" y="68"/>
                </a:lnTo>
                <a:lnTo>
                  <a:pt x="16" y="63"/>
                </a:lnTo>
                <a:lnTo>
                  <a:pt x="16" y="63"/>
                </a:lnTo>
                <a:lnTo>
                  <a:pt x="14" y="59"/>
                </a:lnTo>
                <a:lnTo>
                  <a:pt x="12" y="57"/>
                </a:lnTo>
                <a:lnTo>
                  <a:pt x="10" y="53"/>
                </a:lnTo>
                <a:lnTo>
                  <a:pt x="8" y="49"/>
                </a:lnTo>
                <a:lnTo>
                  <a:pt x="4" y="47"/>
                </a:lnTo>
                <a:lnTo>
                  <a:pt x="2" y="44"/>
                </a:lnTo>
                <a:lnTo>
                  <a:pt x="0" y="40"/>
                </a:lnTo>
                <a:lnTo>
                  <a:pt x="0" y="36"/>
                </a:lnTo>
                <a:lnTo>
                  <a:pt x="0" y="36"/>
                </a:lnTo>
                <a:lnTo>
                  <a:pt x="0" y="34"/>
                </a:lnTo>
                <a:lnTo>
                  <a:pt x="2" y="32"/>
                </a:lnTo>
                <a:lnTo>
                  <a:pt x="2" y="30"/>
                </a:lnTo>
                <a:lnTo>
                  <a:pt x="4" y="28"/>
                </a:lnTo>
                <a:lnTo>
                  <a:pt x="6" y="26"/>
                </a:lnTo>
                <a:lnTo>
                  <a:pt x="8" y="25"/>
                </a:lnTo>
                <a:lnTo>
                  <a:pt x="12" y="25"/>
                </a:lnTo>
                <a:lnTo>
                  <a:pt x="14" y="25"/>
                </a:lnTo>
                <a:lnTo>
                  <a:pt x="14" y="25"/>
                </a:lnTo>
                <a:lnTo>
                  <a:pt x="18" y="25"/>
                </a:lnTo>
                <a:lnTo>
                  <a:pt x="23" y="26"/>
                </a:lnTo>
                <a:lnTo>
                  <a:pt x="27" y="30"/>
                </a:lnTo>
                <a:lnTo>
                  <a:pt x="29" y="32"/>
                </a:lnTo>
                <a:lnTo>
                  <a:pt x="33" y="36"/>
                </a:lnTo>
                <a:lnTo>
                  <a:pt x="37" y="38"/>
                </a:lnTo>
                <a:lnTo>
                  <a:pt x="42" y="40"/>
                </a:lnTo>
                <a:lnTo>
                  <a:pt x="46" y="40"/>
                </a:lnTo>
                <a:lnTo>
                  <a:pt x="46" y="40"/>
                </a:lnTo>
                <a:lnTo>
                  <a:pt x="58" y="40"/>
                </a:lnTo>
                <a:lnTo>
                  <a:pt x="67" y="34"/>
                </a:lnTo>
                <a:lnTo>
                  <a:pt x="73" y="28"/>
                </a:lnTo>
                <a:lnTo>
                  <a:pt x="77" y="21"/>
                </a:lnTo>
                <a:lnTo>
                  <a:pt x="82" y="13"/>
                </a:lnTo>
                <a:lnTo>
                  <a:pt x="88" y="7"/>
                </a:lnTo>
                <a:lnTo>
                  <a:pt x="96" y="2"/>
                </a:lnTo>
                <a:lnTo>
                  <a:pt x="107" y="0"/>
                </a:lnTo>
                <a:lnTo>
                  <a:pt x="107" y="0"/>
                </a:lnTo>
                <a:lnTo>
                  <a:pt x="117" y="4"/>
                </a:lnTo>
                <a:lnTo>
                  <a:pt x="123" y="9"/>
                </a:lnTo>
                <a:lnTo>
                  <a:pt x="124" y="17"/>
                </a:lnTo>
                <a:lnTo>
                  <a:pt x="124" y="26"/>
                </a:lnTo>
                <a:lnTo>
                  <a:pt x="126" y="36"/>
                </a:lnTo>
                <a:lnTo>
                  <a:pt x="128" y="44"/>
                </a:lnTo>
                <a:lnTo>
                  <a:pt x="136" y="51"/>
                </a:lnTo>
                <a:lnTo>
                  <a:pt x="147" y="53"/>
                </a:lnTo>
                <a:lnTo>
                  <a:pt x="147" y="53"/>
                </a:lnTo>
                <a:lnTo>
                  <a:pt x="147" y="53"/>
                </a:lnTo>
                <a:lnTo>
                  <a:pt x="147" y="55"/>
                </a:lnTo>
                <a:lnTo>
                  <a:pt x="147" y="57"/>
                </a:lnTo>
                <a:lnTo>
                  <a:pt x="147" y="59"/>
                </a:lnTo>
                <a:lnTo>
                  <a:pt x="144" y="53"/>
                </a:lnTo>
                <a:lnTo>
                  <a:pt x="144" y="53"/>
                </a:lnTo>
                <a:lnTo>
                  <a:pt x="145" y="57"/>
                </a:lnTo>
                <a:lnTo>
                  <a:pt x="145" y="59"/>
                </a:lnTo>
                <a:lnTo>
                  <a:pt x="147" y="61"/>
                </a:lnTo>
                <a:lnTo>
                  <a:pt x="147" y="63"/>
                </a:lnTo>
                <a:lnTo>
                  <a:pt x="147" y="63"/>
                </a:lnTo>
                <a:lnTo>
                  <a:pt x="147" y="70"/>
                </a:lnTo>
                <a:lnTo>
                  <a:pt x="142" y="78"/>
                </a:lnTo>
                <a:lnTo>
                  <a:pt x="136" y="84"/>
                </a:lnTo>
                <a:lnTo>
                  <a:pt x="128" y="91"/>
                </a:lnTo>
                <a:lnTo>
                  <a:pt x="121" y="97"/>
                </a:lnTo>
                <a:lnTo>
                  <a:pt x="113" y="105"/>
                </a:lnTo>
                <a:lnTo>
                  <a:pt x="107" y="112"/>
                </a:lnTo>
                <a:lnTo>
                  <a:pt x="103" y="118"/>
                </a:lnTo>
                <a:lnTo>
                  <a:pt x="103" y="118"/>
                </a:lnTo>
                <a:lnTo>
                  <a:pt x="102" y="126"/>
                </a:lnTo>
                <a:lnTo>
                  <a:pt x="98" y="133"/>
                </a:lnTo>
                <a:lnTo>
                  <a:pt x="94" y="141"/>
                </a:lnTo>
                <a:lnTo>
                  <a:pt x="88" y="150"/>
                </a:lnTo>
                <a:lnTo>
                  <a:pt x="82" y="158"/>
                </a:lnTo>
                <a:lnTo>
                  <a:pt x="77" y="164"/>
                </a:lnTo>
                <a:lnTo>
                  <a:pt x="69" y="168"/>
                </a:lnTo>
                <a:lnTo>
                  <a:pt x="61" y="169"/>
                </a:lnTo>
                <a:lnTo>
                  <a:pt x="61" y="169"/>
                </a:lnTo>
                <a:lnTo>
                  <a:pt x="58" y="169"/>
                </a:lnTo>
                <a:lnTo>
                  <a:pt x="54" y="169"/>
                </a:lnTo>
                <a:lnTo>
                  <a:pt x="52" y="169"/>
                </a:lnTo>
                <a:lnTo>
                  <a:pt x="50" y="169"/>
                </a:lnTo>
                <a:lnTo>
                  <a:pt x="50" y="169"/>
                </a:lnTo>
                <a:lnTo>
                  <a:pt x="48" y="166"/>
                </a:lnTo>
                <a:lnTo>
                  <a:pt x="46" y="160"/>
                </a:lnTo>
                <a:lnTo>
                  <a:pt x="42" y="156"/>
                </a:lnTo>
                <a:lnTo>
                  <a:pt x="41" y="150"/>
                </a:lnTo>
                <a:lnTo>
                  <a:pt x="39" y="147"/>
                </a:lnTo>
                <a:lnTo>
                  <a:pt x="35" y="143"/>
                </a:lnTo>
                <a:lnTo>
                  <a:pt x="31" y="139"/>
                </a:lnTo>
                <a:lnTo>
                  <a:pt x="27" y="137"/>
                </a:lnTo>
                <a:lnTo>
                  <a:pt x="27" y="137"/>
                </a:lnTo>
                <a:lnTo>
                  <a:pt x="27" y="137"/>
                </a:lnTo>
                <a:lnTo>
                  <a:pt x="27" y="135"/>
                </a:lnTo>
                <a:lnTo>
                  <a:pt x="25" y="133"/>
                </a:lnTo>
                <a:lnTo>
                  <a:pt x="25" y="131"/>
                </a:lnTo>
                <a:lnTo>
                  <a:pt x="23" y="128"/>
                </a:lnTo>
                <a:lnTo>
                  <a:pt x="21" y="126"/>
                </a:lnTo>
                <a:lnTo>
                  <a:pt x="21" y="124"/>
                </a:lnTo>
                <a:lnTo>
                  <a:pt x="20" y="122"/>
                </a:lnTo>
                <a:lnTo>
                  <a:pt x="12" y="122"/>
                </a:lnTo>
                <a:lnTo>
                  <a:pt x="12" y="122"/>
                </a:lnTo>
                <a:lnTo>
                  <a:pt x="12" y="122"/>
                </a:lnTo>
                <a:lnTo>
                  <a:pt x="12" y="124"/>
                </a:lnTo>
                <a:lnTo>
                  <a:pt x="12" y="124"/>
                </a:lnTo>
                <a:lnTo>
                  <a:pt x="12" y="124"/>
                </a:lnTo>
                <a:lnTo>
                  <a:pt x="21" y="126"/>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2" name="Freeform 22"/>
          <p:cNvSpPr>
            <a:spLocks/>
          </p:cNvSpPr>
          <p:nvPr/>
        </p:nvSpPr>
        <p:spPr bwMode="auto">
          <a:xfrm>
            <a:off x="2681288" y="3567014"/>
            <a:ext cx="1347788" cy="1301750"/>
          </a:xfrm>
          <a:custGeom>
            <a:avLst/>
            <a:gdLst>
              <a:gd name="T0" fmla="*/ 511 w 1499"/>
              <a:gd name="T1" fmla="*/ 170 h 1494"/>
              <a:gd name="T2" fmla="*/ 513 w 1499"/>
              <a:gd name="T3" fmla="*/ 80 h 1494"/>
              <a:gd name="T4" fmla="*/ 612 w 1499"/>
              <a:gd name="T5" fmla="*/ 27 h 1494"/>
              <a:gd name="T6" fmla="*/ 734 w 1499"/>
              <a:gd name="T7" fmla="*/ 92 h 1494"/>
              <a:gd name="T8" fmla="*/ 828 w 1499"/>
              <a:gd name="T9" fmla="*/ 67 h 1494"/>
              <a:gd name="T10" fmla="*/ 883 w 1499"/>
              <a:gd name="T11" fmla="*/ 55 h 1494"/>
              <a:gd name="T12" fmla="*/ 965 w 1499"/>
              <a:gd name="T13" fmla="*/ 23 h 1494"/>
              <a:gd name="T14" fmla="*/ 1030 w 1499"/>
              <a:gd name="T15" fmla="*/ 21 h 1494"/>
              <a:gd name="T16" fmla="*/ 1116 w 1499"/>
              <a:gd name="T17" fmla="*/ 19 h 1494"/>
              <a:gd name="T18" fmla="*/ 1188 w 1499"/>
              <a:gd name="T19" fmla="*/ 4 h 1494"/>
              <a:gd name="T20" fmla="*/ 1242 w 1499"/>
              <a:gd name="T21" fmla="*/ 57 h 1494"/>
              <a:gd name="T22" fmla="*/ 1312 w 1499"/>
              <a:gd name="T23" fmla="*/ 65 h 1494"/>
              <a:gd name="T24" fmla="*/ 1375 w 1499"/>
              <a:gd name="T25" fmla="*/ 52 h 1494"/>
              <a:gd name="T26" fmla="*/ 1450 w 1499"/>
              <a:gd name="T27" fmla="*/ 107 h 1494"/>
              <a:gd name="T28" fmla="*/ 1471 w 1499"/>
              <a:gd name="T29" fmla="*/ 147 h 1494"/>
              <a:gd name="T30" fmla="*/ 1473 w 1499"/>
              <a:gd name="T31" fmla="*/ 199 h 1494"/>
              <a:gd name="T32" fmla="*/ 1499 w 1499"/>
              <a:gd name="T33" fmla="*/ 248 h 1494"/>
              <a:gd name="T34" fmla="*/ 1431 w 1499"/>
              <a:gd name="T35" fmla="*/ 326 h 1494"/>
              <a:gd name="T36" fmla="*/ 1396 w 1499"/>
              <a:gd name="T37" fmla="*/ 395 h 1494"/>
              <a:gd name="T38" fmla="*/ 1375 w 1499"/>
              <a:gd name="T39" fmla="*/ 521 h 1494"/>
              <a:gd name="T40" fmla="*/ 1347 w 1499"/>
              <a:gd name="T41" fmla="*/ 578 h 1494"/>
              <a:gd name="T42" fmla="*/ 1322 w 1499"/>
              <a:gd name="T43" fmla="*/ 624 h 1494"/>
              <a:gd name="T44" fmla="*/ 1345 w 1499"/>
              <a:gd name="T45" fmla="*/ 666 h 1494"/>
              <a:gd name="T46" fmla="*/ 1351 w 1499"/>
              <a:gd name="T47" fmla="*/ 719 h 1494"/>
              <a:gd name="T48" fmla="*/ 1345 w 1499"/>
              <a:gd name="T49" fmla="*/ 733 h 1494"/>
              <a:gd name="T50" fmla="*/ 1351 w 1499"/>
              <a:gd name="T51" fmla="*/ 775 h 1494"/>
              <a:gd name="T52" fmla="*/ 1349 w 1499"/>
              <a:gd name="T53" fmla="*/ 843 h 1494"/>
              <a:gd name="T54" fmla="*/ 1358 w 1499"/>
              <a:gd name="T55" fmla="*/ 893 h 1494"/>
              <a:gd name="T56" fmla="*/ 1377 w 1499"/>
              <a:gd name="T57" fmla="*/ 964 h 1494"/>
              <a:gd name="T58" fmla="*/ 1433 w 1499"/>
              <a:gd name="T59" fmla="*/ 1028 h 1494"/>
              <a:gd name="T60" fmla="*/ 1375 w 1499"/>
              <a:gd name="T61" fmla="*/ 1089 h 1494"/>
              <a:gd name="T62" fmla="*/ 1314 w 1499"/>
              <a:gd name="T63" fmla="*/ 1131 h 1494"/>
              <a:gd name="T64" fmla="*/ 1286 w 1499"/>
              <a:gd name="T65" fmla="*/ 1181 h 1494"/>
              <a:gd name="T66" fmla="*/ 1291 w 1499"/>
              <a:gd name="T67" fmla="*/ 1257 h 1494"/>
              <a:gd name="T68" fmla="*/ 1274 w 1499"/>
              <a:gd name="T69" fmla="*/ 1341 h 1494"/>
              <a:gd name="T70" fmla="*/ 1360 w 1499"/>
              <a:gd name="T71" fmla="*/ 1419 h 1494"/>
              <a:gd name="T72" fmla="*/ 1368 w 1499"/>
              <a:gd name="T73" fmla="*/ 1484 h 1494"/>
              <a:gd name="T74" fmla="*/ 1316 w 1499"/>
              <a:gd name="T75" fmla="*/ 1488 h 1494"/>
              <a:gd name="T76" fmla="*/ 1261 w 1499"/>
              <a:gd name="T77" fmla="*/ 1416 h 1494"/>
              <a:gd name="T78" fmla="*/ 1171 w 1499"/>
              <a:gd name="T79" fmla="*/ 1351 h 1494"/>
              <a:gd name="T80" fmla="*/ 1074 w 1499"/>
              <a:gd name="T81" fmla="*/ 1370 h 1494"/>
              <a:gd name="T82" fmla="*/ 1015 w 1499"/>
              <a:gd name="T83" fmla="*/ 1322 h 1494"/>
              <a:gd name="T84" fmla="*/ 954 w 1499"/>
              <a:gd name="T85" fmla="*/ 1324 h 1494"/>
              <a:gd name="T86" fmla="*/ 870 w 1499"/>
              <a:gd name="T87" fmla="*/ 1307 h 1494"/>
              <a:gd name="T88" fmla="*/ 796 w 1499"/>
              <a:gd name="T89" fmla="*/ 1324 h 1494"/>
              <a:gd name="T90" fmla="*/ 797 w 1499"/>
              <a:gd name="T91" fmla="*/ 1250 h 1494"/>
              <a:gd name="T92" fmla="*/ 761 w 1499"/>
              <a:gd name="T93" fmla="*/ 1175 h 1494"/>
              <a:gd name="T94" fmla="*/ 654 w 1499"/>
              <a:gd name="T95" fmla="*/ 1009 h 1494"/>
              <a:gd name="T96" fmla="*/ 576 w 1499"/>
              <a:gd name="T97" fmla="*/ 1009 h 1494"/>
              <a:gd name="T98" fmla="*/ 494 w 1499"/>
              <a:gd name="T99" fmla="*/ 1068 h 1494"/>
              <a:gd name="T100" fmla="*/ 372 w 1499"/>
              <a:gd name="T101" fmla="*/ 1011 h 1494"/>
              <a:gd name="T102" fmla="*/ 342 w 1499"/>
              <a:gd name="T103" fmla="*/ 904 h 1494"/>
              <a:gd name="T104" fmla="*/ 38 w 1499"/>
              <a:gd name="T105" fmla="*/ 901 h 1494"/>
              <a:gd name="T106" fmla="*/ 15 w 1499"/>
              <a:gd name="T107" fmla="*/ 864 h 1494"/>
              <a:gd name="T108" fmla="*/ 59 w 1499"/>
              <a:gd name="T109" fmla="*/ 803 h 1494"/>
              <a:gd name="T110" fmla="*/ 164 w 1499"/>
              <a:gd name="T111" fmla="*/ 778 h 1494"/>
              <a:gd name="T112" fmla="*/ 172 w 1499"/>
              <a:gd name="T113" fmla="*/ 824 h 1494"/>
              <a:gd name="T114" fmla="*/ 263 w 1499"/>
              <a:gd name="T115" fmla="*/ 758 h 1494"/>
              <a:gd name="T116" fmla="*/ 317 w 1499"/>
              <a:gd name="T117" fmla="*/ 664 h 1494"/>
              <a:gd name="T118" fmla="*/ 368 w 1499"/>
              <a:gd name="T119" fmla="*/ 538 h 1494"/>
              <a:gd name="T120" fmla="*/ 433 w 1499"/>
              <a:gd name="T121" fmla="*/ 445 h 1494"/>
              <a:gd name="T122" fmla="*/ 460 w 1499"/>
              <a:gd name="T123" fmla="*/ 303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9" h="1494">
                <a:moveTo>
                  <a:pt x="466" y="261"/>
                </a:moveTo>
                <a:lnTo>
                  <a:pt x="466" y="261"/>
                </a:lnTo>
                <a:lnTo>
                  <a:pt x="471" y="250"/>
                </a:lnTo>
                <a:lnTo>
                  <a:pt x="475" y="242"/>
                </a:lnTo>
                <a:lnTo>
                  <a:pt x="481" y="235"/>
                </a:lnTo>
                <a:lnTo>
                  <a:pt x="487" y="229"/>
                </a:lnTo>
                <a:lnTo>
                  <a:pt x="492" y="221"/>
                </a:lnTo>
                <a:lnTo>
                  <a:pt x="498" y="214"/>
                </a:lnTo>
                <a:lnTo>
                  <a:pt x="502" y="206"/>
                </a:lnTo>
                <a:lnTo>
                  <a:pt x="507" y="197"/>
                </a:lnTo>
                <a:lnTo>
                  <a:pt x="507" y="197"/>
                </a:lnTo>
                <a:lnTo>
                  <a:pt x="507" y="191"/>
                </a:lnTo>
                <a:lnTo>
                  <a:pt x="509" y="185"/>
                </a:lnTo>
                <a:lnTo>
                  <a:pt x="511" y="179"/>
                </a:lnTo>
                <a:lnTo>
                  <a:pt x="511" y="176"/>
                </a:lnTo>
                <a:lnTo>
                  <a:pt x="511" y="170"/>
                </a:lnTo>
                <a:lnTo>
                  <a:pt x="511" y="164"/>
                </a:lnTo>
                <a:lnTo>
                  <a:pt x="511" y="160"/>
                </a:lnTo>
                <a:lnTo>
                  <a:pt x="511" y="155"/>
                </a:lnTo>
                <a:lnTo>
                  <a:pt x="509" y="149"/>
                </a:lnTo>
                <a:lnTo>
                  <a:pt x="509" y="143"/>
                </a:lnTo>
                <a:lnTo>
                  <a:pt x="509" y="139"/>
                </a:lnTo>
                <a:lnTo>
                  <a:pt x="507" y="134"/>
                </a:lnTo>
                <a:lnTo>
                  <a:pt x="507" y="128"/>
                </a:lnTo>
                <a:lnTo>
                  <a:pt x="507" y="124"/>
                </a:lnTo>
                <a:lnTo>
                  <a:pt x="507" y="118"/>
                </a:lnTo>
                <a:lnTo>
                  <a:pt x="507" y="113"/>
                </a:lnTo>
                <a:lnTo>
                  <a:pt x="507" y="113"/>
                </a:lnTo>
                <a:lnTo>
                  <a:pt x="507" y="105"/>
                </a:lnTo>
                <a:lnTo>
                  <a:pt x="507" y="97"/>
                </a:lnTo>
                <a:lnTo>
                  <a:pt x="511" y="90"/>
                </a:lnTo>
                <a:lnTo>
                  <a:pt x="513" y="80"/>
                </a:lnTo>
                <a:lnTo>
                  <a:pt x="517" y="73"/>
                </a:lnTo>
                <a:lnTo>
                  <a:pt x="521" y="63"/>
                </a:lnTo>
                <a:lnTo>
                  <a:pt x="525" y="55"/>
                </a:lnTo>
                <a:lnTo>
                  <a:pt x="530" y="48"/>
                </a:lnTo>
                <a:lnTo>
                  <a:pt x="536" y="40"/>
                </a:lnTo>
                <a:lnTo>
                  <a:pt x="542" y="34"/>
                </a:lnTo>
                <a:lnTo>
                  <a:pt x="549" y="29"/>
                </a:lnTo>
                <a:lnTo>
                  <a:pt x="555" y="23"/>
                </a:lnTo>
                <a:lnTo>
                  <a:pt x="563" y="19"/>
                </a:lnTo>
                <a:lnTo>
                  <a:pt x="569" y="15"/>
                </a:lnTo>
                <a:lnTo>
                  <a:pt x="576" y="13"/>
                </a:lnTo>
                <a:lnTo>
                  <a:pt x="584" y="13"/>
                </a:lnTo>
                <a:lnTo>
                  <a:pt x="584" y="13"/>
                </a:lnTo>
                <a:lnTo>
                  <a:pt x="595" y="15"/>
                </a:lnTo>
                <a:lnTo>
                  <a:pt x="605" y="21"/>
                </a:lnTo>
                <a:lnTo>
                  <a:pt x="612" y="27"/>
                </a:lnTo>
                <a:lnTo>
                  <a:pt x="620" y="36"/>
                </a:lnTo>
                <a:lnTo>
                  <a:pt x="628" y="46"/>
                </a:lnTo>
                <a:lnTo>
                  <a:pt x="635" y="54"/>
                </a:lnTo>
                <a:lnTo>
                  <a:pt x="641" y="61"/>
                </a:lnTo>
                <a:lnTo>
                  <a:pt x="649" y="67"/>
                </a:lnTo>
                <a:lnTo>
                  <a:pt x="649" y="67"/>
                </a:lnTo>
                <a:lnTo>
                  <a:pt x="654" y="69"/>
                </a:lnTo>
                <a:lnTo>
                  <a:pt x="662" y="73"/>
                </a:lnTo>
                <a:lnTo>
                  <a:pt x="670" y="76"/>
                </a:lnTo>
                <a:lnTo>
                  <a:pt x="679" y="78"/>
                </a:lnTo>
                <a:lnTo>
                  <a:pt x="689" y="82"/>
                </a:lnTo>
                <a:lnTo>
                  <a:pt x="696" y="84"/>
                </a:lnTo>
                <a:lnTo>
                  <a:pt x="706" y="86"/>
                </a:lnTo>
                <a:lnTo>
                  <a:pt x="715" y="88"/>
                </a:lnTo>
                <a:lnTo>
                  <a:pt x="725" y="90"/>
                </a:lnTo>
                <a:lnTo>
                  <a:pt x="734" y="92"/>
                </a:lnTo>
                <a:lnTo>
                  <a:pt x="744" y="94"/>
                </a:lnTo>
                <a:lnTo>
                  <a:pt x="754" y="94"/>
                </a:lnTo>
                <a:lnTo>
                  <a:pt x="763" y="96"/>
                </a:lnTo>
                <a:lnTo>
                  <a:pt x="773" y="96"/>
                </a:lnTo>
                <a:lnTo>
                  <a:pt x="780" y="96"/>
                </a:lnTo>
                <a:lnTo>
                  <a:pt x="788" y="96"/>
                </a:lnTo>
                <a:lnTo>
                  <a:pt x="788" y="96"/>
                </a:lnTo>
                <a:lnTo>
                  <a:pt x="796" y="96"/>
                </a:lnTo>
                <a:lnTo>
                  <a:pt x="801" y="94"/>
                </a:lnTo>
                <a:lnTo>
                  <a:pt x="807" y="92"/>
                </a:lnTo>
                <a:lnTo>
                  <a:pt x="811" y="88"/>
                </a:lnTo>
                <a:lnTo>
                  <a:pt x="815" y="84"/>
                </a:lnTo>
                <a:lnTo>
                  <a:pt x="818" y="80"/>
                </a:lnTo>
                <a:lnTo>
                  <a:pt x="822" y="76"/>
                </a:lnTo>
                <a:lnTo>
                  <a:pt x="824" y="71"/>
                </a:lnTo>
                <a:lnTo>
                  <a:pt x="828" y="67"/>
                </a:lnTo>
                <a:lnTo>
                  <a:pt x="832" y="63"/>
                </a:lnTo>
                <a:lnTo>
                  <a:pt x="834" y="57"/>
                </a:lnTo>
                <a:lnTo>
                  <a:pt x="837" y="55"/>
                </a:lnTo>
                <a:lnTo>
                  <a:pt x="843" y="52"/>
                </a:lnTo>
                <a:lnTo>
                  <a:pt x="849" y="48"/>
                </a:lnTo>
                <a:lnTo>
                  <a:pt x="855" y="48"/>
                </a:lnTo>
                <a:lnTo>
                  <a:pt x="860" y="46"/>
                </a:lnTo>
                <a:lnTo>
                  <a:pt x="860" y="46"/>
                </a:lnTo>
                <a:lnTo>
                  <a:pt x="862" y="48"/>
                </a:lnTo>
                <a:lnTo>
                  <a:pt x="866" y="48"/>
                </a:lnTo>
                <a:lnTo>
                  <a:pt x="868" y="50"/>
                </a:lnTo>
                <a:lnTo>
                  <a:pt x="872" y="52"/>
                </a:lnTo>
                <a:lnTo>
                  <a:pt x="874" y="52"/>
                </a:lnTo>
                <a:lnTo>
                  <a:pt x="876" y="54"/>
                </a:lnTo>
                <a:lnTo>
                  <a:pt x="879" y="55"/>
                </a:lnTo>
                <a:lnTo>
                  <a:pt x="883" y="55"/>
                </a:lnTo>
                <a:lnTo>
                  <a:pt x="883" y="55"/>
                </a:lnTo>
                <a:lnTo>
                  <a:pt x="889" y="55"/>
                </a:lnTo>
                <a:lnTo>
                  <a:pt x="895" y="54"/>
                </a:lnTo>
                <a:lnTo>
                  <a:pt x="900" y="52"/>
                </a:lnTo>
                <a:lnTo>
                  <a:pt x="906" y="50"/>
                </a:lnTo>
                <a:lnTo>
                  <a:pt x="912" y="48"/>
                </a:lnTo>
                <a:lnTo>
                  <a:pt x="918" y="46"/>
                </a:lnTo>
                <a:lnTo>
                  <a:pt x="923" y="42"/>
                </a:lnTo>
                <a:lnTo>
                  <a:pt x="929" y="40"/>
                </a:lnTo>
                <a:lnTo>
                  <a:pt x="935" y="36"/>
                </a:lnTo>
                <a:lnTo>
                  <a:pt x="939" y="34"/>
                </a:lnTo>
                <a:lnTo>
                  <a:pt x="944" y="33"/>
                </a:lnTo>
                <a:lnTo>
                  <a:pt x="950" y="29"/>
                </a:lnTo>
                <a:lnTo>
                  <a:pt x="954" y="27"/>
                </a:lnTo>
                <a:lnTo>
                  <a:pt x="960" y="25"/>
                </a:lnTo>
                <a:lnTo>
                  <a:pt x="965" y="23"/>
                </a:lnTo>
                <a:lnTo>
                  <a:pt x="971" y="23"/>
                </a:lnTo>
                <a:lnTo>
                  <a:pt x="971" y="23"/>
                </a:lnTo>
                <a:lnTo>
                  <a:pt x="973" y="27"/>
                </a:lnTo>
                <a:lnTo>
                  <a:pt x="975" y="31"/>
                </a:lnTo>
                <a:lnTo>
                  <a:pt x="979" y="33"/>
                </a:lnTo>
                <a:lnTo>
                  <a:pt x="981" y="33"/>
                </a:lnTo>
                <a:lnTo>
                  <a:pt x="984" y="33"/>
                </a:lnTo>
                <a:lnTo>
                  <a:pt x="988" y="33"/>
                </a:lnTo>
                <a:lnTo>
                  <a:pt x="992" y="31"/>
                </a:lnTo>
                <a:lnTo>
                  <a:pt x="998" y="31"/>
                </a:lnTo>
                <a:lnTo>
                  <a:pt x="998" y="31"/>
                </a:lnTo>
                <a:lnTo>
                  <a:pt x="1007" y="31"/>
                </a:lnTo>
                <a:lnTo>
                  <a:pt x="1015" y="31"/>
                </a:lnTo>
                <a:lnTo>
                  <a:pt x="1023" y="29"/>
                </a:lnTo>
                <a:lnTo>
                  <a:pt x="1026" y="25"/>
                </a:lnTo>
                <a:lnTo>
                  <a:pt x="1030" y="21"/>
                </a:lnTo>
                <a:lnTo>
                  <a:pt x="1034" y="17"/>
                </a:lnTo>
                <a:lnTo>
                  <a:pt x="1036" y="10"/>
                </a:lnTo>
                <a:lnTo>
                  <a:pt x="1036" y="2"/>
                </a:lnTo>
                <a:lnTo>
                  <a:pt x="1036" y="2"/>
                </a:lnTo>
                <a:lnTo>
                  <a:pt x="1044" y="0"/>
                </a:lnTo>
                <a:lnTo>
                  <a:pt x="1051" y="0"/>
                </a:lnTo>
                <a:lnTo>
                  <a:pt x="1059" y="2"/>
                </a:lnTo>
                <a:lnTo>
                  <a:pt x="1064" y="2"/>
                </a:lnTo>
                <a:lnTo>
                  <a:pt x="1072" y="4"/>
                </a:lnTo>
                <a:lnTo>
                  <a:pt x="1078" y="6"/>
                </a:lnTo>
                <a:lnTo>
                  <a:pt x="1084" y="8"/>
                </a:lnTo>
                <a:lnTo>
                  <a:pt x="1091" y="10"/>
                </a:lnTo>
                <a:lnTo>
                  <a:pt x="1097" y="12"/>
                </a:lnTo>
                <a:lnTo>
                  <a:pt x="1103" y="13"/>
                </a:lnTo>
                <a:lnTo>
                  <a:pt x="1108" y="17"/>
                </a:lnTo>
                <a:lnTo>
                  <a:pt x="1116" y="19"/>
                </a:lnTo>
                <a:lnTo>
                  <a:pt x="1122" y="21"/>
                </a:lnTo>
                <a:lnTo>
                  <a:pt x="1129" y="21"/>
                </a:lnTo>
                <a:lnTo>
                  <a:pt x="1137" y="23"/>
                </a:lnTo>
                <a:lnTo>
                  <a:pt x="1145" y="23"/>
                </a:lnTo>
                <a:lnTo>
                  <a:pt x="1145" y="23"/>
                </a:lnTo>
                <a:lnTo>
                  <a:pt x="1152" y="23"/>
                </a:lnTo>
                <a:lnTo>
                  <a:pt x="1160" y="21"/>
                </a:lnTo>
                <a:lnTo>
                  <a:pt x="1166" y="21"/>
                </a:lnTo>
                <a:lnTo>
                  <a:pt x="1171" y="19"/>
                </a:lnTo>
                <a:lnTo>
                  <a:pt x="1175" y="17"/>
                </a:lnTo>
                <a:lnTo>
                  <a:pt x="1181" y="15"/>
                </a:lnTo>
                <a:lnTo>
                  <a:pt x="1187" y="15"/>
                </a:lnTo>
                <a:lnTo>
                  <a:pt x="1194" y="13"/>
                </a:lnTo>
                <a:lnTo>
                  <a:pt x="1188" y="2"/>
                </a:lnTo>
                <a:lnTo>
                  <a:pt x="1188" y="2"/>
                </a:lnTo>
                <a:lnTo>
                  <a:pt x="1188" y="4"/>
                </a:lnTo>
                <a:lnTo>
                  <a:pt x="1188" y="8"/>
                </a:lnTo>
                <a:lnTo>
                  <a:pt x="1190" y="12"/>
                </a:lnTo>
                <a:lnTo>
                  <a:pt x="1192" y="13"/>
                </a:lnTo>
                <a:lnTo>
                  <a:pt x="1192" y="13"/>
                </a:lnTo>
                <a:lnTo>
                  <a:pt x="1196" y="17"/>
                </a:lnTo>
                <a:lnTo>
                  <a:pt x="1200" y="19"/>
                </a:lnTo>
                <a:lnTo>
                  <a:pt x="1206" y="21"/>
                </a:lnTo>
                <a:lnTo>
                  <a:pt x="1209" y="25"/>
                </a:lnTo>
                <a:lnTo>
                  <a:pt x="1217" y="29"/>
                </a:lnTo>
                <a:lnTo>
                  <a:pt x="1221" y="31"/>
                </a:lnTo>
                <a:lnTo>
                  <a:pt x="1227" y="36"/>
                </a:lnTo>
                <a:lnTo>
                  <a:pt x="1230" y="40"/>
                </a:lnTo>
                <a:lnTo>
                  <a:pt x="1230" y="40"/>
                </a:lnTo>
                <a:lnTo>
                  <a:pt x="1234" y="46"/>
                </a:lnTo>
                <a:lnTo>
                  <a:pt x="1238" y="52"/>
                </a:lnTo>
                <a:lnTo>
                  <a:pt x="1242" y="57"/>
                </a:lnTo>
                <a:lnTo>
                  <a:pt x="1246" y="65"/>
                </a:lnTo>
                <a:lnTo>
                  <a:pt x="1251" y="71"/>
                </a:lnTo>
                <a:lnTo>
                  <a:pt x="1257" y="75"/>
                </a:lnTo>
                <a:lnTo>
                  <a:pt x="1265" y="76"/>
                </a:lnTo>
                <a:lnTo>
                  <a:pt x="1274" y="78"/>
                </a:lnTo>
                <a:lnTo>
                  <a:pt x="1274" y="78"/>
                </a:lnTo>
                <a:lnTo>
                  <a:pt x="1280" y="78"/>
                </a:lnTo>
                <a:lnTo>
                  <a:pt x="1284" y="76"/>
                </a:lnTo>
                <a:lnTo>
                  <a:pt x="1288" y="73"/>
                </a:lnTo>
                <a:lnTo>
                  <a:pt x="1290" y="71"/>
                </a:lnTo>
                <a:lnTo>
                  <a:pt x="1293" y="69"/>
                </a:lnTo>
                <a:lnTo>
                  <a:pt x="1297" y="67"/>
                </a:lnTo>
                <a:lnTo>
                  <a:pt x="1301" y="65"/>
                </a:lnTo>
                <a:lnTo>
                  <a:pt x="1307" y="65"/>
                </a:lnTo>
                <a:lnTo>
                  <a:pt x="1307" y="65"/>
                </a:lnTo>
                <a:lnTo>
                  <a:pt x="1312" y="65"/>
                </a:lnTo>
                <a:lnTo>
                  <a:pt x="1318" y="65"/>
                </a:lnTo>
                <a:lnTo>
                  <a:pt x="1324" y="67"/>
                </a:lnTo>
                <a:lnTo>
                  <a:pt x="1330" y="67"/>
                </a:lnTo>
                <a:lnTo>
                  <a:pt x="1335" y="69"/>
                </a:lnTo>
                <a:lnTo>
                  <a:pt x="1339" y="71"/>
                </a:lnTo>
                <a:lnTo>
                  <a:pt x="1345" y="71"/>
                </a:lnTo>
                <a:lnTo>
                  <a:pt x="1351" y="73"/>
                </a:lnTo>
                <a:lnTo>
                  <a:pt x="1351" y="73"/>
                </a:lnTo>
                <a:lnTo>
                  <a:pt x="1354" y="71"/>
                </a:lnTo>
                <a:lnTo>
                  <a:pt x="1358" y="69"/>
                </a:lnTo>
                <a:lnTo>
                  <a:pt x="1360" y="65"/>
                </a:lnTo>
                <a:lnTo>
                  <a:pt x="1362" y="61"/>
                </a:lnTo>
                <a:lnTo>
                  <a:pt x="1366" y="59"/>
                </a:lnTo>
                <a:lnTo>
                  <a:pt x="1368" y="55"/>
                </a:lnTo>
                <a:lnTo>
                  <a:pt x="1372" y="54"/>
                </a:lnTo>
                <a:lnTo>
                  <a:pt x="1375" y="52"/>
                </a:lnTo>
                <a:lnTo>
                  <a:pt x="1375" y="52"/>
                </a:lnTo>
                <a:lnTo>
                  <a:pt x="1385" y="55"/>
                </a:lnTo>
                <a:lnTo>
                  <a:pt x="1393" y="59"/>
                </a:lnTo>
                <a:lnTo>
                  <a:pt x="1400" y="67"/>
                </a:lnTo>
                <a:lnTo>
                  <a:pt x="1406" y="75"/>
                </a:lnTo>
                <a:lnTo>
                  <a:pt x="1412" y="84"/>
                </a:lnTo>
                <a:lnTo>
                  <a:pt x="1417" y="94"/>
                </a:lnTo>
                <a:lnTo>
                  <a:pt x="1423" y="99"/>
                </a:lnTo>
                <a:lnTo>
                  <a:pt x="1431" y="105"/>
                </a:lnTo>
                <a:lnTo>
                  <a:pt x="1431" y="105"/>
                </a:lnTo>
                <a:lnTo>
                  <a:pt x="1435" y="105"/>
                </a:lnTo>
                <a:lnTo>
                  <a:pt x="1438" y="105"/>
                </a:lnTo>
                <a:lnTo>
                  <a:pt x="1442" y="107"/>
                </a:lnTo>
                <a:lnTo>
                  <a:pt x="1444" y="107"/>
                </a:lnTo>
                <a:lnTo>
                  <a:pt x="1448" y="107"/>
                </a:lnTo>
                <a:lnTo>
                  <a:pt x="1450" y="107"/>
                </a:lnTo>
                <a:lnTo>
                  <a:pt x="1454" y="109"/>
                </a:lnTo>
                <a:lnTo>
                  <a:pt x="1456" y="111"/>
                </a:lnTo>
                <a:lnTo>
                  <a:pt x="1456" y="111"/>
                </a:lnTo>
                <a:lnTo>
                  <a:pt x="1456" y="115"/>
                </a:lnTo>
                <a:lnTo>
                  <a:pt x="1456" y="117"/>
                </a:lnTo>
                <a:lnTo>
                  <a:pt x="1456" y="120"/>
                </a:lnTo>
                <a:lnTo>
                  <a:pt x="1456" y="124"/>
                </a:lnTo>
                <a:lnTo>
                  <a:pt x="1457" y="128"/>
                </a:lnTo>
                <a:lnTo>
                  <a:pt x="1459" y="132"/>
                </a:lnTo>
                <a:lnTo>
                  <a:pt x="1461" y="134"/>
                </a:lnTo>
                <a:lnTo>
                  <a:pt x="1467" y="136"/>
                </a:lnTo>
                <a:lnTo>
                  <a:pt x="1469" y="134"/>
                </a:lnTo>
                <a:lnTo>
                  <a:pt x="1469" y="134"/>
                </a:lnTo>
                <a:lnTo>
                  <a:pt x="1471" y="139"/>
                </a:lnTo>
                <a:lnTo>
                  <a:pt x="1471" y="143"/>
                </a:lnTo>
                <a:lnTo>
                  <a:pt x="1471" y="147"/>
                </a:lnTo>
                <a:lnTo>
                  <a:pt x="1471" y="151"/>
                </a:lnTo>
                <a:lnTo>
                  <a:pt x="1471" y="157"/>
                </a:lnTo>
                <a:lnTo>
                  <a:pt x="1469" y="160"/>
                </a:lnTo>
                <a:lnTo>
                  <a:pt x="1469" y="166"/>
                </a:lnTo>
                <a:lnTo>
                  <a:pt x="1469" y="172"/>
                </a:lnTo>
                <a:lnTo>
                  <a:pt x="1469" y="172"/>
                </a:lnTo>
                <a:lnTo>
                  <a:pt x="1469" y="176"/>
                </a:lnTo>
                <a:lnTo>
                  <a:pt x="1469" y="179"/>
                </a:lnTo>
                <a:lnTo>
                  <a:pt x="1469" y="181"/>
                </a:lnTo>
                <a:lnTo>
                  <a:pt x="1471" y="183"/>
                </a:lnTo>
                <a:lnTo>
                  <a:pt x="1471" y="185"/>
                </a:lnTo>
                <a:lnTo>
                  <a:pt x="1473" y="187"/>
                </a:lnTo>
                <a:lnTo>
                  <a:pt x="1473" y="191"/>
                </a:lnTo>
                <a:lnTo>
                  <a:pt x="1473" y="195"/>
                </a:lnTo>
                <a:lnTo>
                  <a:pt x="1473" y="195"/>
                </a:lnTo>
                <a:lnTo>
                  <a:pt x="1473" y="199"/>
                </a:lnTo>
                <a:lnTo>
                  <a:pt x="1471" y="200"/>
                </a:lnTo>
                <a:lnTo>
                  <a:pt x="1471" y="202"/>
                </a:lnTo>
                <a:lnTo>
                  <a:pt x="1469" y="204"/>
                </a:lnTo>
                <a:lnTo>
                  <a:pt x="1467" y="208"/>
                </a:lnTo>
                <a:lnTo>
                  <a:pt x="1465" y="210"/>
                </a:lnTo>
                <a:lnTo>
                  <a:pt x="1465" y="214"/>
                </a:lnTo>
                <a:lnTo>
                  <a:pt x="1465" y="220"/>
                </a:lnTo>
                <a:lnTo>
                  <a:pt x="1465" y="220"/>
                </a:lnTo>
                <a:lnTo>
                  <a:pt x="1467" y="225"/>
                </a:lnTo>
                <a:lnTo>
                  <a:pt x="1471" y="229"/>
                </a:lnTo>
                <a:lnTo>
                  <a:pt x="1477" y="231"/>
                </a:lnTo>
                <a:lnTo>
                  <a:pt x="1482" y="233"/>
                </a:lnTo>
                <a:lnTo>
                  <a:pt x="1490" y="235"/>
                </a:lnTo>
                <a:lnTo>
                  <a:pt x="1496" y="239"/>
                </a:lnTo>
                <a:lnTo>
                  <a:pt x="1499" y="242"/>
                </a:lnTo>
                <a:lnTo>
                  <a:pt x="1499" y="248"/>
                </a:lnTo>
                <a:lnTo>
                  <a:pt x="1499" y="248"/>
                </a:lnTo>
                <a:lnTo>
                  <a:pt x="1499" y="254"/>
                </a:lnTo>
                <a:lnTo>
                  <a:pt x="1498" y="260"/>
                </a:lnTo>
                <a:lnTo>
                  <a:pt x="1494" y="263"/>
                </a:lnTo>
                <a:lnTo>
                  <a:pt x="1490" y="269"/>
                </a:lnTo>
                <a:lnTo>
                  <a:pt x="1486" y="273"/>
                </a:lnTo>
                <a:lnTo>
                  <a:pt x="1480" y="277"/>
                </a:lnTo>
                <a:lnTo>
                  <a:pt x="1475" y="281"/>
                </a:lnTo>
                <a:lnTo>
                  <a:pt x="1471" y="284"/>
                </a:lnTo>
                <a:lnTo>
                  <a:pt x="1471" y="284"/>
                </a:lnTo>
                <a:lnTo>
                  <a:pt x="1463" y="292"/>
                </a:lnTo>
                <a:lnTo>
                  <a:pt x="1457" y="298"/>
                </a:lnTo>
                <a:lnTo>
                  <a:pt x="1450" y="305"/>
                </a:lnTo>
                <a:lnTo>
                  <a:pt x="1444" y="313"/>
                </a:lnTo>
                <a:lnTo>
                  <a:pt x="1436" y="319"/>
                </a:lnTo>
                <a:lnTo>
                  <a:pt x="1431" y="326"/>
                </a:lnTo>
                <a:lnTo>
                  <a:pt x="1423" y="334"/>
                </a:lnTo>
                <a:lnTo>
                  <a:pt x="1415" y="340"/>
                </a:lnTo>
                <a:lnTo>
                  <a:pt x="1415" y="340"/>
                </a:lnTo>
                <a:lnTo>
                  <a:pt x="1414" y="342"/>
                </a:lnTo>
                <a:lnTo>
                  <a:pt x="1412" y="345"/>
                </a:lnTo>
                <a:lnTo>
                  <a:pt x="1408" y="347"/>
                </a:lnTo>
                <a:lnTo>
                  <a:pt x="1406" y="349"/>
                </a:lnTo>
                <a:lnTo>
                  <a:pt x="1404" y="351"/>
                </a:lnTo>
                <a:lnTo>
                  <a:pt x="1402" y="355"/>
                </a:lnTo>
                <a:lnTo>
                  <a:pt x="1400" y="359"/>
                </a:lnTo>
                <a:lnTo>
                  <a:pt x="1400" y="361"/>
                </a:lnTo>
                <a:lnTo>
                  <a:pt x="1400" y="361"/>
                </a:lnTo>
                <a:lnTo>
                  <a:pt x="1400" y="370"/>
                </a:lnTo>
                <a:lnTo>
                  <a:pt x="1398" y="378"/>
                </a:lnTo>
                <a:lnTo>
                  <a:pt x="1398" y="387"/>
                </a:lnTo>
                <a:lnTo>
                  <a:pt x="1396" y="395"/>
                </a:lnTo>
                <a:lnTo>
                  <a:pt x="1394" y="405"/>
                </a:lnTo>
                <a:lnTo>
                  <a:pt x="1393" y="412"/>
                </a:lnTo>
                <a:lnTo>
                  <a:pt x="1391" y="422"/>
                </a:lnTo>
                <a:lnTo>
                  <a:pt x="1389" y="431"/>
                </a:lnTo>
                <a:lnTo>
                  <a:pt x="1385" y="441"/>
                </a:lnTo>
                <a:lnTo>
                  <a:pt x="1383" y="450"/>
                </a:lnTo>
                <a:lnTo>
                  <a:pt x="1381" y="460"/>
                </a:lnTo>
                <a:lnTo>
                  <a:pt x="1379" y="469"/>
                </a:lnTo>
                <a:lnTo>
                  <a:pt x="1377" y="479"/>
                </a:lnTo>
                <a:lnTo>
                  <a:pt x="1377" y="490"/>
                </a:lnTo>
                <a:lnTo>
                  <a:pt x="1377" y="502"/>
                </a:lnTo>
                <a:lnTo>
                  <a:pt x="1375" y="513"/>
                </a:lnTo>
                <a:lnTo>
                  <a:pt x="1375" y="513"/>
                </a:lnTo>
                <a:lnTo>
                  <a:pt x="1375" y="515"/>
                </a:lnTo>
                <a:lnTo>
                  <a:pt x="1375" y="519"/>
                </a:lnTo>
                <a:lnTo>
                  <a:pt x="1375" y="521"/>
                </a:lnTo>
                <a:lnTo>
                  <a:pt x="1375" y="525"/>
                </a:lnTo>
                <a:lnTo>
                  <a:pt x="1377" y="527"/>
                </a:lnTo>
                <a:lnTo>
                  <a:pt x="1377" y="530"/>
                </a:lnTo>
                <a:lnTo>
                  <a:pt x="1377" y="532"/>
                </a:lnTo>
                <a:lnTo>
                  <a:pt x="1377" y="536"/>
                </a:lnTo>
                <a:lnTo>
                  <a:pt x="1377" y="536"/>
                </a:lnTo>
                <a:lnTo>
                  <a:pt x="1372" y="540"/>
                </a:lnTo>
                <a:lnTo>
                  <a:pt x="1366" y="544"/>
                </a:lnTo>
                <a:lnTo>
                  <a:pt x="1360" y="548"/>
                </a:lnTo>
                <a:lnTo>
                  <a:pt x="1356" y="553"/>
                </a:lnTo>
                <a:lnTo>
                  <a:pt x="1353" y="559"/>
                </a:lnTo>
                <a:lnTo>
                  <a:pt x="1349" y="563"/>
                </a:lnTo>
                <a:lnTo>
                  <a:pt x="1347" y="569"/>
                </a:lnTo>
                <a:lnTo>
                  <a:pt x="1347" y="574"/>
                </a:lnTo>
                <a:lnTo>
                  <a:pt x="1347" y="574"/>
                </a:lnTo>
                <a:lnTo>
                  <a:pt x="1347" y="578"/>
                </a:lnTo>
                <a:lnTo>
                  <a:pt x="1347" y="580"/>
                </a:lnTo>
                <a:lnTo>
                  <a:pt x="1349" y="584"/>
                </a:lnTo>
                <a:lnTo>
                  <a:pt x="1349" y="588"/>
                </a:lnTo>
                <a:lnTo>
                  <a:pt x="1349" y="590"/>
                </a:lnTo>
                <a:lnTo>
                  <a:pt x="1349" y="593"/>
                </a:lnTo>
                <a:lnTo>
                  <a:pt x="1347" y="595"/>
                </a:lnTo>
                <a:lnTo>
                  <a:pt x="1345" y="597"/>
                </a:lnTo>
                <a:lnTo>
                  <a:pt x="1345" y="597"/>
                </a:lnTo>
                <a:lnTo>
                  <a:pt x="1341" y="599"/>
                </a:lnTo>
                <a:lnTo>
                  <a:pt x="1337" y="601"/>
                </a:lnTo>
                <a:lnTo>
                  <a:pt x="1333" y="603"/>
                </a:lnTo>
                <a:lnTo>
                  <a:pt x="1330" y="605"/>
                </a:lnTo>
                <a:lnTo>
                  <a:pt x="1328" y="609"/>
                </a:lnTo>
                <a:lnTo>
                  <a:pt x="1326" y="613"/>
                </a:lnTo>
                <a:lnTo>
                  <a:pt x="1324" y="618"/>
                </a:lnTo>
                <a:lnTo>
                  <a:pt x="1322" y="624"/>
                </a:lnTo>
                <a:lnTo>
                  <a:pt x="1322" y="624"/>
                </a:lnTo>
                <a:lnTo>
                  <a:pt x="1324" y="628"/>
                </a:lnTo>
                <a:lnTo>
                  <a:pt x="1324" y="630"/>
                </a:lnTo>
                <a:lnTo>
                  <a:pt x="1326" y="634"/>
                </a:lnTo>
                <a:lnTo>
                  <a:pt x="1326" y="635"/>
                </a:lnTo>
                <a:lnTo>
                  <a:pt x="1328" y="637"/>
                </a:lnTo>
                <a:lnTo>
                  <a:pt x="1330" y="641"/>
                </a:lnTo>
                <a:lnTo>
                  <a:pt x="1332" y="643"/>
                </a:lnTo>
                <a:lnTo>
                  <a:pt x="1333" y="645"/>
                </a:lnTo>
                <a:lnTo>
                  <a:pt x="1333" y="645"/>
                </a:lnTo>
                <a:lnTo>
                  <a:pt x="1333" y="649"/>
                </a:lnTo>
                <a:lnTo>
                  <a:pt x="1335" y="653"/>
                </a:lnTo>
                <a:lnTo>
                  <a:pt x="1337" y="656"/>
                </a:lnTo>
                <a:lnTo>
                  <a:pt x="1341" y="658"/>
                </a:lnTo>
                <a:lnTo>
                  <a:pt x="1343" y="662"/>
                </a:lnTo>
                <a:lnTo>
                  <a:pt x="1345" y="666"/>
                </a:lnTo>
                <a:lnTo>
                  <a:pt x="1347" y="668"/>
                </a:lnTo>
                <a:lnTo>
                  <a:pt x="1349" y="672"/>
                </a:lnTo>
                <a:lnTo>
                  <a:pt x="1349" y="672"/>
                </a:lnTo>
                <a:lnTo>
                  <a:pt x="1351" y="677"/>
                </a:lnTo>
                <a:lnTo>
                  <a:pt x="1351" y="683"/>
                </a:lnTo>
                <a:lnTo>
                  <a:pt x="1351" y="687"/>
                </a:lnTo>
                <a:lnTo>
                  <a:pt x="1351" y="693"/>
                </a:lnTo>
                <a:lnTo>
                  <a:pt x="1351" y="696"/>
                </a:lnTo>
                <a:lnTo>
                  <a:pt x="1351" y="702"/>
                </a:lnTo>
                <a:lnTo>
                  <a:pt x="1351" y="708"/>
                </a:lnTo>
                <a:lnTo>
                  <a:pt x="1351" y="712"/>
                </a:lnTo>
                <a:lnTo>
                  <a:pt x="1351" y="712"/>
                </a:lnTo>
                <a:lnTo>
                  <a:pt x="1351" y="714"/>
                </a:lnTo>
                <a:lnTo>
                  <a:pt x="1351" y="716"/>
                </a:lnTo>
                <a:lnTo>
                  <a:pt x="1351" y="717"/>
                </a:lnTo>
                <a:lnTo>
                  <a:pt x="1351" y="719"/>
                </a:lnTo>
                <a:lnTo>
                  <a:pt x="1351" y="721"/>
                </a:lnTo>
                <a:lnTo>
                  <a:pt x="1351" y="723"/>
                </a:lnTo>
                <a:lnTo>
                  <a:pt x="1351" y="725"/>
                </a:lnTo>
                <a:lnTo>
                  <a:pt x="1351" y="725"/>
                </a:lnTo>
                <a:lnTo>
                  <a:pt x="1351" y="725"/>
                </a:lnTo>
                <a:lnTo>
                  <a:pt x="1351" y="727"/>
                </a:lnTo>
                <a:lnTo>
                  <a:pt x="1353" y="729"/>
                </a:lnTo>
                <a:lnTo>
                  <a:pt x="1353" y="731"/>
                </a:lnTo>
                <a:lnTo>
                  <a:pt x="1353" y="733"/>
                </a:lnTo>
                <a:lnTo>
                  <a:pt x="1353" y="733"/>
                </a:lnTo>
                <a:lnTo>
                  <a:pt x="1351" y="733"/>
                </a:lnTo>
                <a:lnTo>
                  <a:pt x="1349" y="733"/>
                </a:lnTo>
                <a:lnTo>
                  <a:pt x="1347" y="731"/>
                </a:lnTo>
                <a:lnTo>
                  <a:pt x="1345" y="731"/>
                </a:lnTo>
                <a:lnTo>
                  <a:pt x="1345" y="731"/>
                </a:lnTo>
                <a:lnTo>
                  <a:pt x="1345" y="733"/>
                </a:lnTo>
                <a:lnTo>
                  <a:pt x="1345" y="735"/>
                </a:lnTo>
                <a:lnTo>
                  <a:pt x="1345" y="735"/>
                </a:lnTo>
                <a:lnTo>
                  <a:pt x="1345" y="737"/>
                </a:lnTo>
                <a:lnTo>
                  <a:pt x="1345" y="738"/>
                </a:lnTo>
                <a:lnTo>
                  <a:pt x="1345" y="740"/>
                </a:lnTo>
                <a:lnTo>
                  <a:pt x="1345" y="742"/>
                </a:lnTo>
                <a:lnTo>
                  <a:pt x="1345" y="744"/>
                </a:lnTo>
                <a:lnTo>
                  <a:pt x="1345" y="744"/>
                </a:lnTo>
                <a:lnTo>
                  <a:pt x="1345" y="748"/>
                </a:lnTo>
                <a:lnTo>
                  <a:pt x="1345" y="752"/>
                </a:lnTo>
                <a:lnTo>
                  <a:pt x="1347" y="756"/>
                </a:lnTo>
                <a:lnTo>
                  <a:pt x="1347" y="759"/>
                </a:lnTo>
                <a:lnTo>
                  <a:pt x="1349" y="761"/>
                </a:lnTo>
                <a:lnTo>
                  <a:pt x="1349" y="765"/>
                </a:lnTo>
                <a:lnTo>
                  <a:pt x="1351" y="771"/>
                </a:lnTo>
                <a:lnTo>
                  <a:pt x="1351" y="775"/>
                </a:lnTo>
                <a:lnTo>
                  <a:pt x="1351" y="775"/>
                </a:lnTo>
                <a:lnTo>
                  <a:pt x="1351" y="780"/>
                </a:lnTo>
                <a:lnTo>
                  <a:pt x="1349" y="784"/>
                </a:lnTo>
                <a:lnTo>
                  <a:pt x="1349" y="790"/>
                </a:lnTo>
                <a:lnTo>
                  <a:pt x="1347" y="794"/>
                </a:lnTo>
                <a:lnTo>
                  <a:pt x="1347" y="798"/>
                </a:lnTo>
                <a:lnTo>
                  <a:pt x="1345" y="803"/>
                </a:lnTo>
                <a:lnTo>
                  <a:pt x="1345" y="809"/>
                </a:lnTo>
                <a:lnTo>
                  <a:pt x="1345" y="815"/>
                </a:lnTo>
                <a:lnTo>
                  <a:pt x="1345" y="815"/>
                </a:lnTo>
                <a:lnTo>
                  <a:pt x="1345" y="820"/>
                </a:lnTo>
                <a:lnTo>
                  <a:pt x="1345" y="824"/>
                </a:lnTo>
                <a:lnTo>
                  <a:pt x="1345" y="830"/>
                </a:lnTo>
                <a:lnTo>
                  <a:pt x="1347" y="834"/>
                </a:lnTo>
                <a:lnTo>
                  <a:pt x="1347" y="840"/>
                </a:lnTo>
                <a:lnTo>
                  <a:pt x="1349" y="843"/>
                </a:lnTo>
                <a:lnTo>
                  <a:pt x="1351" y="847"/>
                </a:lnTo>
                <a:lnTo>
                  <a:pt x="1351" y="851"/>
                </a:lnTo>
                <a:lnTo>
                  <a:pt x="1353" y="855"/>
                </a:lnTo>
                <a:lnTo>
                  <a:pt x="1354" y="859"/>
                </a:lnTo>
                <a:lnTo>
                  <a:pt x="1354" y="862"/>
                </a:lnTo>
                <a:lnTo>
                  <a:pt x="1356" y="866"/>
                </a:lnTo>
                <a:lnTo>
                  <a:pt x="1356" y="870"/>
                </a:lnTo>
                <a:lnTo>
                  <a:pt x="1358" y="874"/>
                </a:lnTo>
                <a:lnTo>
                  <a:pt x="1358" y="878"/>
                </a:lnTo>
                <a:lnTo>
                  <a:pt x="1358" y="880"/>
                </a:lnTo>
                <a:lnTo>
                  <a:pt x="1358" y="880"/>
                </a:lnTo>
                <a:lnTo>
                  <a:pt x="1358" y="883"/>
                </a:lnTo>
                <a:lnTo>
                  <a:pt x="1358" y="885"/>
                </a:lnTo>
                <a:lnTo>
                  <a:pt x="1358" y="887"/>
                </a:lnTo>
                <a:lnTo>
                  <a:pt x="1358" y="889"/>
                </a:lnTo>
                <a:lnTo>
                  <a:pt x="1358" y="893"/>
                </a:lnTo>
                <a:lnTo>
                  <a:pt x="1358" y="897"/>
                </a:lnTo>
                <a:lnTo>
                  <a:pt x="1358" y="901"/>
                </a:lnTo>
                <a:lnTo>
                  <a:pt x="1358" y="904"/>
                </a:lnTo>
                <a:lnTo>
                  <a:pt x="1358" y="904"/>
                </a:lnTo>
                <a:lnTo>
                  <a:pt x="1358" y="910"/>
                </a:lnTo>
                <a:lnTo>
                  <a:pt x="1360" y="914"/>
                </a:lnTo>
                <a:lnTo>
                  <a:pt x="1360" y="918"/>
                </a:lnTo>
                <a:lnTo>
                  <a:pt x="1362" y="923"/>
                </a:lnTo>
                <a:lnTo>
                  <a:pt x="1362" y="929"/>
                </a:lnTo>
                <a:lnTo>
                  <a:pt x="1364" y="933"/>
                </a:lnTo>
                <a:lnTo>
                  <a:pt x="1366" y="939"/>
                </a:lnTo>
                <a:lnTo>
                  <a:pt x="1370" y="944"/>
                </a:lnTo>
                <a:lnTo>
                  <a:pt x="1372" y="948"/>
                </a:lnTo>
                <a:lnTo>
                  <a:pt x="1374" y="954"/>
                </a:lnTo>
                <a:lnTo>
                  <a:pt x="1375" y="958"/>
                </a:lnTo>
                <a:lnTo>
                  <a:pt x="1377" y="964"/>
                </a:lnTo>
                <a:lnTo>
                  <a:pt x="1381" y="967"/>
                </a:lnTo>
                <a:lnTo>
                  <a:pt x="1383" y="971"/>
                </a:lnTo>
                <a:lnTo>
                  <a:pt x="1385" y="973"/>
                </a:lnTo>
                <a:lnTo>
                  <a:pt x="1387" y="977"/>
                </a:lnTo>
                <a:lnTo>
                  <a:pt x="1387" y="977"/>
                </a:lnTo>
                <a:lnTo>
                  <a:pt x="1391" y="981"/>
                </a:lnTo>
                <a:lnTo>
                  <a:pt x="1396" y="985"/>
                </a:lnTo>
                <a:lnTo>
                  <a:pt x="1402" y="988"/>
                </a:lnTo>
                <a:lnTo>
                  <a:pt x="1408" y="992"/>
                </a:lnTo>
                <a:lnTo>
                  <a:pt x="1414" y="996"/>
                </a:lnTo>
                <a:lnTo>
                  <a:pt x="1417" y="1002"/>
                </a:lnTo>
                <a:lnTo>
                  <a:pt x="1421" y="1006"/>
                </a:lnTo>
                <a:lnTo>
                  <a:pt x="1425" y="1011"/>
                </a:lnTo>
                <a:lnTo>
                  <a:pt x="1425" y="1011"/>
                </a:lnTo>
                <a:lnTo>
                  <a:pt x="1429" y="1021"/>
                </a:lnTo>
                <a:lnTo>
                  <a:pt x="1433" y="1028"/>
                </a:lnTo>
                <a:lnTo>
                  <a:pt x="1435" y="1038"/>
                </a:lnTo>
                <a:lnTo>
                  <a:pt x="1436" y="1046"/>
                </a:lnTo>
                <a:lnTo>
                  <a:pt x="1440" y="1051"/>
                </a:lnTo>
                <a:lnTo>
                  <a:pt x="1444" y="1059"/>
                </a:lnTo>
                <a:lnTo>
                  <a:pt x="1450" y="1065"/>
                </a:lnTo>
                <a:lnTo>
                  <a:pt x="1457" y="1070"/>
                </a:lnTo>
                <a:lnTo>
                  <a:pt x="1465" y="1078"/>
                </a:lnTo>
                <a:lnTo>
                  <a:pt x="1414" y="1082"/>
                </a:lnTo>
                <a:lnTo>
                  <a:pt x="1414" y="1082"/>
                </a:lnTo>
                <a:lnTo>
                  <a:pt x="1408" y="1086"/>
                </a:lnTo>
                <a:lnTo>
                  <a:pt x="1402" y="1086"/>
                </a:lnTo>
                <a:lnTo>
                  <a:pt x="1396" y="1088"/>
                </a:lnTo>
                <a:lnTo>
                  <a:pt x="1391" y="1088"/>
                </a:lnTo>
                <a:lnTo>
                  <a:pt x="1387" y="1088"/>
                </a:lnTo>
                <a:lnTo>
                  <a:pt x="1381" y="1089"/>
                </a:lnTo>
                <a:lnTo>
                  <a:pt x="1375" y="1089"/>
                </a:lnTo>
                <a:lnTo>
                  <a:pt x="1370" y="1089"/>
                </a:lnTo>
                <a:lnTo>
                  <a:pt x="1366" y="1089"/>
                </a:lnTo>
                <a:lnTo>
                  <a:pt x="1360" y="1089"/>
                </a:lnTo>
                <a:lnTo>
                  <a:pt x="1354" y="1091"/>
                </a:lnTo>
                <a:lnTo>
                  <a:pt x="1351" y="1091"/>
                </a:lnTo>
                <a:lnTo>
                  <a:pt x="1345" y="1093"/>
                </a:lnTo>
                <a:lnTo>
                  <a:pt x="1339" y="1095"/>
                </a:lnTo>
                <a:lnTo>
                  <a:pt x="1333" y="1097"/>
                </a:lnTo>
                <a:lnTo>
                  <a:pt x="1328" y="1101"/>
                </a:lnTo>
                <a:lnTo>
                  <a:pt x="1328" y="1101"/>
                </a:lnTo>
                <a:lnTo>
                  <a:pt x="1322" y="1105"/>
                </a:lnTo>
                <a:lnTo>
                  <a:pt x="1320" y="1109"/>
                </a:lnTo>
                <a:lnTo>
                  <a:pt x="1318" y="1114"/>
                </a:lnTo>
                <a:lnTo>
                  <a:pt x="1316" y="1120"/>
                </a:lnTo>
                <a:lnTo>
                  <a:pt x="1316" y="1126"/>
                </a:lnTo>
                <a:lnTo>
                  <a:pt x="1314" y="1131"/>
                </a:lnTo>
                <a:lnTo>
                  <a:pt x="1312" y="1135"/>
                </a:lnTo>
                <a:lnTo>
                  <a:pt x="1307" y="1141"/>
                </a:lnTo>
                <a:lnTo>
                  <a:pt x="1307" y="1141"/>
                </a:lnTo>
                <a:lnTo>
                  <a:pt x="1305" y="1143"/>
                </a:lnTo>
                <a:lnTo>
                  <a:pt x="1301" y="1145"/>
                </a:lnTo>
                <a:lnTo>
                  <a:pt x="1297" y="1149"/>
                </a:lnTo>
                <a:lnTo>
                  <a:pt x="1291" y="1151"/>
                </a:lnTo>
                <a:lnTo>
                  <a:pt x="1288" y="1154"/>
                </a:lnTo>
                <a:lnTo>
                  <a:pt x="1284" y="1158"/>
                </a:lnTo>
                <a:lnTo>
                  <a:pt x="1282" y="1164"/>
                </a:lnTo>
                <a:lnTo>
                  <a:pt x="1280" y="1170"/>
                </a:lnTo>
                <a:lnTo>
                  <a:pt x="1280" y="1170"/>
                </a:lnTo>
                <a:lnTo>
                  <a:pt x="1280" y="1173"/>
                </a:lnTo>
                <a:lnTo>
                  <a:pt x="1282" y="1175"/>
                </a:lnTo>
                <a:lnTo>
                  <a:pt x="1284" y="1179"/>
                </a:lnTo>
                <a:lnTo>
                  <a:pt x="1286" y="1181"/>
                </a:lnTo>
                <a:lnTo>
                  <a:pt x="1288" y="1185"/>
                </a:lnTo>
                <a:lnTo>
                  <a:pt x="1290" y="1187"/>
                </a:lnTo>
                <a:lnTo>
                  <a:pt x="1291" y="1191"/>
                </a:lnTo>
                <a:lnTo>
                  <a:pt x="1291" y="1194"/>
                </a:lnTo>
                <a:lnTo>
                  <a:pt x="1291" y="1194"/>
                </a:lnTo>
                <a:lnTo>
                  <a:pt x="1291" y="1198"/>
                </a:lnTo>
                <a:lnTo>
                  <a:pt x="1291" y="1202"/>
                </a:lnTo>
                <a:lnTo>
                  <a:pt x="1291" y="1208"/>
                </a:lnTo>
                <a:lnTo>
                  <a:pt x="1291" y="1213"/>
                </a:lnTo>
                <a:lnTo>
                  <a:pt x="1291" y="1217"/>
                </a:lnTo>
                <a:lnTo>
                  <a:pt x="1291" y="1223"/>
                </a:lnTo>
                <a:lnTo>
                  <a:pt x="1291" y="1231"/>
                </a:lnTo>
                <a:lnTo>
                  <a:pt x="1291" y="1236"/>
                </a:lnTo>
                <a:lnTo>
                  <a:pt x="1291" y="1244"/>
                </a:lnTo>
                <a:lnTo>
                  <a:pt x="1291" y="1250"/>
                </a:lnTo>
                <a:lnTo>
                  <a:pt x="1291" y="1257"/>
                </a:lnTo>
                <a:lnTo>
                  <a:pt x="1291" y="1263"/>
                </a:lnTo>
                <a:lnTo>
                  <a:pt x="1291" y="1271"/>
                </a:lnTo>
                <a:lnTo>
                  <a:pt x="1291" y="1278"/>
                </a:lnTo>
                <a:lnTo>
                  <a:pt x="1291" y="1286"/>
                </a:lnTo>
                <a:lnTo>
                  <a:pt x="1291" y="1294"/>
                </a:lnTo>
                <a:lnTo>
                  <a:pt x="1291" y="1294"/>
                </a:lnTo>
                <a:lnTo>
                  <a:pt x="1290" y="1297"/>
                </a:lnTo>
                <a:lnTo>
                  <a:pt x="1286" y="1301"/>
                </a:lnTo>
                <a:lnTo>
                  <a:pt x="1282" y="1305"/>
                </a:lnTo>
                <a:lnTo>
                  <a:pt x="1280" y="1309"/>
                </a:lnTo>
                <a:lnTo>
                  <a:pt x="1278" y="1315"/>
                </a:lnTo>
                <a:lnTo>
                  <a:pt x="1276" y="1320"/>
                </a:lnTo>
                <a:lnTo>
                  <a:pt x="1274" y="1328"/>
                </a:lnTo>
                <a:lnTo>
                  <a:pt x="1274" y="1334"/>
                </a:lnTo>
                <a:lnTo>
                  <a:pt x="1274" y="1334"/>
                </a:lnTo>
                <a:lnTo>
                  <a:pt x="1274" y="1341"/>
                </a:lnTo>
                <a:lnTo>
                  <a:pt x="1276" y="1347"/>
                </a:lnTo>
                <a:lnTo>
                  <a:pt x="1278" y="1353"/>
                </a:lnTo>
                <a:lnTo>
                  <a:pt x="1280" y="1360"/>
                </a:lnTo>
                <a:lnTo>
                  <a:pt x="1284" y="1366"/>
                </a:lnTo>
                <a:lnTo>
                  <a:pt x="1288" y="1372"/>
                </a:lnTo>
                <a:lnTo>
                  <a:pt x="1291" y="1378"/>
                </a:lnTo>
                <a:lnTo>
                  <a:pt x="1295" y="1385"/>
                </a:lnTo>
                <a:lnTo>
                  <a:pt x="1301" y="1391"/>
                </a:lnTo>
                <a:lnTo>
                  <a:pt x="1307" y="1395"/>
                </a:lnTo>
                <a:lnTo>
                  <a:pt x="1311" y="1400"/>
                </a:lnTo>
                <a:lnTo>
                  <a:pt x="1316" y="1404"/>
                </a:lnTo>
                <a:lnTo>
                  <a:pt x="1322" y="1410"/>
                </a:lnTo>
                <a:lnTo>
                  <a:pt x="1328" y="1414"/>
                </a:lnTo>
                <a:lnTo>
                  <a:pt x="1332" y="1416"/>
                </a:lnTo>
                <a:lnTo>
                  <a:pt x="1337" y="1419"/>
                </a:lnTo>
                <a:lnTo>
                  <a:pt x="1360" y="1419"/>
                </a:lnTo>
                <a:lnTo>
                  <a:pt x="1360" y="1419"/>
                </a:lnTo>
                <a:lnTo>
                  <a:pt x="1362" y="1416"/>
                </a:lnTo>
                <a:lnTo>
                  <a:pt x="1364" y="1412"/>
                </a:lnTo>
                <a:lnTo>
                  <a:pt x="1366" y="1410"/>
                </a:lnTo>
                <a:lnTo>
                  <a:pt x="1370" y="1406"/>
                </a:lnTo>
                <a:lnTo>
                  <a:pt x="1372" y="1404"/>
                </a:lnTo>
                <a:lnTo>
                  <a:pt x="1375" y="1402"/>
                </a:lnTo>
                <a:lnTo>
                  <a:pt x="1379" y="1400"/>
                </a:lnTo>
                <a:lnTo>
                  <a:pt x="1385" y="1399"/>
                </a:lnTo>
                <a:lnTo>
                  <a:pt x="1385" y="1484"/>
                </a:lnTo>
                <a:lnTo>
                  <a:pt x="1385" y="1484"/>
                </a:lnTo>
                <a:lnTo>
                  <a:pt x="1381" y="1484"/>
                </a:lnTo>
                <a:lnTo>
                  <a:pt x="1377" y="1484"/>
                </a:lnTo>
                <a:lnTo>
                  <a:pt x="1374" y="1484"/>
                </a:lnTo>
                <a:lnTo>
                  <a:pt x="1370" y="1484"/>
                </a:lnTo>
                <a:lnTo>
                  <a:pt x="1368" y="1484"/>
                </a:lnTo>
                <a:lnTo>
                  <a:pt x="1364" y="1484"/>
                </a:lnTo>
                <a:lnTo>
                  <a:pt x="1360" y="1484"/>
                </a:lnTo>
                <a:lnTo>
                  <a:pt x="1354" y="1484"/>
                </a:lnTo>
                <a:lnTo>
                  <a:pt x="1354" y="1484"/>
                </a:lnTo>
                <a:lnTo>
                  <a:pt x="1351" y="1484"/>
                </a:lnTo>
                <a:lnTo>
                  <a:pt x="1347" y="1486"/>
                </a:lnTo>
                <a:lnTo>
                  <a:pt x="1345" y="1486"/>
                </a:lnTo>
                <a:lnTo>
                  <a:pt x="1341" y="1488"/>
                </a:lnTo>
                <a:lnTo>
                  <a:pt x="1337" y="1490"/>
                </a:lnTo>
                <a:lnTo>
                  <a:pt x="1335" y="1492"/>
                </a:lnTo>
                <a:lnTo>
                  <a:pt x="1332" y="1494"/>
                </a:lnTo>
                <a:lnTo>
                  <a:pt x="1328" y="1494"/>
                </a:lnTo>
                <a:lnTo>
                  <a:pt x="1328" y="1494"/>
                </a:lnTo>
                <a:lnTo>
                  <a:pt x="1324" y="1494"/>
                </a:lnTo>
                <a:lnTo>
                  <a:pt x="1320" y="1492"/>
                </a:lnTo>
                <a:lnTo>
                  <a:pt x="1316" y="1488"/>
                </a:lnTo>
                <a:lnTo>
                  <a:pt x="1312" y="1484"/>
                </a:lnTo>
                <a:lnTo>
                  <a:pt x="1309" y="1481"/>
                </a:lnTo>
                <a:lnTo>
                  <a:pt x="1307" y="1477"/>
                </a:lnTo>
                <a:lnTo>
                  <a:pt x="1303" y="1471"/>
                </a:lnTo>
                <a:lnTo>
                  <a:pt x="1299" y="1465"/>
                </a:lnTo>
                <a:lnTo>
                  <a:pt x="1295" y="1460"/>
                </a:lnTo>
                <a:lnTo>
                  <a:pt x="1293" y="1454"/>
                </a:lnTo>
                <a:lnTo>
                  <a:pt x="1290" y="1448"/>
                </a:lnTo>
                <a:lnTo>
                  <a:pt x="1288" y="1442"/>
                </a:lnTo>
                <a:lnTo>
                  <a:pt x="1284" y="1437"/>
                </a:lnTo>
                <a:lnTo>
                  <a:pt x="1280" y="1433"/>
                </a:lnTo>
                <a:lnTo>
                  <a:pt x="1278" y="1429"/>
                </a:lnTo>
                <a:lnTo>
                  <a:pt x="1274" y="1425"/>
                </a:lnTo>
                <a:lnTo>
                  <a:pt x="1274" y="1425"/>
                </a:lnTo>
                <a:lnTo>
                  <a:pt x="1267" y="1419"/>
                </a:lnTo>
                <a:lnTo>
                  <a:pt x="1261" y="1416"/>
                </a:lnTo>
                <a:lnTo>
                  <a:pt x="1253" y="1414"/>
                </a:lnTo>
                <a:lnTo>
                  <a:pt x="1244" y="1412"/>
                </a:lnTo>
                <a:lnTo>
                  <a:pt x="1236" y="1410"/>
                </a:lnTo>
                <a:lnTo>
                  <a:pt x="1229" y="1408"/>
                </a:lnTo>
                <a:lnTo>
                  <a:pt x="1219" y="1404"/>
                </a:lnTo>
                <a:lnTo>
                  <a:pt x="1209" y="1399"/>
                </a:lnTo>
                <a:lnTo>
                  <a:pt x="1209" y="1399"/>
                </a:lnTo>
                <a:lnTo>
                  <a:pt x="1204" y="1395"/>
                </a:lnTo>
                <a:lnTo>
                  <a:pt x="1200" y="1387"/>
                </a:lnTo>
                <a:lnTo>
                  <a:pt x="1196" y="1381"/>
                </a:lnTo>
                <a:lnTo>
                  <a:pt x="1192" y="1376"/>
                </a:lnTo>
                <a:lnTo>
                  <a:pt x="1188" y="1368"/>
                </a:lnTo>
                <a:lnTo>
                  <a:pt x="1185" y="1362"/>
                </a:lnTo>
                <a:lnTo>
                  <a:pt x="1179" y="1357"/>
                </a:lnTo>
                <a:lnTo>
                  <a:pt x="1171" y="1351"/>
                </a:lnTo>
                <a:lnTo>
                  <a:pt x="1171" y="1351"/>
                </a:lnTo>
                <a:lnTo>
                  <a:pt x="1169" y="1357"/>
                </a:lnTo>
                <a:lnTo>
                  <a:pt x="1166" y="1362"/>
                </a:lnTo>
                <a:lnTo>
                  <a:pt x="1164" y="1366"/>
                </a:lnTo>
                <a:lnTo>
                  <a:pt x="1160" y="1372"/>
                </a:lnTo>
                <a:lnTo>
                  <a:pt x="1154" y="1376"/>
                </a:lnTo>
                <a:lnTo>
                  <a:pt x="1150" y="1378"/>
                </a:lnTo>
                <a:lnTo>
                  <a:pt x="1143" y="1381"/>
                </a:lnTo>
                <a:lnTo>
                  <a:pt x="1137" y="1381"/>
                </a:lnTo>
                <a:lnTo>
                  <a:pt x="1137" y="1381"/>
                </a:lnTo>
                <a:lnTo>
                  <a:pt x="1127" y="1381"/>
                </a:lnTo>
                <a:lnTo>
                  <a:pt x="1120" y="1381"/>
                </a:lnTo>
                <a:lnTo>
                  <a:pt x="1110" y="1379"/>
                </a:lnTo>
                <a:lnTo>
                  <a:pt x="1101" y="1378"/>
                </a:lnTo>
                <a:lnTo>
                  <a:pt x="1093" y="1376"/>
                </a:lnTo>
                <a:lnTo>
                  <a:pt x="1084" y="1374"/>
                </a:lnTo>
                <a:lnTo>
                  <a:pt x="1074" y="1370"/>
                </a:lnTo>
                <a:lnTo>
                  <a:pt x="1066" y="1368"/>
                </a:lnTo>
                <a:lnTo>
                  <a:pt x="1059" y="1364"/>
                </a:lnTo>
                <a:lnTo>
                  <a:pt x="1051" y="1358"/>
                </a:lnTo>
                <a:lnTo>
                  <a:pt x="1045" y="1355"/>
                </a:lnTo>
                <a:lnTo>
                  <a:pt x="1040" y="1349"/>
                </a:lnTo>
                <a:lnTo>
                  <a:pt x="1036" y="1343"/>
                </a:lnTo>
                <a:lnTo>
                  <a:pt x="1034" y="1337"/>
                </a:lnTo>
                <a:lnTo>
                  <a:pt x="1030" y="1330"/>
                </a:lnTo>
                <a:lnTo>
                  <a:pt x="1030" y="1322"/>
                </a:lnTo>
                <a:lnTo>
                  <a:pt x="1030" y="1322"/>
                </a:lnTo>
                <a:lnTo>
                  <a:pt x="1026" y="1322"/>
                </a:lnTo>
                <a:lnTo>
                  <a:pt x="1024" y="1324"/>
                </a:lnTo>
                <a:lnTo>
                  <a:pt x="1023" y="1324"/>
                </a:lnTo>
                <a:lnTo>
                  <a:pt x="1021" y="1322"/>
                </a:lnTo>
                <a:lnTo>
                  <a:pt x="1019" y="1322"/>
                </a:lnTo>
                <a:lnTo>
                  <a:pt x="1015" y="1322"/>
                </a:lnTo>
                <a:lnTo>
                  <a:pt x="1013" y="1322"/>
                </a:lnTo>
                <a:lnTo>
                  <a:pt x="1009" y="1322"/>
                </a:lnTo>
                <a:lnTo>
                  <a:pt x="1009" y="1322"/>
                </a:lnTo>
                <a:lnTo>
                  <a:pt x="1002" y="1322"/>
                </a:lnTo>
                <a:lnTo>
                  <a:pt x="996" y="1326"/>
                </a:lnTo>
                <a:lnTo>
                  <a:pt x="990" y="1328"/>
                </a:lnTo>
                <a:lnTo>
                  <a:pt x="984" y="1332"/>
                </a:lnTo>
                <a:lnTo>
                  <a:pt x="981" y="1334"/>
                </a:lnTo>
                <a:lnTo>
                  <a:pt x="975" y="1337"/>
                </a:lnTo>
                <a:lnTo>
                  <a:pt x="971" y="1339"/>
                </a:lnTo>
                <a:lnTo>
                  <a:pt x="965" y="1339"/>
                </a:lnTo>
                <a:lnTo>
                  <a:pt x="965" y="1339"/>
                </a:lnTo>
                <a:lnTo>
                  <a:pt x="960" y="1339"/>
                </a:lnTo>
                <a:lnTo>
                  <a:pt x="956" y="1336"/>
                </a:lnTo>
                <a:lnTo>
                  <a:pt x="954" y="1330"/>
                </a:lnTo>
                <a:lnTo>
                  <a:pt x="954" y="1324"/>
                </a:lnTo>
                <a:lnTo>
                  <a:pt x="954" y="1316"/>
                </a:lnTo>
                <a:lnTo>
                  <a:pt x="950" y="1313"/>
                </a:lnTo>
                <a:lnTo>
                  <a:pt x="942" y="1309"/>
                </a:lnTo>
                <a:lnTo>
                  <a:pt x="929" y="1307"/>
                </a:lnTo>
                <a:lnTo>
                  <a:pt x="929" y="1307"/>
                </a:lnTo>
                <a:lnTo>
                  <a:pt x="925" y="1309"/>
                </a:lnTo>
                <a:lnTo>
                  <a:pt x="920" y="1311"/>
                </a:lnTo>
                <a:lnTo>
                  <a:pt x="912" y="1311"/>
                </a:lnTo>
                <a:lnTo>
                  <a:pt x="906" y="1309"/>
                </a:lnTo>
                <a:lnTo>
                  <a:pt x="900" y="1309"/>
                </a:lnTo>
                <a:lnTo>
                  <a:pt x="893" y="1309"/>
                </a:lnTo>
                <a:lnTo>
                  <a:pt x="885" y="1307"/>
                </a:lnTo>
                <a:lnTo>
                  <a:pt x="879" y="1307"/>
                </a:lnTo>
                <a:lnTo>
                  <a:pt x="879" y="1307"/>
                </a:lnTo>
                <a:lnTo>
                  <a:pt x="876" y="1307"/>
                </a:lnTo>
                <a:lnTo>
                  <a:pt x="870" y="1307"/>
                </a:lnTo>
                <a:lnTo>
                  <a:pt x="866" y="1309"/>
                </a:lnTo>
                <a:lnTo>
                  <a:pt x="860" y="1309"/>
                </a:lnTo>
                <a:lnTo>
                  <a:pt x="855" y="1311"/>
                </a:lnTo>
                <a:lnTo>
                  <a:pt x="849" y="1313"/>
                </a:lnTo>
                <a:lnTo>
                  <a:pt x="843" y="1315"/>
                </a:lnTo>
                <a:lnTo>
                  <a:pt x="837" y="1316"/>
                </a:lnTo>
                <a:lnTo>
                  <a:pt x="832" y="1318"/>
                </a:lnTo>
                <a:lnTo>
                  <a:pt x="826" y="1318"/>
                </a:lnTo>
                <a:lnTo>
                  <a:pt x="820" y="1320"/>
                </a:lnTo>
                <a:lnTo>
                  <a:pt x="817" y="1322"/>
                </a:lnTo>
                <a:lnTo>
                  <a:pt x="811" y="1322"/>
                </a:lnTo>
                <a:lnTo>
                  <a:pt x="807" y="1324"/>
                </a:lnTo>
                <a:lnTo>
                  <a:pt x="803" y="1324"/>
                </a:lnTo>
                <a:lnTo>
                  <a:pt x="799" y="1324"/>
                </a:lnTo>
                <a:lnTo>
                  <a:pt x="799" y="1324"/>
                </a:lnTo>
                <a:lnTo>
                  <a:pt x="796" y="1324"/>
                </a:lnTo>
                <a:lnTo>
                  <a:pt x="792" y="1322"/>
                </a:lnTo>
                <a:lnTo>
                  <a:pt x="790" y="1320"/>
                </a:lnTo>
                <a:lnTo>
                  <a:pt x="788" y="1316"/>
                </a:lnTo>
                <a:lnTo>
                  <a:pt x="788" y="1316"/>
                </a:lnTo>
                <a:lnTo>
                  <a:pt x="788" y="1309"/>
                </a:lnTo>
                <a:lnTo>
                  <a:pt x="790" y="1303"/>
                </a:lnTo>
                <a:lnTo>
                  <a:pt x="792" y="1297"/>
                </a:lnTo>
                <a:lnTo>
                  <a:pt x="796" y="1292"/>
                </a:lnTo>
                <a:lnTo>
                  <a:pt x="797" y="1286"/>
                </a:lnTo>
                <a:lnTo>
                  <a:pt x="799" y="1280"/>
                </a:lnTo>
                <a:lnTo>
                  <a:pt x="801" y="1273"/>
                </a:lnTo>
                <a:lnTo>
                  <a:pt x="801" y="1265"/>
                </a:lnTo>
                <a:lnTo>
                  <a:pt x="801" y="1265"/>
                </a:lnTo>
                <a:lnTo>
                  <a:pt x="801" y="1259"/>
                </a:lnTo>
                <a:lnTo>
                  <a:pt x="799" y="1254"/>
                </a:lnTo>
                <a:lnTo>
                  <a:pt x="797" y="1250"/>
                </a:lnTo>
                <a:lnTo>
                  <a:pt x="796" y="1244"/>
                </a:lnTo>
                <a:lnTo>
                  <a:pt x="792" y="1240"/>
                </a:lnTo>
                <a:lnTo>
                  <a:pt x="790" y="1234"/>
                </a:lnTo>
                <a:lnTo>
                  <a:pt x="788" y="1229"/>
                </a:lnTo>
                <a:lnTo>
                  <a:pt x="788" y="1221"/>
                </a:lnTo>
                <a:lnTo>
                  <a:pt x="788" y="1221"/>
                </a:lnTo>
                <a:lnTo>
                  <a:pt x="782" y="1221"/>
                </a:lnTo>
                <a:lnTo>
                  <a:pt x="778" y="1217"/>
                </a:lnTo>
                <a:lnTo>
                  <a:pt x="773" y="1213"/>
                </a:lnTo>
                <a:lnTo>
                  <a:pt x="769" y="1210"/>
                </a:lnTo>
                <a:lnTo>
                  <a:pt x="767" y="1204"/>
                </a:lnTo>
                <a:lnTo>
                  <a:pt x="763" y="1198"/>
                </a:lnTo>
                <a:lnTo>
                  <a:pt x="761" y="1191"/>
                </a:lnTo>
                <a:lnTo>
                  <a:pt x="761" y="1187"/>
                </a:lnTo>
                <a:lnTo>
                  <a:pt x="761" y="1187"/>
                </a:lnTo>
                <a:lnTo>
                  <a:pt x="761" y="1175"/>
                </a:lnTo>
                <a:lnTo>
                  <a:pt x="761" y="1164"/>
                </a:lnTo>
                <a:lnTo>
                  <a:pt x="761" y="1152"/>
                </a:lnTo>
                <a:lnTo>
                  <a:pt x="761" y="1143"/>
                </a:lnTo>
                <a:lnTo>
                  <a:pt x="761" y="1131"/>
                </a:lnTo>
                <a:lnTo>
                  <a:pt x="761" y="1122"/>
                </a:lnTo>
                <a:lnTo>
                  <a:pt x="761" y="1110"/>
                </a:lnTo>
                <a:lnTo>
                  <a:pt x="761" y="1101"/>
                </a:lnTo>
                <a:lnTo>
                  <a:pt x="761" y="1089"/>
                </a:lnTo>
                <a:lnTo>
                  <a:pt x="761" y="1080"/>
                </a:lnTo>
                <a:lnTo>
                  <a:pt x="761" y="1068"/>
                </a:lnTo>
                <a:lnTo>
                  <a:pt x="761" y="1057"/>
                </a:lnTo>
                <a:lnTo>
                  <a:pt x="761" y="1046"/>
                </a:lnTo>
                <a:lnTo>
                  <a:pt x="761" y="1034"/>
                </a:lnTo>
                <a:lnTo>
                  <a:pt x="761" y="1023"/>
                </a:lnTo>
                <a:lnTo>
                  <a:pt x="761" y="1009"/>
                </a:lnTo>
                <a:lnTo>
                  <a:pt x="654" y="1009"/>
                </a:lnTo>
                <a:lnTo>
                  <a:pt x="654" y="992"/>
                </a:lnTo>
                <a:lnTo>
                  <a:pt x="654" y="992"/>
                </a:lnTo>
                <a:lnTo>
                  <a:pt x="647" y="990"/>
                </a:lnTo>
                <a:lnTo>
                  <a:pt x="639" y="990"/>
                </a:lnTo>
                <a:lnTo>
                  <a:pt x="633" y="990"/>
                </a:lnTo>
                <a:lnTo>
                  <a:pt x="628" y="988"/>
                </a:lnTo>
                <a:lnTo>
                  <a:pt x="622" y="986"/>
                </a:lnTo>
                <a:lnTo>
                  <a:pt x="614" y="986"/>
                </a:lnTo>
                <a:lnTo>
                  <a:pt x="607" y="986"/>
                </a:lnTo>
                <a:lnTo>
                  <a:pt x="599" y="986"/>
                </a:lnTo>
                <a:lnTo>
                  <a:pt x="599" y="986"/>
                </a:lnTo>
                <a:lnTo>
                  <a:pt x="588" y="986"/>
                </a:lnTo>
                <a:lnTo>
                  <a:pt x="580" y="990"/>
                </a:lnTo>
                <a:lnTo>
                  <a:pt x="578" y="996"/>
                </a:lnTo>
                <a:lnTo>
                  <a:pt x="576" y="1002"/>
                </a:lnTo>
                <a:lnTo>
                  <a:pt x="576" y="1009"/>
                </a:lnTo>
                <a:lnTo>
                  <a:pt x="578" y="1017"/>
                </a:lnTo>
                <a:lnTo>
                  <a:pt x="578" y="1025"/>
                </a:lnTo>
                <a:lnTo>
                  <a:pt x="576" y="1032"/>
                </a:lnTo>
                <a:lnTo>
                  <a:pt x="576" y="1032"/>
                </a:lnTo>
                <a:lnTo>
                  <a:pt x="572" y="1042"/>
                </a:lnTo>
                <a:lnTo>
                  <a:pt x="567" y="1049"/>
                </a:lnTo>
                <a:lnTo>
                  <a:pt x="563" y="1055"/>
                </a:lnTo>
                <a:lnTo>
                  <a:pt x="557" y="1059"/>
                </a:lnTo>
                <a:lnTo>
                  <a:pt x="549" y="1061"/>
                </a:lnTo>
                <a:lnTo>
                  <a:pt x="542" y="1063"/>
                </a:lnTo>
                <a:lnTo>
                  <a:pt x="530" y="1065"/>
                </a:lnTo>
                <a:lnTo>
                  <a:pt x="519" y="1065"/>
                </a:lnTo>
                <a:lnTo>
                  <a:pt x="519" y="1065"/>
                </a:lnTo>
                <a:lnTo>
                  <a:pt x="511" y="1065"/>
                </a:lnTo>
                <a:lnTo>
                  <a:pt x="502" y="1067"/>
                </a:lnTo>
                <a:lnTo>
                  <a:pt x="494" y="1068"/>
                </a:lnTo>
                <a:lnTo>
                  <a:pt x="487" y="1070"/>
                </a:lnTo>
                <a:lnTo>
                  <a:pt x="479" y="1070"/>
                </a:lnTo>
                <a:lnTo>
                  <a:pt x="471" y="1072"/>
                </a:lnTo>
                <a:lnTo>
                  <a:pt x="464" y="1074"/>
                </a:lnTo>
                <a:lnTo>
                  <a:pt x="454" y="1074"/>
                </a:lnTo>
                <a:lnTo>
                  <a:pt x="454" y="1074"/>
                </a:lnTo>
                <a:lnTo>
                  <a:pt x="445" y="1072"/>
                </a:lnTo>
                <a:lnTo>
                  <a:pt x="435" y="1070"/>
                </a:lnTo>
                <a:lnTo>
                  <a:pt x="425" y="1067"/>
                </a:lnTo>
                <a:lnTo>
                  <a:pt x="416" y="1061"/>
                </a:lnTo>
                <a:lnTo>
                  <a:pt x="408" y="1055"/>
                </a:lnTo>
                <a:lnTo>
                  <a:pt x="399" y="1047"/>
                </a:lnTo>
                <a:lnTo>
                  <a:pt x="393" y="1038"/>
                </a:lnTo>
                <a:lnTo>
                  <a:pt x="385" y="1030"/>
                </a:lnTo>
                <a:lnTo>
                  <a:pt x="378" y="1021"/>
                </a:lnTo>
                <a:lnTo>
                  <a:pt x="372" y="1011"/>
                </a:lnTo>
                <a:lnTo>
                  <a:pt x="366" y="1000"/>
                </a:lnTo>
                <a:lnTo>
                  <a:pt x="363" y="990"/>
                </a:lnTo>
                <a:lnTo>
                  <a:pt x="359" y="981"/>
                </a:lnTo>
                <a:lnTo>
                  <a:pt x="355" y="971"/>
                </a:lnTo>
                <a:lnTo>
                  <a:pt x="353" y="962"/>
                </a:lnTo>
                <a:lnTo>
                  <a:pt x="351" y="952"/>
                </a:lnTo>
                <a:lnTo>
                  <a:pt x="351" y="952"/>
                </a:lnTo>
                <a:lnTo>
                  <a:pt x="351" y="946"/>
                </a:lnTo>
                <a:lnTo>
                  <a:pt x="351" y="939"/>
                </a:lnTo>
                <a:lnTo>
                  <a:pt x="351" y="933"/>
                </a:lnTo>
                <a:lnTo>
                  <a:pt x="351" y="927"/>
                </a:lnTo>
                <a:lnTo>
                  <a:pt x="349" y="922"/>
                </a:lnTo>
                <a:lnTo>
                  <a:pt x="349" y="916"/>
                </a:lnTo>
                <a:lnTo>
                  <a:pt x="345" y="910"/>
                </a:lnTo>
                <a:lnTo>
                  <a:pt x="342" y="904"/>
                </a:lnTo>
                <a:lnTo>
                  <a:pt x="342" y="904"/>
                </a:lnTo>
                <a:lnTo>
                  <a:pt x="334" y="901"/>
                </a:lnTo>
                <a:lnTo>
                  <a:pt x="328" y="897"/>
                </a:lnTo>
                <a:lnTo>
                  <a:pt x="321" y="897"/>
                </a:lnTo>
                <a:lnTo>
                  <a:pt x="313" y="897"/>
                </a:lnTo>
                <a:lnTo>
                  <a:pt x="305" y="897"/>
                </a:lnTo>
                <a:lnTo>
                  <a:pt x="298" y="899"/>
                </a:lnTo>
                <a:lnTo>
                  <a:pt x="288" y="899"/>
                </a:lnTo>
                <a:lnTo>
                  <a:pt x="280" y="897"/>
                </a:lnTo>
                <a:lnTo>
                  <a:pt x="71" y="897"/>
                </a:lnTo>
                <a:lnTo>
                  <a:pt x="71" y="897"/>
                </a:lnTo>
                <a:lnTo>
                  <a:pt x="65" y="897"/>
                </a:lnTo>
                <a:lnTo>
                  <a:pt x="61" y="897"/>
                </a:lnTo>
                <a:lnTo>
                  <a:pt x="55" y="899"/>
                </a:lnTo>
                <a:lnTo>
                  <a:pt x="50" y="899"/>
                </a:lnTo>
                <a:lnTo>
                  <a:pt x="44" y="899"/>
                </a:lnTo>
                <a:lnTo>
                  <a:pt x="38" y="901"/>
                </a:lnTo>
                <a:lnTo>
                  <a:pt x="33" y="902"/>
                </a:lnTo>
                <a:lnTo>
                  <a:pt x="29" y="902"/>
                </a:lnTo>
                <a:lnTo>
                  <a:pt x="23" y="904"/>
                </a:lnTo>
                <a:lnTo>
                  <a:pt x="19" y="908"/>
                </a:lnTo>
                <a:lnTo>
                  <a:pt x="13" y="910"/>
                </a:lnTo>
                <a:lnTo>
                  <a:pt x="12" y="912"/>
                </a:lnTo>
                <a:lnTo>
                  <a:pt x="8" y="916"/>
                </a:lnTo>
                <a:lnTo>
                  <a:pt x="6" y="918"/>
                </a:lnTo>
                <a:lnTo>
                  <a:pt x="4" y="922"/>
                </a:lnTo>
                <a:lnTo>
                  <a:pt x="2" y="927"/>
                </a:lnTo>
                <a:lnTo>
                  <a:pt x="0" y="887"/>
                </a:lnTo>
                <a:lnTo>
                  <a:pt x="0" y="887"/>
                </a:lnTo>
                <a:lnTo>
                  <a:pt x="8" y="885"/>
                </a:lnTo>
                <a:lnTo>
                  <a:pt x="12" y="880"/>
                </a:lnTo>
                <a:lnTo>
                  <a:pt x="15" y="874"/>
                </a:lnTo>
                <a:lnTo>
                  <a:pt x="15" y="864"/>
                </a:lnTo>
                <a:lnTo>
                  <a:pt x="15" y="855"/>
                </a:lnTo>
                <a:lnTo>
                  <a:pt x="15" y="845"/>
                </a:lnTo>
                <a:lnTo>
                  <a:pt x="15" y="836"/>
                </a:lnTo>
                <a:lnTo>
                  <a:pt x="17" y="828"/>
                </a:lnTo>
                <a:lnTo>
                  <a:pt x="17" y="828"/>
                </a:lnTo>
                <a:lnTo>
                  <a:pt x="21" y="822"/>
                </a:lnTo>
                <a:lnTo>
                  <a:pt x="25" y="819"/>
                </a:lnTo>
                <a:lnTo>
                  <a:pt x="29" y="815"/>
                </a:lnTo>
                <a:lnTo>
                  <a:pt x="34" y="813"/>
                </a:lnTo>
                <a:lnTo>
                  <a:pt x="38" y="809"/>
                </a:lnTo>
                <a:lnTo>
                  <a:pt x="44" y="807"/>
                </a:lnTo>
                <a:lnTo>
                  <a:pt x="48" y="803"/>
                </a:lnTo>
                <a:lnTo>
                  <a:pt x="52" y="799"/>
                </a:lnTo>
                <a:lnTo>
                  <a:pt x="52" y="799"/>
                </a:lnTo>
                <a:lnTo>
                  <a:pt x="55" y="801"/>
                </a:lnTo>
                <a:lnTo>
                  <a:pt x="59" y="803"/>
                </a:lnTo>
                <a:lnTo>
                  <a:pt x="63" y="805"/>
                </a:lnTo>
                <a:lnTo>
                  <a:pt x="67" y="807"/>
                </a:lnTo>
                <a:lnTo>
                  <a:pt x="71" y="809"/>
                </a:lnTo>
                <a:lnTo>
                  <a:pt x="74" y="809"/>
                </a:lnTo>
                <a:lnTo>
                  <a:pt x="78" y="811"/>
                </a:lnTo>
                <a:lnTo>
                  <a:pt x="82" y="811"/>
                </a:lnTo>
                <a:lnTo>
                  <a:pt x="82" y="811"/>
                </a:lnTo>
                <a:lnTo>
                  <a:pt x="90" y="809"/>
                </a:lnTo>
                <a:lnTo>
                  <a:pt x="97" y="807"/>
                </a:lnTo>
                <a:lnTo>
                  <a:pt x="105" y="801"/>
                </a:lnTo>
                <a:lnTo>
                  <a:pt x="113" y="798"/>
                </a:lnTo>
                <a:lnTo>
                  <a:pt x="122" y="792"/>
                </a:lnTo>
                <a:lnTo>
                  <a:pt x="130" y="786"/>
                </a:lnTo>
                <a:lnTo>
                  <a:pt x="136" y="782"/>
                </a:lnTo>
                <a:lnTo>
                  <a:pt x="141" y="778"/>
                </a:lnTo>
                <a:lnTo>
                  <a:pt x="164" y="778"/>
                </a:lnTo>
                <a:lnTo>
                  <a:pt x="164" y="778"/>
                </a:lnTo>
                <a:lnTo>
                  <a:pt x="162" y="780"/>
                </a:lnTo>
                <a:lnTo>
                  <a:pt x="160" y="784"/>
                </a:lnTo>
                <a:lnTo>
                  <a:pt x="158" y="786"/>
                </a:lnTo>
                <a:lnTo>
                  <a:pt x="157" y="790"/>
                </a:lnTo>
                <a:lnTo>
                  <a:pt x="155" y="792"/>
                </a:lnTo>
                <a:lnTo>
                  <a:pt x="155" y="796"/>
                </a:lnTo>
                <a:lnTo>
                  <a:pt x="153" y="799"/>
                </a:lnTo>
                <a:lnTo>
                  <a:pt x="153" y="801"/>
                </a:lnTo>
                <a:lnTo>
                  <a:pt x="153" y="801"/>
                </a:lnTo>
                <a:lnTo>
                  <a:pt x="155" y="809"/>
                </a:lnTo>
                <a:lnTo>
                  <a:pt x="155" y="813"/>
                </a:lnTo>
                <a:lnTo>
                  <a:pt x="158" y="819"/>
                </a:lnTo>
                <a:lnTo>
                  <a:pt x="162" y="820"/>
                </a:lnTo>
                <a:lnTo>
                  <a:pt x="166" y="822"/>
                </a:lnTo>
                <a:lnTo>
                  <a:pt x="172" y="824"/>
                </a:lnTo>
                <a:lnTo>
                  <a:pt x="177" y="826"/>
                </a:lnTo>
                <a:lnTo>
                  <a:pt x="181" y="826"/>
                </a:lnTo>
                <a:lnTo>
                  <a:pt x="181" y="826"/>
                </a:lnTo>
                <a:lnTo>
                  <a:pt x="191" y="824"/>
                </a:lnTo>
                <a:lnTo>
                  <a:pt x="200" y="820"/>
                </a:lnTo>
                <a:lnTo>
                  <a:pt x="212" y="817"/>
                </a:lnTo>
                <a:lnTo>
                  <a:pt x="221" y="811"/>
                </a:lnTo>
                <a:lnTo>
                  <a:pt x="229" y="803"/>
                </a:lnTo>
                <a:lnTo>
                  <a:pt x="237" y="796"/>
                </a:lnTo>
                <a:lnTo>
                  <a:pt x="240" y="788"/>
                </a:lnTo>
                <a:lnTo>
                  <a:pt x="240" y="780"/>
                </a:lnTo>
                <a:lnTo>
                  <a:pt x="240" y="780"/>
                </a:lnTo>
                <a:lnTo>
                  <a:pt x="242" y="773"/>
                </a:lnTo>
                <a:lnTo>
                  <a:pt x="246" y="767"/>
                </a:lnTo>
                <a:lnTo>
                  <a:pt x="254" y="761"/>
                </a:lnTo>
                <a:lnTo>
                  <a:pt x="263" y="758"/>
                </a:lnTo>
                <a:lnTo>
                  <a:pt x="273" y="754"/>
                </a:lnTo>
                <a:lnTo>
                  <a:pt x="282" y="750"/>
                </a:lnTo>
                <a:lnTo>
                  <a:pt x="290" y="746"/>
                </a:lnTo>
                <a:lnTo>
                  <a:pt x="298" y="740"/>
                </a:lnTo>
                <a:lnTo>
                  <a:pt x="298" y="740"/>
                </a:lnTo>
                <a:lnTo>
                  <a:pt x="301" y="737"/>
                </a:lnTo>
                <a:lnTo>
                  <a:pt x="303" y="731"/>
                </a:lnTo>
                <a:lnTo>
                  <a:pt x="305" y="725"/>
                </a:lnTo>
                <a:lnTo>
                  <a:pt x="309" y="719"/>
                </a:lnTo>
                <a:lnTo>
                  <a:pt x="311" y="712"/>
                </a:lnTo>
                <a:lnTo>
                  <a:pt x="313" y="706"/>
                </a:lnTo>
                <a:lnTo>
                  <a:pt x="313" y="696"/>
                </a:lnTo>
                <a:lnTo>
                  <a:pt x="315" y="689"/>
                </a:lnTo>
                <a:lnTo>
                  <a:pt x="315" y="681"/>
                </a:lnTo>
                <a:lnTo>
                  <a:pt x="317" y="674"/>
                </a:lnTo>
                <a:lnTo>
                  <a:pt x="317" y="664"/>
                </a:lnTo>
                <a:lnTo>
                  <a:pt x="317" y="656"/>
                </a:lnTo>
                <a:lnTo>
                  <a:pt x="319" y="649"/>
                </a:lnTo>
                <a:lnTo>
                  <a:pt x="319" y="641"/>
                </a:lnTo>
                <a:lnTo>
                  <a:pt x="319" y="634"/>
                </a:lnTo>
                <a:lnTo>
                  <a:pt x="319" y="628"/>
                </a:lnTo>
                <a:lnTo>
                  <a:pt x="319" y="628"/>
                </a:lnTo>
                <a:lnTo>
                  <a:pt x="319" y="616"/>
                </a:lnTo>
                <a:lnTo>
                  <a:pt x="321" y="607"/>
                </a:lnTo>
                <a:lnTo>
                  <a:pt x="324" y="597"/>
                </a:lnTo>
                <a:lnTo>
                  <a:pt x="328" y="588"/>
                </a:lnTo>
                <a:lnTo>
                  <a:pt x="334" y="578"/>
                </a:lnTo>
                <a:lnTo>
                  <a:pt x="340" y="571"/>
                </a:lnTo>
                <a:lnTo>
                  <a:pt x="345" y="561"/>
                </a:lnTo>
                <a:lnTo>
                  <a:pt x="353" y="553"/>
                </a:lnTo>
                <a:lnTo>
                  <a:pt x="361" y="546"/>
                </a:lnTo>
                <a:lnTo>
                  <a:pt x="368" y="538"/>
                </a:lnTo>
                <a:lnTo>
                  <a:pt x="374" y="530"/>
                </a:lnTo>
                <a:lnTo>
                  <a:pt x="382" y="523"/>
                </a:lnTo>
                <a:lnTo>
                  <a:pt x="389" y="517"/>
                </a:lnTo>
                <a:lnTo>
                  <a:pt x="395" y="510"/>
                </a:lnTo>
                <a:lnTo>
                  <a:pt x="401" y="504"/>
                </a:lnTo>
                <a:lnTo>
                  <a:pt x="406" y="498"/>
                </a:lnTo>
                <a:lnTo>
                  <a:pt x="406" y="498"/>
                </a:lnTo>
                <a:lnTo>
                  <a:pt x="410" y="492"/>
                </a:lnTo>
                <a:lnTo>
                  <a:pt x="414" y="487"/>
                </a:lnTo>
                <a:lnTo>
                  <a:pt x="416" y="481"/>
                </a:lnTo>
                <a:lnTo>
                  <a:pt x="420" y="475"/>
                </a:lnTo>
                <a:lnTo>
                  <a:pt x="424" y="469"/>
                </a:lnTo>
                <a:lnTo>
                  <a:pt x="425" y="464"/>
                </a:lnTo>
                <a:lnTo>
                  <a:pt x="429" y="456"/>
                </a:lnTo>
                <a:lnTo>
                  <a:pt x="431" y="450"/>
                </a:lnTo>
                <a:lnTo>
                  <a:pt x="433" y="445"/>
                </a:lnTo>
                <a:lnTo>
                  <a:pt x="437" y="437"/>
                </a:lnTo>
                <a:lnTo>
                  <a:pt x="439" y="431"/>
                </a:lnTo>
                <a:lnTo>
                  <a:pt x="441" y="426"/>
                </a:lnTo>
                <a:lnTo>
                  <a:pt x="445" y="418"/>
                </a:lnTo>
                <a:lnTo>
                  <a:pt x="446" y="412"/>
                </a:lnTo>
                <a:lnTo>
                  <a:pt x="448" y="406"/>
                </a:lnTo>
                <a:lnTo>
                  <a:pt x="452" y="401"/>
                </a:lnTo>
                <a:lnTo>
                  <a:pt x="452" y="338"/>
                </a:lnTo>
                <a:lnTo>
                  <a:pt x="452" y="338"/>
                </a:lnTo>
                <a:lnTo>
                  <a:pt x="452" y="332"/>
                </a:lnTo>
                <a:lnTo>
                  <a:pt x="454" y="326"/>
                </a:lnTo>
                <a:lnTo>
                  <a:pt x="456" y="323"/>
                </a:lnTo>
                <a:lnTo>
                  <a:pt x="458" y="317"/>
                </a:lnTo>
                <a:lnTo>
                  <a:pt x="458" y="313"/>
                </a:lnTo>
                <a:lnTo>
                  <a:pt x="458" y="307"/>
                </a:lnTo>
                <a:lnTo>
                  <a:pt x="460" y="303"/>
                </a:lnTo>
                <a:lnTo>
                  <a:pt x="460" y="300"/>
                </a:lnTo>
                <a:lnTo>
                  <a:pt x="462" y="294"/>
                </a:lnTo>
                <a:lnTo>
                  <a:pt x="462" y="290"/>
                </a:lnTo>
                <a:lnTo>
                  <a:pt x="462" y="286"/>
                </a:lnTo>
                <a:lnTo>
                  <a:pt x="464" y="282"/>
                </a:lnTo>
                <a:lnTo>
                  <a:pt x="466" y="277"/>
                </a:lnTo>
                <a:lnTo>
                  <a:pt x="466" y="273"/>
                </a:lnTo>
                <a:lnTo>
                  <a:pt x="467" y="267"/>
                </a:lnTo>
                <a:lnTo>
                  <a:pt x="469" y="261"/>
                </a:lnTo>
                <a:lnTo>
                  <a:pt x="466" y="261"/>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3" name="Freeform 23"/>
          <p:cNvSpPr>
            <a:spLocks/>
          </p:cNvSpPr>
          <p:nvPr/>
        </p:nvSpPr>
        <p:spPr bwMode="auto">
          <a:xfrm>
            <a:off x="2832100" y="3176489"/>
            <a:ext cx="920750" cy="587375"/>
          </a:xfrm>
          <a:custGeom>
            <a:avLst/>
            <a:gdLst>
              <a:gd name="T0" fmla="*/ 1022 w 1024"/>
              <a:gd name="T1" fmla="*/ 431 h 671"/>
              <a:gd name="T2" fmla="*/ 994 w 1024"/>
              <a:gd name="T3" fmla="*/ 398 h 671"/>
              <a:gd name="T4" fmla="*/ 958 w 1024"/>
              <a:gd name="T5" fmla="*/ 375 h 671"/>
              <a:gd name="T6" fmla="*/ 942 w 1024"/>
              <a:gd name="T7" fmla="*/ 333 h 671"/>
              <a:gd name="T8" fmla="*/ 916 w 1024"/>
              <a:gd name="T9" fmla="*/ 307 h 671"/>
              <a:gd name="T10" fmla="*/ 870 w 1024"/>
              <a:gd name="T11" fmla="*/ 278 h 671"/>
              <a:gd name="T12" fmla="*/ 856 w 1024"/>
              <a:gd name="T13" fmla="*/ 253 h 671"/>
              <a:gd name="T14" fmla="*/ 855 w 1024"/>
              <a:gd name="T15" fmla="*/ 236 h 671"/>
              <a:gd name="T16" fmla="*/ 803 w 1024"/>
              <a:gd name="T17" fmla="*/ 215 h 671"/>
              <a:gd name="T18" fmla="*/ 776 w 1024"/>
              <a:gd name="T19" fmla="*/ 173 h 671"/>
              <a:gd name="T20" fmla="*/ 748 w 1024"/>
              <a:gd name="T21" fmla="*/ 173 h 671"/>
              <a:gd name="T22" fmla="*/ 719 w 1024"/>
              <a:gd name="T23" fmla="*/ 152 h 671"/>
              <a:gd name="T24" fmla="*/ 729 w 1024"/>
              <a:gd name="T25" fmla="*/ 116 h 671"/>
              <a:gd name="T26" fmla="*/ 729 w 1024"/>
              <a:gd name="T27" fmla="*/ 76 h 671"/>
              <a:gd name="T28" fmla="*/ 692 w 1024"/>
              <a:gd name="T29" fmla="*/ 34 h 671"/>
              <a:gd name="T30" fmla="*/ 666 w 1024"/>
              <a:gd name="T31" fmla="*/ 9 h 671"/>
              <a:gd name="T32" fmla="*/ 624 w 1024"/>
              <a:gd name="T33" fmla="*/ 3 h 671"/>
              <a:gd name="T34" fmla="*/ 586 w 1024"/>
              <a:gd name="T35" fmla="*/ 36 h 671"/>
              <a:gd name="T36" fmla="*/ 540 w 1024"/>
              <a:gd name="T37" fmla="*/ 85 h 671"/>
              <a:gd name="T38" fmla="*/ 469 w 1024"/>
              <a:gd name="T39" fmla="*/ 141 h 671"/>
              <a:gd name="T40" fmla="*/ 368 w 1024"/>
              <a:gd name="T41" fmla="*/ 162 h 671"/>
              <a:gd name="T42" fmla="*/ 378 w 1024"/>
              <a:gd name="T43" fmla="*/ 175 h 671"/>
              <a:gd name="T44" fmla="*/ 353 w 1024"/>
              <a:gd name="T45" fmla="*/ 219 h 671"/>
              <a:gd name="T46" fmla="*/ 305 w 1024"/>
              <a:gd name="T47" fmla="*/ 242 h 671"/>
              <a:gd name="T48" fmla="*/ 242 w 1024"/>
              <a:gd name="T49" fmla="*/ 250 h 671"/>
              <a:gd name="T50" fmla="*/ 204 w 1024"/>
              <a:gd name="T51" fmla="*/ 265 h 671"/>
              <a:gd name="T52" fmla="*/ 175 w 1024"/>
              <a:gd name="T53" fmla="*/ 269 h 671"/>
              <a:gd name="T54" fmla="*/ 154 w 1024"/>
              <a:gd name="T55" fmla="*/ 261 h 671"/>
              <a:gd name="T56" fmla="*/ 101 w 1024"/>
              <a:gd name="T57" fmla="*/ 278 h 671"/>
              <a:gd name="T58" fmla="*/ 69 w 1024"/>
              <a:gd name="T59" fmla="*/ 292 h 671"/>
              <a:gd name="T60" fmla="*/ 32 w 1024"/>
              <a:gd name="T61" fmla="*/ 347 h 671"/>
              <a:gd name="T62" fmla="*/ 0 w 1024"/>
              <a:gd name="T63" fmla="*/ 393 h 671"/>
              <a:gd name="T64" fmla="*/ 13 w 1024"/>
              <a:gd name="T65" fmla="*/ 408 h 671"/>
              <a:gd name="T66" fmla="*/ 13 w 1024"/>
              <a:gd name="T67" fmla="*/ 433 h 671"/>
              <a:gd name="T68" fmla="*/ 29 w 1024"/>
              <a:gd name="T69" fmla="*/ 505 h 671"/>
              <a:gd name="T70" fmla="*/ 74 w 1024"/>
              <a:gd name="T71" fmla="*/ 583 h 671"/>
              <a:gd name="T72" fmla="*/ 107 w 1024"/>
              <a:gd name="T73" fmla="*/ 618 h 671"/>
              <a:gd name="T74" fmla="*/ 137 w 1024"/>
              <a:gd name="T75" fmla="*/ 650 h 671"/>
              <a:gd name="T76" fmla="*/ 154 w 1024"/>
              <a:gd name="T77" fmla="*/ 635 h 671"/>
              <a:gd name="T78" fmla="*/ 191 w 1024"/>
              <a:gd name="T79" fmla="*/ 581 h 671"/>
              <a:gd name="T80" fmla="*/ 254 w 1024"/>
              <a:gd name="T81" fmla="*/ 574 h 671"/>
              <a:gd name="T82" fmla="*/ 339 w 1024"/>
              <a:gd name="T83" fmla="*/ 578 h 671"/>
              <a:gd name="T84" fmla="*/ 339 w 1024"/>
              <a:gd name="T85" fmla="*/ 557 h 671"/>
              <a:gd name="T86" fmla="*/ 362 w 1024"/>
              <a:gd name="T87" fmla="*/ 492 h 671"/>
              <a:gd name="T88" fmla="*/ 416 w 1024"/>
              <a:gd name="T89" fmla="*/ 457 h 671"/>
              <a:gd name="T90" fmla="*/ 473 w 1024"/>
              <a:gd name="T91" fmla="*/ 505 h 671"/>
              <a:gd name="T92" fmla="*/ 528 w 1024"/>
              <a:gd name="T93" fmla="*/ 528 h 671"/>
              <a:gd name="T94" fmla="*/ 605 w 1024"/>
              <a:gd name="T95" fmla="*/ 540 h 671"/>
              <a:gd name="T96" fmla="*/ 647 w 1024"/>
              <a:gd name="T97" fmla="*/ 528 h 671"/>
              <a:gd name="T98" fmla="*/ 675 w 1024"/>
              <a:gd name="T99" fmla="*/ 496 h 671"/>
              <a:gd name="T100" fmla="*/ 704 w 1024"/>
              <a:gd name="T101" fmla="*/ 496 h 671"/>
              <a:gd name="T102" fmla="*/ 732 w 1024"/>
              <a:gd name="T103" fmla="*/ 496 h 671"/>
              <a:gd name="T104" fmla="*/ 776 w 1024"/>
              <a:gd name="T105" fmla="*/ 477 h 671"/>
              <a:gd name="T106" fmla="*/ 807 w 1024"/>
              <a:gd name="T107" fmla="*/ 475 h 671"/>
              <a:gd name="T108" fmla="*/ 839 w 1024"/>
              <a:gd name="T109" fmla="*/ 475 h 671"/>
              <a:gd name="T110" fmla="*/ 868 w 1024"/>
              <a:gd name="T111" fmla="*/ 446 h 671"/>
              <a:gd name="T112" fmla="*/ 923 w 1024"/>
              <a:gd name="T113" fmla="*/ 454 h 671"/>
              <a:gd name="T114" fmla="*/ 977 w 1024"/>
              <a:gd name="T115" fmla="*/ 467 h 671"/>
              <a:gd name="T116" fmla="*/ 1017 w 1024"/>
              <a:gd name="T117" fmla="*/ 457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24" h="671">
                <a:moveTo>
                  <a:pt x="1024" y="457"/>
                </a:moveTo>
                <a:lnTo>
                  <a:pt x="1024" y="457"/>
                </a:lnTo>
                <a:lnTo>
                  <a:pt x="1020" y="454"/>
                </a:lnTo>
                <a:lnTo>
                  <a:pt x="1020" y="450"/>
                </a:lnTo>
                <a:lnTo>
                  <a:pt x="1020" y="444"/>
                </a:lnTo>
                <a:lnTo>
                  <a:pt x="1020" y="440"/>
                </a:lnTo>
                <a:lnTo>
                  <a:pt x="1020" y="435"/>
                </a:lnTo>
                <a:lnTo>
                  <a:pt x="1022" y="431"/>
                </a:lnTo>
                <a:lnTo>
                  <a:pt x="1022" y="425"/>
                </a:lnTo>
                <a:lnTo>
                  <a:pt x="1020" y="421"/>
                </a:lnTo>
                <a:lnTo>
                  <a:pt x="1020" y="421"/>
                </a:lnTo>
                <a:lnTo>
                  <a:pt x="1017" y="416"/>
                </a:lnTo>
                <a:lnTo>
                  <a:pt x="1013" y="410"/>
                </a:lnTo>
                <a:lnTo>
                  <a:pt x="1007" y="406"/>
                </a:lnTo>
                <a:lnTo>
                  <a:pt x="1001" y="402"/>
                </a:lnTo>
                <a:lnTo>
                  <a:pt x="994" y="398"/>
                </a:lnTo>
                <a:lnTo>
                  <a:pt x="988" y="395"/>
                </a:lnTo>
                <a:lnTo>
                  <a:pt x="980" y="393"/>
                </a:lnTo>
                <a:lnTo>
                  <a:pt x="975" y="391"/>
                </a:lnTo>
                <a:lnTo>
                  <a:pt x="975" y="391"/>
                </a:lnTo>
                <a:lnTo>
                  <a:pt x="969" y="387"/>
                </a:lnTo>
                <a:lnTo>
                  <a:pt x="965" y="385"/>
                </a:lnTo>
                <a:lnTo>
                  <a:pt x="961" y="381"/>
                </a:lnTo>
                <a:lnTo>
                  <a:pt x="958" y="375"/>
                </a:lnTo>
                <a:lnTo>
                  <a:pt x="956" y="372"/>
                </a:lnTo>
                <a:lnTo>
                  <a:pt x="954" y="366"/>
                </a:lnTo>
                <a:lnTo>
                  <a:pt x="952" y="360"/>
                </a:lnTo>
                <a:lnTo>
                  <a:pt x="950" y="354"/>
                </a:lnTo>
                <a:lnTo>
                  <a:pt x="948" y="349"/>
                </a:lnTo>
                <a:lnTo>
                  <a:pt x="946" y="343"/>
                </a:lnTo>
                <a:lnTo>
                  <a:pt x="944" y="339"/>
                </a:lnTo>
                <a:lnTo>
                  <a:pt x="942" y="333"/>
                </a:lnTo>
                <a:lnTo>
                  <a:pt x="940" y="328"/>
                </a:lnTo>
                <a:lnTo>
                  <a:pt x="937" y="324"/>
                </a:lnTo>
                <a:lnTo>
                  <a:pt x="933" y="320"/>
                </a:lnTo>
                <a:lnTo>
                  <a:pt x="929" y="316"/>
                </a:lnTo>
                <a:lnTo>
                  <a:pt x="929" y="316"/>
                </a:lnTo>
                <a:lnTo>
                  <a:pt x="925" y="313"/>
                </a:lnTo>
                <a:lnTo>
                  <a:pt x="921" y="311"/>
                </a:lnTo>
                <a:lnTo>
                  <a:pt x="916" y="307"/>
                </a:lnTo>
                <a:lnTo>
                  <a:pt x="910" y="303"/>
                </a:lnTo>
                <a:lnTo>
                  <a:pt x="904" y="299"/>
                </a:lnTo>
                <a:lnTo>
                  <a:pt x="898" y="297"/>
                </a:lnTo>
                <a:lnTo>
                  <a:pt x="891" y="293"/>
                </a:lnTo>
                <a:lnTo>
                  <a:pt x="885" y="290"/>
                </a:lnTo>
                <a:lnTo>
                  <a:pt x="879" y="286"/>
                </a:lnTo>
                <a:lnTo>
                  <a:pt x="874" y="282"/>
                </a:lnTo>
                <a:lnTo>
                  <a:pt x="870" y="278"/>
                </a:lnTo>
                <a:lnTo>
                  <a:pt x="864" y="274"/>
                </a:lnTo>
                <a:lnTo>
                  <a:pt x="860" y="271"/>
                </a:lnTo>
                <a:lnTo>
                  <a:pt x="858" y="267"/>
                </a:lnTo>
                <a:lnTo>
                  <a:pt x="856" y="263"/>
                </a:lnTo>
                <a:lnTo>
                  <a:pt x="856" y="259"/>
                </a:lnTo>
                <a:lnTo>
                  <a:pt x="856" y="259"/>
                </a:lnTo>
                <a:lnTo>
                  <a:pt x="856" y="255"/>
                </a:lnTo>
                <a:lnTo>
                  <a:pt x="856" y="253"/>
                </a:lnTo>
                <a:lnTo>
                  <a:pt x="856" y="251"/>
                </a:lnTo>
                <a:lnTo>
                  <a:pt x="856" y="250"/>
                </a:lnTo>
                <a:lnTo>
                  <a:pt x="856" y="248"/>
                </a:lnTo>
                <a:lnTo>
                  <a:pt x="856" y="248"/>
                </a:lnTo>
                <a:lnTo>
                  <a:pt x="856" y="246"/>
                </a:lnTo>
                <a:lnTo>
                  <a:pt x="856" y="242"/>
                </a:lnTo>
                <a:lnTo>
                  <a:pt x="856" y="242"/>
                </a:lnTo>
                <a:lnTo>
                  <a:pt x="855" y="236"/>
                </a:lnTo>
                <a:lnTo>
                  <a:pt x="853" y="232"/>
                </a:lnTo>
                <a:lnTo>
                  <a:pt x="847" y="229"/>
                </a:lnTo>
                <a:lnTo>
                  <a:pt x="841" y="225"/>
                </a:lnTo>
                <a:lnTo>
                  <a:pt x="835" y="223"/>
                </a:lnTo>
                <a:lnTo>
                  <a:pt x="828" y="221"/>
                </a:lnTo>
                <a:lnTo>
                  <a:pt x="818" y="219"/>
                </a:lnTo>
                <a:lnTo>
                  <a:pt x="811" y="217"/>
                </a:lnTo>
                <a:lnTo>
                  <a:pt x="803" y="215"/>
                </a:lnTo>
                <a:lnTo>
                  <a:pt x="795" y="211"/>
                </a:lnTo>
                <a:lnTo>
                  <a:pt x="788" y="209"/>
                </a:lnTo>
                <a:lnTo>
                  <a:pt x="782" y="208"/>
                </a:lnTo>
                <a:lnTo>
                  <a:pt x="778" y="204"/>
                </a:lnTo>
                <a:lnTo>
                  <a:pt x="774" y="200"/>
                </a:lnTo>
                <a:lnTo>
                  <a:pt x="774" y="194"/>
                </a:lnTo>
                <a:lnTo>
                  <a:pt x="776" y="188"/>
                </a:lnTo>
                <a:lnTo>
                  <a:pt x="776" y="173"/>
                </a:lnTo>
                <a:lnTo>
                  <a:pt x="776" y="173"/>
                </a:lnTo>
                <a:lnTo>
                  <a:pt x="771" y="173"/>
                </a:lnTo>
                <a:lnTo>
                  <a:pt x="765" y="173"/>
                </a:lnTo>
                <a:lnTo>
                  <a:pt x="761" y="173"/>
                </a:lnTo>
                <a:lnTo>
                  <a:pt x="757" y="173"/>
                </a:lnTo>
                <a:lnTo>
                  <a:pt x="753" y="173"/>
                </a:lnTo>
                <a:lnTo>
                  <a:pt x="750" y="173"/>
                </a:lnTo>
                <a:lnTo>
                  <a:pt x="748" y="173"/>
                </a:lnTo>
                <a:lnTo>
                  <a:pt x="744" y="173"/>
                </a:lnTo>
                <a:lnTo>
                  <a:pt x="744" y="173"/>
                </a:lnTo>
                <a:lnTo>
                  <a:pt x="738" y="173"/>
                </a:lnTo>
                <a:lnTo>
                  <a:pt x="734" y="171"/>
                </a:lnTo>
                <a:lnTo>
                  <a:pt x="729" y="168"/>
                </a:lnTo>
                <a:lnTo>
                  <a:pt x="725" y="164"/>
                </a:lnTo>
                <a:lnTo>
                  <a:pt x="723" y="158"/>
                </a:lnTo>
                <a:lnTo>
                  <a:pt x="719" y="152"/>
                </a:lnTo>
                <a:lnTo>
                  <a:pt x="717" y="147"/>
                </a:lnTo>
                <a:lnTo>
                  <a:pt x="717" y="139"/>
                </a:lnTo>
                <a:lnTo>
                  <a:pt x="717" y="139"/>
                </a:lnTo>
                <a:lnTo>
                  <a:pt x="717" y="133"/>
                </a:lnTo>
                <a:lnTo>
                  <a:pt x="719" y="127"/>
                </a:lnTo>
                <a:lnTo>
                  <a:pt x="723" y="124"/>
                </a:lnTo>
                <a:lnTo>
                  <a:pt x="725" y="120"/>
                </a:lnTo>
                <a:lnTo>
                  <a:pt x="729" y="116"/>
                </a:lnTo>
                <a:lnTo>
                  <a:pt x="732" y="110"/>
                </a:lnTo>
                <a:lnTo>
                  <a:pt x="734" y="106"/>
                </a:lnTo>
                <a:lnTo>
                  <a:pt x="734" y="101"/>
                </a:lnTo>
                <a:lnTo>
                  <a:pt x="734" y="101"/>
                </a:lnTo>
                <a:lnTo>
                  <a:pt x="734" y="95"/>
                </a:lnTo>
                <a:lnTo>
                  <a:pt x="732" y="87"/>
                </a:lnTo>
                <a:lnTo>
                  <a:pt x="731" y="82"/>
                </a:lnTo>
                <a:lnTo>
                  <a:pt x="729" y="76"/>
                </a:lnTo>
                <a:lnTo>
                  <a:pt x="725" y="70"/>
                </a:lnTo>
                <a:lnTo>
                  <a:pt x="721" y="64"/>
                </a:lnTo>
                <a:lnTo>
                  <a:pt x="717" y="59"/>
                </a:lnTo>
                <a:lnTo>
                  <a:pt x="711" y="53"/>
                </a:lnTo>
                <a:lnTo>
                  <a:pt x="708" y="49"/>
                </a:lnTo>
                <a:lnTo>
                  <a:pt x="702" y="44"/>
                </a:lnTo>
                <a:lnTo>
                  <a:pt x="698" y="38"/>
                </a:lnTo>
                <a:lnTo>
                  <a:pt x="692" y="34"/>
                </a:lnTo>
                <a:lnTo>
                  <a:pt x="689" y="28"/>
                </a:lnTo>
                <a:lnTo>
                  <a:pt x="685" y="23"/>
                </a:lnTo>
                <a:lnTo>
                  <a:pt x="681" y="19"/>
                </a:lnTo>
                <a:lnTo>
                  <a:pt x="677" y="13"/>
                </a:lnTo>
                <a:lnTo>
                  <a:pt x="677" y="13"/>
                </a:lnTo>
                <a:lnTo>
                  <a:pt x="673" y="13"/>
                </a:lnTo>
                <a:lnTo>
                  <a:pt x="669" y="11"/>
                </a:lnTo>
                <a:lnTo>
                  <a:pt x="666" y="9"/>
                </a:lnTo>
                <a:lnTo>
                  <a:pt x="660" y="5"/>
                </a:lnTo>
                <a:lnTo>
                  <a:pt x="654" y="3"/>
                </a:lnTo>
                <a:lnTo>
                  <a:pt x="649" y="2"/>
                </a:lnTo>
                <a:lnTo>
                  <a:pt x="643" y="0"/>
                </a:lnTo>
                <a:lnTo>
                  <a:pt x="637" y="0"/>
                </a:lnTo>
                <a:lnTo>
                  <a:pt x="637" y="0"/>
                </a:lnTo>
                <a:lnTo>
                  <a:pt x="629" y="2"/>
                </a:lnTo>
                <a:lnTo>
                  <a:pt x="624" y="3"/>
                </a:lnTo>
                <a:lnTo>
                  <a:pt x="616" y="7"/>
                </a:lnTo>
                <a:lnTo>
                  <a:pt x="610" y="11"/>
                </a:lnTo>
                <a:lnTo>
                  <a:pt x="605" y="15"/>
                </a:lnTo>
                <a:lnTo>
                  <a:pt x="599" y="19"/>
                </a:lnTo>
                <a:lnTo>
                  <a:pt x="591" y="23"/>
                </a:lnTo>
                <a:lnTo>
                  <a:pt x="584" y="24"/>
                </a:lnTo>
                <a:lnTo>
                  <a:pt x="584" y="24"/>
                </a:lnTo>
                <a:lnTo>
                  <a:pt x="586" y="36"/>
                </a:lnTo>
                <a:lnTo>
                  <a:pt x="582" y="45"/>
                </a:lnTo>
                <a:lnTo>
                  <a:pt x="578" y="55"/>
                </a:lnTo>
                <a:lnTo>
                  <a:pt x="570" y="61"/>
                </a:lnTo>
                <a:lnTo>
                  <a:pt x="563" y="68"/>
                </a:lnTo>
                <a:lnTo>
                  <a:pt x="555" y="74"/>
                </a:lnTo>
                <a:lnTo>
                  <a:pt x="547" y="80"/>
                </a:lnTo>
                <a:lnTo>
                  <a:pt x="540" y="85"/>
                </a:lnTo>
                <a:lnTo>
                  <a:pt x="540" y="85"/>
                </a:lnTo>
                <a:lnTo>
                  <a:pt x="530" y="93"/>
                </a:lnTo>
                <a:lnTo>
                  <a:pt x="523" y="103"/>
                </a:lnTo>
                <a:lnTo>
                  <a:pt x="513" y="110"/>
                </a:lnTo>
                <a:lnTo>
                  <a:pt x="505" y="118"/>
                </a:lnTo>
                <a:lnTo>
                  <a:pt x="496" y="126"/>
                </a:lnTo>
                <a:lnTo>
                  <a:pt x="488" y="131"/>
                </a:lnTo>
                <a:lnTo>
                  <a:pt x="479" y="137"/>
                </a:lnTo>
                <a:lnTo>
                  <a:pt x="469" y="141"/>
                </a:lnTo>
                <a:lnTo>
                  <a:pt x="460" y="147"/>
                </a:lnTo>
                <a:lnTo>
                  <a:pt x="450" y="150"/>
                </a:lnTo>
                <a:lnTo>
                  <a:pt x="439" y="154"/>
                </a:lnTo>
                <a:lnTo>
                  <a:pt x="427" y="156"/>
                </a:lnTo>
                <a:lnTo>
                  <a:pt x="414" y="160"/>
                </a:lnTo>
                <a:lnTo>
                  <a:pt x="399" y="160"/>
                </a:lnTo>
                <a:lnTo>
                  <a:pt x="385" y="162"/>
                </a:lnTo>
                <a:lnTo>
                  <a:pt x="368" y="162"/>
                </a:lnTo>
                <a:lnTo>
                  <a:pt x="368" y="162"/>
                </a:lnTo>
                <a:lnTo>
                  <a:pt x="370" y="164"/>
                </a:lnTo>
                <a:lnTo>
                  <a:pt x="370" y="166"/>
                </a:lnTo>
                <a:lnTo>
                  <a:pt x="372" y="168"/>
                </a:lnTo>
                <a:lnTo>
                  <a:pt x="374" y="169"/>
                </a:lnTo>
                <a:lnTo>
                  <a:pt x="374" y="171"/>
                </a:lnTo>
                <a:lnTo>
                  <a:pt x="376" y="173"/>
                </a:lnTo>
                <a:lnTo>
                  <a:pt x="378" y="175"/>
                </a:lnTo>
                <a:lnTo>
                  <a:pt x="380" y="177"/>
                </a:lnTo>
                <a:lnTo>
                  <a:pt x="380" y="177"/>
                </a:lnTo>
                <a:lnTo>
                  <a:pt x="374" y="185"/>
                </a:lnTo>
                <a:lnTo>
                  <a:pt x="370" y="190"/>
                </a:lnTo>
                <a:lnTo>
                  <a:pt x="366" y="198"/>
                </a:lnTo>
                <a:lnTo>
                  <a:pt x="362" y="206"/>
                </a:lnTo>
                <a:lnTo>
                  <a:pt x="359" y="211"/>
                </a:lnTo>
                <a:lnTo>
                  <a:pt x="353" y="219"/>
                </a:lnTo>
                <a:lnTo>
                  <a:pt x="347" y="225"/>
                </a:lnTo>
                <a:lnTo>
                  <a:pt x="339" y="230"/>
                </a:lnTo>
                <a:lnTo>
                  <a:pt x="339" y="230"/>
                </a:lnTo>
                <a:lnTo>
                  <a:pt x="332" y="234"/>
                </a:lnTo>
                <a:lnTo>
                  <a:pt x="326" y="236"/>
                </a:lnTo>
                <a:lnTo>
                  <a:pt x="319" y="238"/>
                </a:lnTo>
                <a:lnTo>
                  <a:pt x="311" y="240"/>
                </a:lnTo>
                <a:lnTo>
                  <a:pt x="305" y="242"/>
                </a:lnTo>
                <a:lnTo>
                  <a:pt x="298" y="244"/>
                </a:lnTo>
                <a:lnTo>
                  <a:pt x="290" y="244"/>
                </a:lnTo>
                <a:lnTo>
                  <a:pt x="280" y="244"/>
                </a:lnTo>
                <a:lnTo>
                  <a:pt x="273" y="246"/>
                </a:lnTo>
                <a:lnTo>
                  <a:pt x="265" y="246"/>
                </a:lnTo>
                <a:lnTo>
                  <a:pt x="257" y="246"/>
                </a:lnTo>
                <a:lnTo>
                  <a:pt x="250" y="248"/>
                </a:lnTo>
                <a:lnTo>
                  <a:pt x="242" y="250"/>
                </a:lnTo>
                <a:lnTo>
                  <a:pt x="235" y="250"/>
                </a:lnTo>
                <a:lnTo>
                  <a:pt x="225" y="251"/>
                </a:lnTo>
                <a:lnTo>
                  <a:pt x="219" y="253"/>
                </a:lnTo>
                <a:lnTo>
                  <a:pt x="219" y="253"/>
                </a:lnTo>
                <a:lnTo>
                  <a:pt x="214" y="255"/>
                </a:lnTo>
                <a:lnTo>
                  <a:pt x="210" y="259"/>
                </a:lnTo>
                <a:lnTo>
                  <a:pt x="206" y="263"/>
                </a:lnTo>
                <a:lnTo>
                  <a:pt x="204" y="265"/>
                </a:lnTo>
                <a:lnTo>
                  <a:pt x="200" y="269"/>
                </a:lnTo>
                <a:lnTo>
                  <a:pt x="196" y="271"/>
                </a:lnTo>
                <a:lnTo>
                  <a:pt x="191" y="271"/>
                </a:lnTo>
                <a:lnTo>
                  <a:pt x="185" y="272"/>
                </a:lnTo>
                <a:lnTo>
                  <a:pt x="185" y="272"/>
                </a:lnTo>
                <a:lnTo>
                  <a:pt x="181" y="271"/>
                </a:lnTo>
                <a:lnTo>
                  <a:pt x="179" y="271"/>
                </a:lnTo>
                <a:lnTo>
                  <a:pt x="175" y="269"/>
                </a:lnTo>
                <a:lnTo>
                  <a:pt x="174" y="265"/>
                </a:lnTo>
                <a:lnTo>
                  <a:pt x="172" y="263"/>
                </a:lnTo>
                <a:lnTo>
                  <a:pt x="170" y="259"/>
                </a:lnTo>
                <a:lnTo>
                  <a:pt x="166" y="257"/>
                </a:lnTo>
                <a:lnTo>
                  <a:pt x="164" y="253"/>
                </a:lnTo>
                <a:lnTo>
                  <a:pt x="164" y="253"/>
                </a:lnTo>
                <a:lnTo>
                  <a:pt x="160" y="257"/>
                </a:lnTo>
                <a:lnTo>
                  <a:pt x="154" y="261"/>
                </a:lnTo>
                <a:lnTo>
                  <a:pt x="149" y="265"/>
                </a:lnTo>
                <a:lnTo>
                  <a:pt x="141" y="267"/>
                </a:lnTo>
                <a:lnTo>
                  <a:pt x="135" y="269"/>
                </a:lnTo>
                <a:lnTo>
                  <a:pt x="128" y="271"/>
                </a:lnTo>
                <a:lnTo>
                  <a:pt x="120" y="272"/>
                </a:lnTo>
                <a:lnTo>
                  <a:pt x="114" y="274"/>
                </a:lnTo>
                <a:lnTo>
                  <a:pt x="107" y="276"/>
                </a:lnTo>
                <a:lnTo>
                  <a:pt x="101" y="278"/>
                </a:lnTo>
                <a:lnTo>
                  <a:pt x="93" y="278"/>
                </a:lnTo>
                <a:lnTo>
                  <a:pt x="88" y="280"/>
                </a:lnTo>
                <a:lnTo>
                  <a:pt x="84" y="282"/>
                </a:lnTo>
                <a:lnTo>
                  <a:pt x="80" y="282"/>
                </a:lnTo>
                <a:lnTo>
                  <a:pt x="76" y="284"/>
                </a:lnTo>
                <a:lnTo>
                  <a:pt x="72" y="286"/>
                </a:lnTo>
                <a:lnTo>
                  <a:pt x="72" y="286"/>
                </a:lnTo>
                <a:lnTo>
                  <a:pt x="69" y="292"/>
                </a:lnTo>
                <a:lnTo>
                  <a:pt x="63" y="299"/>
                </a:lnTo>
                <a:lnTo>
                  <a:pt x="57" y="305"/>
                </a:lnTo>
                <a:lnTo>
                  <a:pt x="53" y="313"/>
                </a:lnTo>
                <a:lnTo>
                  <a:pt x="50" y="318"/>
                </a:lnTo>
                <a:lnTo>
                  <a:pt x="46" y="326"/>
                </a:lnTo>
                <a:lnTo>
                  <a:pt x="42" y="333"/>
                </a:lnTo>
                <a:lnTo>
                  <a:pt x="38" y="339"/>
                </a:lnTo>
                <a:lnTo>
                  <a:pt x="32" y="347"/>
                </a:lnTo>
                <a:lnTo>
                  <a:pt x="29" y="353"/>
                </a:lnTo>
                <a:lnTo>
                  <a:pt x="25" y="360"/>
                </a:lnTo>
                <a:lnTo>
                  <a:pt x="21" y="368"/>
                </a:lnTo>
                <a:lnTo>
                  <a:pt x="17" y="374"/>
                </a:lnTo>
                <a:lnTo>
                  <a:pt x="11" y="379"/>
                </a:lnTo>
                <a:lnTo>
                  <a:pt x="6" y="387"/>
                </a:lnTo>
                <a:lnTo>
                  <a:pt x="0" y="393"/>
                </a:lnTo>
                <a:lnTo>
                  <a:pt x="0" y="393"/>
                </a:lnTo>
                <a:lnTo>
                  <a:pt x="2" y="395"/>
                </a:lnTo>
                <a:lnTo>
                  <a:pt x="4" y="396"/>
                </a:lnTo>
                <a:lnTo>
                  <a:pt x="8" y="398"/>
                </a:lnTo>
                <a:lnTo>
                  <a:pt x="9" y="400"/>
                </a:lnTo>
                <a:lnTo>
                  <a:pt x="11" y="402"/>
                </a:lnTo>
                <a:lnTo>
                  <a:pt x="13" y="404"/>
                </a:lnTo>
                <a:lnTo>
                  <a:pt x="13" y="406"/>
                </a:lnTo>
                <a:lnTo>
                  <a:pt x="13" y="408"/>
                </a:lnTo>
                <a:lnTo>
                  <a:pt x="13" y="408"/>
                </a:lnTo>
                <a:lnTo>
                  <a:pt x="15" y="412"/>
                </a:lnTo>
                <a:lnTo>
                  <a:pt x="15" y="414"/>
                </a:lnTo>
                <a:lnTo>
                  <a:pt x="15" y="417"/>
                </a:lnTo>
                <a:lnTo>
                  <a:pt x="15" y="419"/>
                </a:lnTo>
                <a:lnTo>
                  <a:pt x="15" y="423"/>
                </a:lnTo>
                <a:lnTo>
                  <a:pt x="15" y="427"/>
                </a:lnTo>
                <a:lnTo>
                  <a:pt x="13" y="433"/>
                </a:lnTo>
                <a:lnTo>
                  <a:pt x="13" y="437"/>
                </a:lnTo>
                <a:lnTo>
                  <a:pt x="13" y="437"/>
                </a:lnTo>
                <a:lnTo>
                  <a:pt x="15" y="448"/>
                </a:lnTo>
                <a:lnTo>
                  <a:pt x="17" y="459"/>
                </a:lnTo>
                <a:lnTo>
                  <a:pt x="19" y="471"/>
                </a:lnTo>
                <a:lnTo>
                  <a:pt x="21" y="482"/>
                </a:lnTo>
                <a:lnTo>
                  <a:pt x="25" y="494"/>
                </a:lnTo>
                <a:lnTo>
                  <a:pt x="29" y="505"/>
                </a:lnTo>
                <a:lnTo>
                  <a:pt x="34" y="517"/>
                </a:lnTo>
                <a:lnTo>
                  <a:pt x="40" y="526"/>
                </a:lnTo>
                <a:lnTo>
                  <a:pt x="46" y="538"/>
                </a:lnTo>
                <a:lnTo>
                  <a:pt x="51" y="547"/>
                </a:lnTo>
                <a:lnTo>
                  <a:pt x="57" y="557"/>
                </a:lnTo>
                <a:lnTo>
                  <a:pt x="63" y="566"/>
                </a:lnTo>
                <a:lnTo>
                  <a:pt x="69" y="576"/>
                </a:lnTo>
                <a:lnTo>
                  <a:pt x="74" y="583"/>
                </a:lnTo>
                <a:lnTo>
                  <a:pt x="80" y="591"/>
                </a:lnTo>
                <a:lnTo>
                  <a:pt x="86" y="599"/>
                </a:lnTo>
                <a:lnTo>
                  <a:pt x="86" y="599"/>
                </a:lnTo>
                <a:lnTo>
                  <a:pt x="90" y="602"/>
                </a:lnTo>
                <a:lnTo>
                  <a:pt x="93" y="606"/>
                </a:lnTo>
                <a:lnTo>
                  <a:pt x="97" y="610"/>
                </a:lnTo>
                <a:lnTo>
                  <a:pt x="101" y="614"/>
                </a:lnTo>
                <a:lnTo>
                  <a:pt x="107" y="618"/>
                </a:lnTo>
                <a:lnTo>
                  <a:pt x="111" y="620"/>
                </a:lnTo>
                <a:lnTo>
                  <a:pt x="116" y="623"/>
                </a:lnTo>
                <a:lnTo>
                  <a:pt x="120" y="627"/>
                </a:lnTo>
                <a:lnTo>
                  <a:pt x="124" y="631"/>
                </a:lnTo>
                <a:lnTo>
                  <a:pt x="130" y="635"/>
                </a:lnTo>
                <a:lnTo>
                  <a:pt x="132" y="639"/>
                </a:lnTo>
                <a:lnTo>
                  <a:pt x="135" y="644"/>
                </a:lnTo>
                <a:lnTo>
                  <a:pt x="137" y="650"/>
                </a:lnTo>
                <a:lnTo>
                  <a:pt x="141" y="656"/>
                </a:lnTo>
                <a:lnTo>
                  <a:pt x="141" y="664"/>
                </a:lnTo>
                <a:lnTo>
                  <a:pt x="141" y="671"/>
                </a:lnTo>
                <a:lnTo>
                  <a:pt x="141" y="671"/>
                </a:lnTo>
                <a:lnTo>
                  <a:pt x="145" y="662"/>
                </a:lnTo>
                <a:lnTo>
                  <a:pt x="149" y="654"/>
                </a:lnTo>
                <a:lnTo>
                  <a:pt x="151" y="644"/>
                </a:lnTo>
                <a:lnTo>
                  <a:pt x="154" y="635"/>
                </a:lnTo>
                <a:lnTo>
                  <a:pt x="156" y="627"/>
                </a:lnTo>
                <a:lnTo>
                  <a:pt x="160" y="620"/>
                </a:lnTo>
                <a:lnTo>
                  <a:pt x="164" y="612"/>
                </a:lnTo>
                <a:lnTo>
                  <a:pt x="168" y="604"/>
                </a:lnTo>
                <a:lnTo>
                  <a:pt x="172" y="597"/>
                </a:lnTo>
                <a:lnTo>
                  <a:pt x="177" y="591"/>
                </a:lnTo>
                <a:lnTo>
                  <a:pt x="183" y="585"/>
                </a:lnTo>
                <a:lnTo>
                  <a:pt x="191" y="581"/>
                </a:lnTo>
                <a:lnTo>
                  <a:pt x="198" y="578"/>
                </a:lnTo>
                <a:lnTo>
                  <a:pt x="210" y="576"/>
                </a:lnTo>
                <a:lnTo>
                  <a:pt x="219" y="574"/>
                </a:lnTo>
                <a:lnTo>
                  <a:pt x="233" y="574"/>
                </a:lnTo>
                <a:lnTo>
                  <a:pt x="233" y="574"/>
                </a:lnTo>
                <a:lnTo>
                  <a:pt x="240" y="574"/>
                </a:lnTo>
                <a:lnTo>
                  <a:pt x="246" y="574"/>
                </a:lnTo>
                <a:lnTo>
                  <a:pt x="254" y="574"/>
                </a:lnTo>
                <a:lnTo>
                  <a:pt x="259" y="574"/>
                </a:lnTo>
                <a:lnTo>
                  <a:pt x="265" y="576"/>
                </a:lnTo>
                <a:lnTo>
                  <a:pt x="271" y="578"/>
                </a:lnTo>
                <a:lnTo>
                  <a:pt x="277" y="580"/>
                </a:lnTo>
                <a:lnTo>
                  <a:pt x="284" y="581"/>
                </a:lnTo>
                <a:lnTo>
                  <a:pt x="339" y="581"/>
                </a:lnTo>
                <a:lnTo>
                  <a:pt x="339" y="581"/>
                </a:lnTo>
                <a:lnTo>
                  <a:pt x="339" y="578"/>
                </a:lnTo>
                <a:lnTo>
                  <a:pt x="339" y="576"/>
                </a:lnTo>
                <a:lnTo>
                  <a:pt x="339" y="572"/>
                </a:lnTo>
                <a:lnTo>
                  <a:pt x="339" y="570"/>
                </a:lnTo>
                <a:lnTo>
                  <a:pt x="339" y="566"/>
                </a:lnTo>
                <a:lnTo>
                  <a:pt x="339" y="564"/>
                </a:lnTo>
                <a:lnTo>
                  <a:pt x="339" y="561"/>
                </a:lnTo>
                <a:lnTo>
                  <a:pt x="339" y="557"/>
                </a:lnTo>
                <a:lnTo>
                  <a:pt x="339" y="557"/>
                </a:lnTo>
                <a:lnTo>
                  <a:pt x="339" y="549"/>
                </a:lnTo>
                <a:lnTo>
                  <a:pt x="339" y="541"/>
                </a:lnTo>
                <a:lnTo>
                  <a:pt x="343" y="534"/>
                </a:lnTo>
                <a:lnTo>
                  <a:pt x="345" y="524"/>
                </a:lnTo>
                <a:lnTo>
                  <a:pt x="349" y="517"/>
                </a:lnTo>
                <a:lnTo>
                  <a:pt x="353" y="507"/>
                </a:lnTo>
                <a:lnTo>
                  <a:pt x="357" y="499"/>
                </a:lnTo>
                <a:lnTo>
                  <a:pt x="362" y="492"/>
                </a:lnTo>
                <a:lnTo>
                  <a:pt x="368" y="484"/>
                </a:lnTo>
                <a:lnTo>
                  <a:pt x="374" y="478"/>
                </a:lnTo>
                <a:lnTo>
                  <a:pt x="381" y="473"/>
                </a:lnTo>
                <a:lnTo>
                  <a:pt x="387" y="467"/>
                </a:lnTo>
                <a:lnTo>
                  <a:pt x="395" y="463"/>
                </a:lnTo>
                <a:lnTo>
                  <a:pt x="401" y="459"/>
                </a:lnTo>
                <a:lnTo>
                  <a:pt x="408" y="457"/>
                </a:lnTo>
                <a:lnTo>
                  <a:pt x="416" y="457"/>
                </a:lnTo>
                <a:lnTo>
                  <a:pt x="416" y="457"/>
                </a:lnTo>
                <a:lnTo>
                  <a:pt x="427" y="459"/>
                </a:lnTo>
                <a:lnTo>
                  <a:pt x="437" y="465"/>
                </a:lnTo>
                <a:lnTo>
                  <a:pt x="444" y="471"/>
                </a:lnTo>
                <a:lnTo>
                  <a:pt x="452" y="480"/>
                </a:lnTo>
                <a:lnTo>
                  <a:pt x="460" y="490"/>
                </a:lnTo>
                <a:lnTo>
                  <a:pt x="467" y="498"/>
                </a:lnTo>
                <a:lnTo>
                  <a:pt x="473" y="505"/>
                </a:lnTo>
                <a:lnTo>
                  <a:pt x="481" y="511"/>
                </a:lnTo>
                <a:lnTo>
                  <a:pt x="481" y="511"/>
                </a:lnTo>
                <a:lnTo>
                  <a:pt x="486" y="513"/>
                </a:lnTo>
                <a:lnTo>
                  <a:pt x="494" y="517"/>
                </a:lnTo>
                <a:lnTo>
                  <a:pt x="502" y="520"/>
                </a:lnTo>
                <a:lnTo>
                  <a:pt x="511" y="522"/>
                </a:lnTo>
                <a:lnTo>
                  <a:pt x="521" y="526"/>
                </a:lnTo>
                <a:lnTo>
                  <a:pt x="528" y="528"/>
                </a:lnTo>
                <a:lnTo>
                  <a:pt x="538" y="530"/>
                </a:lnTo>
                <a:lnTo>
                  <a:pt x="547" y="532"/>
                </a:lnTo>
                <a:lnTo>
                  <a:pt x="557" y="534"/>
                </a:lnTo>
                <a:lnTo>
                  <a:pt x="566" y="536"/>
                </a:lnTo>
                <a:lnTo>
                  <a:pt x="576" y="538"/>
                </a:lnTo>
                <a:lnTo>
                  <a:pt x="586" y="538"/>
                </a:lnTo>
                <a:lnTo>
                  <a:pt x="595" y="540"/>
                </a:lnTo>
                <a:lnTo>
                  <a:pt x="605" y="540"/>
                </a:lnTo>
                <a:lnTo>
                  <a:pt x="612" y="540"/>
                </a:lnTo>
                <a:lnTo>
                  <a:pt x="620" y="540"/>
                </a:lnTo>
                <a:lnTo>
                  <a:pt x="620" y="540"/>
                </a:lnTo>
                <a:lnTo>
                  <a:pt x="628" y="540"/>
                </a:lnTo>
                <a:lnTo>
                  <a:pt x="633" y="538"/>
                </a:lnTo>
                <a:lnTo>
                  <a:pt x="639" y="536"/>
                </a:lnTo>
                <a:lnTo>
                  <a:pt x="643" y="532"/>
                </a:lnTo>
                <a:lnTo>
                  <a:pt x="647" y="528"/>
                </a:lnTo>
                <a:lnTo>
                  <a:pt x="650" y="524"/>
                </a:lnTo>
                <a:lnTo>
                  <a:pt x="654" y="520"/>
                </a:lnTo>
                <a:lnTo>
                  <a:pt x="656" y="515"/>
                </a:lnTo>
                <a:lnTo>
                  <a:pt x="660" y="511"/>
                </a:lnTo>
                <a:lnTo>
                  <a:pt x="664" y="507"/>
                </a:lnTo>
                <a:lnTo>
                  <a:pt x="666" y="501"/>
                </a:lnTo>
                <a:lnTo>
                  <a:pt x="669" y="499"/>
                </a:lnTo>
                <a:lnTo>
                  <a:pt x="675" y="496"/>
                </a:lnTo>
                <a:lnTo>
                  <a:pt x="681" y="492"/>
                </a:lnTo>
                <a:lnTo>
                  <a:pt x="687" y="492"/>
                </a:lnTo>
                <a:lnTo>
                  <a:pt x="692" y="490"/>
                </a:lnTo>
                <a:lnTo>
                  <a:pt x="692" y="490"/>
                </a:lnTo>
                <a:lnTo>
                  <a:pt x="694" y="492"/>
                </a:lnTo>
                <a:lnTo>
                  <a:pt x="698" y="492"/>
                </a:lnTo>
                <a:lnTo>
                  <a:pt x="700" y="494"/>
                </a:lnTo>
                <a:lnTo>
                  <a:pt x="704" y="496"/>
                </a:lnTo>
                <a:lnTo>
                  <a:pt x="706" y="496"/>
                </a:lnTo>
                <a:lnTo>
                  <a:pt x="708" y="498"/>
                </a:lnTo>
                <a:lnTo>
                  <a:pt x="711" y="499"/>
                </a:lnTo>
                <a:lnTo>
                  <a:pt x="715" y="499"/>
                </a:lnTo>
                <a:lnTo>
                  <a:pt x="715" y="499"/>
                </a:lnTo>
                <a:lnTo>
                  <a:pt x="721" y="499"/>
                </a:lnTo>
                <a:lnTo>
                  <a:pt x="727" y="498"/>
                </a:lnTo>
                <a:lnTo>
                  <a:pt x="732" y="496"/>
                </a:lnTo>
                <a:lnTo>
                  <a:pt x="738" y="494"/>
                </a:lnTo>
                <a:lnTo>
                  <a:pt x="744" y="492"/>
                </a:lnTo>
                <a:lnTo>
                  <a:pt x="750" y="490"/>
                </a:lnTo>
                <a:lnTo>
                  <a:pt x="755" y="486"/>
                </a:lnTo>
                <a:lnTo>
                  <a:pt x="761" y="484"/>
                </a:lnTo>
                <a:lnTo>
                  <a:pt x="767" y="480"/>
                </a:lnTo>
                <a:lnTo>
                  <a:pt x="771" y="478"/>
                </a:lnTo>
                <a:lnTo>
                  <a:pt x="776" y="477"/>
                </a:lnTo>
                <a:lnTo>
                  <a:pt x="782" y="473"/>
                </a:lnTo>
                <a:lnTo>
                  <a:pt x="786" y="471"/>
                </a:lnTo>
                <a:lnTo>
                  <a:pt x="792" y="469"/>
                </a:lnTo>
                <a:lnTo>
                  <a:pt x="797" y="467"/>
                </a:lnTo>
                <a:lnTo>
                  <a:pt x="803" y="467"/>
                </a:lnTo>
                <a:lnTo>
                  <a:pt x="803" y="467"/>
                </a:lnTo>
                <a:lnTo>
                  <a:pt x="805" y="471"/>
                </a:lnTo>
                <a:lnTo>
                  <a:pt x="807" y="475"/>
                </a:lnTo>
                <a:lnTo>
                  <a:pt x="811" y="477"/>
                </a:lnTo>
                <a:lnTo>
                  <a:pt x="813" y="477"/>
                </a:lnTo>
                <a:lnTo>
                  <a:pt x="816" y="477"/>
                </a:lnTo>
                <a:lnTo>
                  <a:pt x="820" y="477"/>
                </a:lnTo>
                <a:lnTo>
                  <a:pt x="824" y="475"/>
                </a:lnTo>
                <a:lnTo>
                  <a:pt x="830" y="475"/>
                </a:lnTo>
                <a:lnTo>
                  <a:pt x="830" y="475"/>
                </a:lnTo>
                <a:lnTo>
                  <a:pt x="839" y="475"/>
                </a:lnTo>
                <a:lnTo>
                  <a:pt x="847" y="475"/>
                </a:lnTo>
                <a:lnTo>
                  <a:pt x="855" y="473"/>
                </a:lnTo>
                <a:lnTo>
                  <a:pt x="858" y="469"/>
                </a:lnTo>
                <a:lnTo>
                  <a:pt x="862" y="465"/>
                </a:lnTo>
                <a:lnTo>
                  <a:pt x="866" y="461"/>
                </a:lnTo>
                <a:lnTo>
                  <a:pt x="868" y="454"/>
                </a:lnTo>
                <a:lnTo>
                  <a:pt x="868" y="446"/>
                </a:lnTo>
                <a:lnTo>
                  <a:pt x="868" y="446"/>
                </a:lnTo>
                <a:lnTo>
                  <a:pt x="876" y="444"/>
                </a:lnTo>
                <a:lnTo>
                  <a:pt x="883" y="444"/>
                </a:lnTo>
                <a:lnTo>
                  <a:pt x="891" y="446"/>
                </a:lnTo>
                <a:lnTo>
                  <a:pt x="896" y="446"/>
                </a:lnTo>
                <a:lnTo>
                  <a:pt x="904" y="448"/>
                </a:lnTo>
                <a:lnTo>
                  <a:pt x="910" y="450"/>
                </a:lnTo>
                <a:lnTo>
                  <a:pt x="916" y="452"/>
                </a:lnTo>
                <a:lnTo>
                  <a:pt x="923" y="454"/>
                </a:lnTo>
                <a:lnTo>
                  <a:pt x="929" y="456"/>
                </a:lnTo>
                <a:lnTo>
                  <a:pt x="935" y="457"/>
                </a:lnTo>
                <a:lnTo>
                  <a:pt x="940" y="461"/>
                </a:lnTo>
                <a:lnTo>
                  <a:pt x="948" y="463"/>
                </a:lnTo>
                <a:lnTo>
                  <a:pt x="954" y="465"/>
                </a:lnTo>
                <a:lnTo>
                  <a:pt x="961" y="465"/>
                </a:lnTo>
                <a:lnTo>
                  <a:pt x="969" y="467"/>
                </a:lnTo>
                <a:lnTo>
                  <a:pt x="977" y="467"/>
                </a:lnTo>
                <a:lnTo>
                  <a:pt x="977" y="467"/>
                </a:lnTo>
                <a:lnTo>
                  <a:pt x="984" y="467"/>
                </a:lnTo>
                <a:lnTo>
                  <a:pt x="992" y="465"/>
                </a:lnTo>
                <a:lnTo>
                  <a:pt x="996" y="465"/>
                </a:lnTo>
                <a:lnTo>
                  <a:pt x="1001" y="463"/>
                </a:lnTo>
                <a:lnTo>
                  <a:pt x="1007" y="461"/>
                </a:lnTo>
                <a:lnTo>
                  <a:pt x="1011" y="459"/>
                </a:lnTo>
                <a:lnTo>
                  <a:pt x="1017" y="457"/>
                </a:lnTo>
                <a:lnTo>
                  <a:pt x="1024" y="457"/>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4" name="Freeform 24"/>
          <p:cNvSpPr>
            <a:spLocks/>
          </p:cNvSpPr>
          <p:nvPr/>
        </p:nvSpPr>
        <p:spPr bwMode="auto">
          <a:xfrm>
            <a:off x="2584450" y="3678139"/>
            <a:ext cx="557213" cy="612775"/>
          </a:xfrm>
          <a:custGeom>
            <a:avLst/>
            <a:gdLst>
              <a:gd name="T0" fmla="*/ 409 w 620"/>
              <a:gd name="T1" fmla="*/ 126 h 702"/>
              <a:gd name="T2" fmla="*/ 391 w 620"/>
              <a:gd name="T3" fmla="*/ 143 h 702"/>
              <a:gd name="T4" fmla="*/ 357 w 620"/>
              <a:gd name="T5" fmla="*/ 133 h 702"/>
              <a:gd name="T6" fmla="*/ 306 w 620"/>
              <a:gd name="T7" fmla="*/ 120 h 702"/>
              <a:gd name="T8" fmla="*/ 254 w 620"/>
              <a:gd name="T9" fmla="*/ 109 h 702"/>
              <a:gd name="T10" fmla="*/ 206 w 620"/>
              <a:gd name="T11" fmla="*/ 111 h 702"/>
              <a:gd name="T12" fmla="*/ 176 w 620"/>
              <a:gd name="T13" fmla="*/ 131 h 702"/>
              <a:gd name="T14" fmla="*/ 170 w 620"/>
              <a:gd name="T15" fmla="*/ 168 h 702"/>
              <a:gd name="T16" fmla="*/ 170 w 620"/>
              <a:gd name="T17" fmla="*/ 208 h 702"/>
              <a:gd name="T18" fmla="*/ 201 w 620"/>
              <a:gd name="T19" fmla="*/ 200 h 702"/>
              <a:gd name="T20" fmla="*/ 229 w 620"/>
              <a:gd name="T21" fmla="*/ 191 h 702"/>
              <a:gd name="T22" fmla="*/ 262 w 620"/>
              <a:gd name="T23" fmla="*/ 204 h 702"/>
              <a:gd name="T24" fmla="*/ 264 w 620"/>
              <a:gd name="T25" fmla="*/ 248 h 702"/>
              <a:gd name="T26" fmla="*/ 224 w 620"/>
              <a:gd name="T27" fmla="*/ 294 h 702"/>
              <a:gd name="T28" fmla="*/ 277 w 620"/>
              <a:gd name="T29" fmla="*/ 338 h 702"/>
              <a:gd name="T30" fmla="*/ 275 w 620"/>
              <a:gd name="T31" fmla="*/ 385 h 702"/>
              <a:gd name="T32" fmla="*/ 262 w 620"/>
              <a:gd name="T33" fmla="*/ 442 h 702"/>
              <a:gd name="T34" fmla="*/ 252 w 620"/>
              <a:gd name="T35" fmla="*/ 473 h 702"/>
              <a:gd name="T36" fmla="*/ 239 w 620"/>
              <a:gd name="T37" fmla="*/ 488 h 702"/>
              <a:gd name="T38" fmla="*/ 225 w 620"/>
              <a:gd name="T39" fmla="*/ 469 h 702"/>
              <a:gd name="T40" fmla="*/ 203 w 620"/>
              <a:gd name="T41" fmla="*/ 479 h 702"/>
              <a:gd name="T42" fmla="*/ 163 w 620"/>
              <a:gd name="T43" fmla="*/ 471 h 702"/>
              <a:gd name="T44" fmla="*/ 132 w 620"/>
              <a:gd name="T45" fmla="*/ 444 h 702"/>
              <a:gd name="T46" fmla="*/ 105 w 620"/>
              <a:gd name="T47" fmla="*/ 477 h 702"/>
              <a:gd name="T48" fmla="*/ 54 w 620"/>
              <a:gd name="T49" fmla="*/ 484 h 702"/>
              <a:gd name="T50" fmla="*/ 46 w 620"/>
              <a:gd name="T51" fmla="*/ 524 h 702"/>
              <a:gd name="T52" fmla="*/ 50 w 620"/>
              <a:gd name="T53" fmla="*/ 549 h 702"/>
              <a:gd name="T54" fmla="*/ 73 w 620"/>
              <a:gd name="T55" fmla="*/ 566 h 702"/>
              <a:gd name="T56" fmla="*/ 63 w 620"/>
              <a:gd name="T57" fmla="*/ 586 h 702"/>
              <a:gd name="T58" fmla="*/ 50 w 620"/>
              <a:gd name="T59" fmla="*/ 578 h 702"/>
              <a:gd name="T60" fmla="*/ 25 w 620"/>
              <a:gd name="T61" fmla="*/ 582 h 702"/>
              <a:gd name="T62" fmla="*/ 2 w 620"/>
              <a:gd name="T63" fmla="*/ 607 h 702"/>
              <a:gd name="T64" fmla="*/ 40 w 620"/>
              <a:gd name="T65" fmla="*/ 650 h 702"/>
              <a:gd name="T66" fmla="*/ 84 w 620"/>
              <a:gd name="T67" fmla="*/ 694 h 702"/>
              <a:gd name="T68" fmla="*/ 122 w 620"/>
              <a:gd name="T69" fmla="*/ 671 h 702"/>
              <a:gd name="T70" fmla="*/ 149 w 620"/>
              <a:gd name="T71" fmla="*/ 662 h 702"/>
              <a:gd name="T72" fmla="*/ 164 w 620"/>
              <a:gd name="T73" fmla="*/ 671 h 702"/>
              <a:gd name="T74" fmla="*/ 191 w 620"/>
              <a:gd name="T75" fmla="*/ 681 h 702"/>
              <a:gd name="T76" fmla="*/ 239 w 620"/>
              <a:gd name="T77" fmla="*/ 656 h 702"/>
              <a:gd name="T78" fmla="*/ 267 w 620"/>
              <a:gd name="T79" fmla="*/ 656 h 702"/>
              <a:gd name="T80" fmla="*/ 264 w 620"/>
              <a:gd name="T81" fmla="*/ 679 h 702"/>
              <a:gd name="T82" fmla="*/ 290 w 620"/>
              <a:gd name="T83" fmla="*/ 696 h 702"/>
              <a:gd name="T84" fmla="*/ 346 w 620"/>
              <a:gd name="T85" fmla="*/ 666 h 702"/>
              <a:gd name="T86" fmla="*/ 372 w 620"/>
              <a:gd name="T87" fmla="*/ 628 h 702"/>
              <a:gd name="T88" fmla="*/ 412 w 620"/>
              <a:gd name="T89" fmla="*/ 601 h 702"/>
              <a:gd name="T90" fmla="*/ 424 w 620"/>
              <a:gd name="T91" fmla="*/ 551 h 702"/>
              <a:gd name="T92" fmla="*/ 428 w 620"/>
              <a:gd name="T93" fmla="*/ 498 h 702"/>
              <a:gd name="T94" fmla="*/ 449 w 620"/>
              <a:gd name="T95" fmla="*/ 441 h 702"/>
              <a:gd name="T96" fmla="*/ 498 w 620"/>
              <a:gd name="T97" fmla="*/ 387 h 702"/>
              <a:gd name="T98" fmla="*/ 525 w 620"/>
              <a:gd name="T99" fmla="*/ 351 h 702"/>
              <a:gd name="T100" fmla="*/ 546 w 620"/>
              <a:gd name="T101" fmla="*/ 307 h 702"/>
              <a:gd name="T102" fmla="*/ 561 w 620"/>
              <a:gd name="T103" fmla="*/ 208 h 702"/>
              <a:gd name="T104" fmla="*/ 567 w 620"/>
              <a:gd name="T105" fmla="*/ 177 h 702"/>
              <a:gd name="T106" fmla="*/ 575 w 620"/>
              <a:gd name="T107" fmla="*/ 147 h 702"/>
              <a:gd name="T108" fmla="*/ 584 w 620"/>
              <a:gd name="T109" fmla="*/ 112 h 702"/>
              <a:gd name="T110" fmla="*/ 616 w 620"/>
              <a:gd name="T111" fmla="*/ 67 h 702"/>
              <a:gd name="T112" fmla="*/ 618 w 620"/>
              <a:gd name="T113" fmla="*/ 15 h 702"/>
              <a:gd name="T114" fmla="*/ 536 w 620"/>
              <a:gd name="T115" fmla="*/ 0 h 702"/>
              <a:gd name="T116" fmla="*/ 487 w 620"/>
              <a:gd name="T117" fmla="*/ 2 h 702"/>
              <a:gd name="T118" fmla="*/ 441 w 620"/>
              <a:gd name="T119" fmla="*/ 38 h 702"/>
              <a:gd name="T120" fmla="*/ 418 w 620"/>
              <a:gd name="T121" fmla="*/ 97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0" h="702">
                <a:moveTo>
                  <a:pt x="418" y="90"/>
                </a:moveTo>
                <a:lnTo>
                  <a:pt x="418" y="90"/>
                </a:lnTo>
                <a:lnTo>
                  <a:pt x="414" y="97"/>
                </a:lnTo>
                <a:lnTo>
                  <a:pt x="412" y="103"/>
                </a:lnTo>
                <a:lnTo>
                  <a:pt x="410" y="111"/>
                </a:lnTo>
                <a:lnTo>
                  <a:pt x="409" y="118"/>
                </a:lnTo>
                <a:lnTo>
                  <a:pt x="409" y="126"/>
                </a:lnTo>
                <a:lnTo>
                  <a:pt x="407" y="133"/>
                </a:lnTo>
                <a:lnTo>
                  <a:pt x="405" y="141"/>
                </a:lnTo>
                <a:lnTo>
                  <a:pt x="401" y="149"/>
                </a:lnTo>
                <a:lnTo>
                  <a:pt x="401" y="149"/>
                </a:lnTo>
                <a:lnTo>
                  <a:pt x="399" y="147"/>
                </a:lnTo>
                <a:lnTo>
                  <a:pt x="395" y="145"/>
                </a:lnTo>
                <a:lnTo>
                  <a:pt x="391" y="143"/>
                </a:lnTo>
                <a:lnTo>
                  <a:pt x="388" y="139"/>
                </a:lnTo>
                <a:lnTo>
                  <a:pt x="382" y="137"/>
                </a:lnTo>
                <a:lnTo>
                  <a:pt x="376" y="137"/>
                </a:lnTo>
                <a:lnTo>
                  <a:pt x="370" y="135"/>
                </a:lnTo>
                <a:lnTo>
                  <a:pt x="365" y="135"/>
                </a:lnTo>
                <a:lnTo>
                  <a:pt x="365" y="135"/>
                </a:lnTo>
                <a:lnTo>
                  <a:pt x="357" y="133"/>
                </a:lnTo>
                <a:lnTo>
                  <a:pt x="348" y="133"/>
                </a:lnTo>
                <a:lnTo>
                  <a:pt x="340" y="131"/>
                </a:lnTo>
                <a:lnTo>
                  <a:pt x="332" y="130"/>
                </a:lnTo>
                <a:lnTo>
                  <a:pt x="325" y="128"/>
                </a:lnTo>
                <a:lnTo>
                  <a:pt x="319" y="126"/>
                </a:lnTo>
                <a:lnTo>
                  <a:pt x="313" y="124"/>
                </a:lnTo>
                <a:lnTo>
                  <a:pt x="306" y="120"/>
                </a:lnTo>
                <a:lnTo>
                  <a:pt x="300" y="118"/>
                </a:lnTo>
                <a:lnTo>
                  <a:pt x="292" y="116"/>
                </a:lnTo>
                <a:lnTo>
                  <a:pt x="286" y="114"/>
                </a:lnTo>
                <a:lnTo>
                  <a:pt x="279" y="112"/>
                </a:lnTo>
                <a:lnTo>
                  <a:pt x="271" y="111"/>
                </a:lnTo>
                <a:lnTo>
                  <a:pt x="264" y="109"/>
                </a:lnTo>
                <a:lnTo>
                  <a:pt x="254" y="109"/>
                </a:lnTo>
                <a:lnTo>
                  <a:pt x="245" y="107"/>
                </a:lnTo>
                <a:lnTo>
                  <a:pt x="245" y="107"/>
                </a:lnTo>
                <a:lnTo>
                  <a:pt x="235" y="107"/>
                </a:lnTo>
                <a:lnTo>
                  <a:pt x="227" y="109"/>
                </a:lnTo>
                <a:lnTo>
                  <a:pt x="220" y="109"/>
                </a:lnTo>
                <a:lnTo>
                  <a:pt x="214" y="109"/>
                </a:lnTo>
                <a:lnTo>
                  <a:pt x="206" y="111"/>
                </a:lnTo>
                <a:lnTo>
                  <a:pt x="201" y="112"/>
                </a:lnTo>
                <a:lnTo>
                  <a:pt x="195" y="114"/>
                </a:lnTo>
                <a:lnTo>
                  <a:pt x="191" y="116"/>
                </a:lnTo>
                <a:lnTo>
                  <a:pt x="185" y="120"/>
                </a:lnTo>
                <a:lnTo>
                  <a:pt x="182" y="124"/>
                </a:lnTo>
                <a:lnTo>
                  <a:pt x="180" y="128"/>
                </a:lnTo>
                <a:lnTo>
                  <a:pt x="176" y="131"/>
                </a:lnTo>
                <a:lnTo>
                  <a:pt x="174" y="137"/>
                </a:lnTo>
                <a:lnTo>
                  <a:pt x="172" y="143"/>
                </a:lnTo>
                <a:lnTo>
                  <a:pt x="172" y="151"/>
                </a:lnTo>
                <a:lnTo>
                  <a:pt x="170" y="158"/>
                </a:lnTo>
                <a:lnTo>
                  <a:pt x="170" y="158"/>
                </a:lnTo>
                <a:lnTo>
                  <a:pt x="170" y="162"/>
                </a:lnTo>
                <a:lnTo>
                  <a:pt x="170" y="168"/>
                </a:lnTo>
                <a:lnTo>
                  <a:pt x="170" y="173"/>
                </a:lnTo>
                <a:lnTo>
                  <a:pt x="170" y="179"/>
                </a:lnTo>
                <a:lnTo>
                  <a:pt x="170" y="187"/>
                </a:lnTo>
                <a:lnTo>
                  <a:pt x="170" y="193"/>
                </a:lnTo>
                <a:lnTo>
                  <a:pt x="170" y="200"/>
                </a:lnTo>
                <a:lnTo>
                  <a:pt x="170" y="208"/>
                </a:lnTo>
                <a:lnTo>
                  <a:pt x="170" y="208"/>
                </a:lnTo>
                <a:lnTo>
                  <a:pt x="176" y="208"/>
                </a:lnTo>
                <a:lnTo>
                  <a:pt x="180" y="208"/>
                </a:lnTo>
                <a:lnTo>
                  <a:pt x="185" y="206"/>
                </a:lnTo>
                <a:lnTo>
                  <a:pt x="189" y="206"/>
                </a:lnTo>
                <a:lnTo>
                  <a:pt x="193" y="204"/>
                </a:lnTo>
                <a:lnTo>
                  <a:pt x="197" y="202"/>
                </a:lnTo>
                <a:lnTo>
                  <a:pt x="201" y="200"/>
                </a:lnTo>
                <a:lnTo>
                  <a:pt x="204" y="198"/>
                </a:lnTo>
                <a:lnTo>
                  <a:pt x="208" y="196"/>
                </a:lnTo>
                <a:lnTo>
                  <a:pt x="212" y="196"/>
                </a:lnTo>
                <a:lnTo>
                  <a:pt x="216" y="194"/>
                </a:lnTo>
                <a:lnTo>
                  <a:pt x="220" y="193"/>
                </a:lnTo>
                <a:lnTo>
                  <a:pt x="225" y="193"/>
                </a:lnTo>
                <a:lnTo>
                  <a:pt x="229" y="191"/>
                </a:lnTo>
                <a:lnTo>
                  <a:pt x="233" y="191"/>
                </a:lnTo>
                <a:lnTo>
                  <a:pt x="239" y="191"/>
                </a:lnTo>
                <a:lnTo>
                  <a:pt x="239" y="191"/>
                </a:lnTo>
                <a:lnTo>
                  <a:pt x="245" y="191"/>
                </a:lnTo>
                <a:lnTo>
                  <a:pt x="252" y="194"/>
                </a:lnTo>
                <a:lnTo>
                  <a:pt x="258" y="198"/>
                </a:lnTo>
                <a:lnTo>
                  <a:pt x="262" y="204"/>
                </a:lnTo>
                <a:lnTo>
                  <a:pt x="266" y="210"/>
                </a:lnTo>
                <a:lnTo>
                  <a:pt x="269" y="217"/>
                </a:lnTo>
                <a:lnTo>
                  <a:pt x="271" y="223"/>
                </a:lnTo>
                <a:lnTo>
                  <a:pt x="271" y="231"/>
                </a:lnTo>
                <a:lnTo>
                  <a:pt x="271" y="231"/>
                </a:lnTo>
                <a:lnTo>
                  <a:pt x="269" y="240"/>
                </a:lnTo>
                <a:lnTo>
                  <a:pt x="264" y="248"/>
                </a:lnTo>
                <a:lnTo>
                  <a:pt x="256" y="254"/>
                </a:lnTo>
                <a:lnTo>
                  <a:pt x="248" y="259"/>
                </a:lnTo>
                <a:lnTo>
                  <a:pt x="239" y="265"/>
                </a:lnTo>
                <a:lnTo>
                  <a:pt x="231" y="273"/>
                </a:lnTo>
                <a:lnTo>
                  <a:pt x="225" y="282"/>
                </a:lnTo>
                <a:lnTo>
                  <a:pt x="224" y="294"/>
                </a:lnTo>
                <a:lnTo>
                  <a:pt x="224" y="294"/>
                </a:lnTo>
                <a:lnTo>
                  <a:pt x="227" y="303"/>
                </a:lnTo>
                <a:lnTo>
                  <a:pt x="233" y="309"/>
                </a:lnTo>
                <a:lnTo>
                  <a:pt x="241" y="315"/>
                </a:lnTo>
                <a:lnTo>
                  <a:pt x="252" y="320"/>
                </a:lnTo>
                <a:lnTo>
                  <a:pt x="262" y="324"/>
                </a:lnTo>
                <a:lnTo>
                  <a:pt x="271" y="330"/>
                </a:lnTo>
                <a:lnTo>
                  <a:pt x="277" y="338"/>
                </a:lnTo>
                <a:lnTo>
                  <a:pt x="279" y="347"/>
                </a:lnTo>
                <a:lnTo>
                  <a:pt x="279" y="347"/>
                </a:lnTo>
                <a:lnTo>
                  <a:pt x="279" y="355"/>
                </a:lnTo>
                <a:lnTo>
                  <a:pt x="279" y="362"/>
                </a:lnTo>
                <a:lnTo>
                  <a:pt x="279" y="370"/>
                </a:lnTo>
                <a:lnTo>
                  <a:pt x="277" y="378"/>
                </a:lnTo>
                <a:lnTo>
                  <a:pt x="275" y="385"/>
                </a:lnTo>
                <a:lnTo>
                  <a:pt x="273" y="393"/>
                </a:lnTo>
                <a:lnTo>
                  <a:pt x="271" y="402"/>
                </a:lnTo>
                <a:lnTo>
                  <a:pt x="269" y="410"/>
                </a:lnTo>
                <a:lnTo>
                  <a:pt x="267" y="420"/>
                </a:lnTo>
                <a:lnTo>
                  <a:pt x="266" y="427"/>
                </a:lnTo>
                <a:lnTo>
                  <a:pt x="264" y="435"/>
                </a:lnTo>
                <a:lnTo>
                  <a:pt x="262" y="442"/>
                </a:lnTo>
                <a:lnTo>
                  <a:pt x="260" y="448"/>
                </a:lnTo>
                <a:lnTo>
                  <a:pt x="256" y="454"/>
                </a:lnTo>
                <a:lnTo>
                  <a:pt x="256" y="460"/>
                </a:lnTo>
                <a:lnTo>
                  <a:pt x="254" y="465"/>
                </a:lnTo>
                <a:lnTo>
                  <a:pt x="254" y="465"/>
                </a:lnTo>
                <a:lnTo>
                  <a:pt x="252" y="469"/>
                </a:lnTo>
                <a:lnTo>
                  <a:pt x="252" y="473"/>
                </a:lnTo>
                <a:lnTo>
                  <a:pt x="252" y="477"/>
                </a:lnTo>
                <a:lnTo>
                  <a:pt x="250" y="481"/>
                </a:lnTo>
                <a:lnTo>
                  <a:pt x="248" y="483"/>
                </a:lnTo>
                <a:lnTo>
                  <a:pt x="246" y="486"/>
                </a:lnTo>
                <a:lnTo>
                  <a:pt x="243" y="488"/>
                </a:lnTo>
                <a:lnTo>
                  <a:pt x="239" y="488"/>
                </a:lnTo>
                <a:lnTo>
                  <a:pt x="239" y="488"/>
                </a:lnTo>
                <a:lnTo>
                  <a:pt x="239" y="488"/>
                </a:lnTo>
                <a:lnTo>
                  <a:pt x="237" y="486"/>
                </a:lnTo>
                <a:lnTo>
                  <a:pt x="233" y="483"/>
                </a:lnTo>
                <a:lnTo>
                  <a:pt x="231" y="479"/>
                </a:lnTo>
                <a:lnTo>
                  <a:pt x="229" y="475"/>
                </a:lnTo>
                <a:lnTo>
                  <a:pt x="225" y="473"/>
                </a:lnTo>
                <a:lnTo>
                  <a:pt x="225" y="469"/>
                </a:lnTo>
                <a:lnTo>
                  <a:pt x="224" y="467"/>
                </a:lnTo>
                <a:lnTo>
                  <a:pt x="224" y="467"/>
                </a:lnTo>
                <a:lnTo>
                  <a:pt x="218" y="469"/>
                </a:lnTo>
                <a:lnTo>
                  <a:pt x="214" y="471"/>
                </a:lnTo>
                <a:lnTo>
                  <a:pt x="210" y="473"/>
                </a:lnTo>
                <a:lnTo>
                  <a:pt x="206" y="477"/>
                </a:lnTo>
                <a:lnTo>
                  <a:pt x="203" y="479"/>
                </a:lnTo>
                <a:lnTo>
                  <a:pt x="199" y="481"/>
                </a:lnTo>
                <a:lnTo>
                  <a:pt x="193" y="483"/>
                </a:lnTo>
                <a:lnTo>
                  <a:pt x="185" y="483"/>
                </a:lnTo>
                <a:lnTo>
                  <a:pt x="185" y="483"/>
                </a:lnTo>
                <a:lnTo>
                  <a:pt x="176" y="483"/>
                </a:lnTo>
                <a:lnTo>
                  <a:pt x="168" y="477"/>
                </a:lnTo>
                <a:lnTo>
                  <a:pt x="163" y="471"/>
                </a:lnTo>
                <a:lnTo>
                  <a:pt x="159" y="463"/>
                </a:lnTo>
                <a:lnTo>
                  <a:pt x="153" y="458"/>
                </a:lnTo>
                <a:lnTo>
                  <a:pt x="149" y="450"/>
                </a:lnTo>
                <a:lnTo>
                  <a:pt x="143" y="446"/>
                </a:lnTo>
                <a:lnTo>
                  <a:pt x="138" y="444"/>
                </a:lnTo>
                <a:lnTo>
                  <a:pt x="138" y="444"/>
                </a:lnTo>
                <a:lnTo>
                  <a:pt x="132" y="444"/>
                </a:lnTo>
                <a:lnTo>
                  <a:pt x="126" y="448"/>
                </a:lnTo>
                <a:lnTo>
                  <a:pt x="122" y="452"/>
                </a:lnTo>
                <a:lnTo>
                  <a:pt x="119" y="456"/>
                </a:lnTo>
                <a:lnTo>
                  <a:pt x="117" y="462"/>
                </a:lnTo>
                <a:lnTo>
                  <a:pt x="113" y="467"/>
                </a:lnTo>
                <a:lnTo>
                  <a:pt x="109" y="473"/>
                </a:lnTo>
                <a:lnTo>
                  <a:pt x="105" y="477"/>
                </a:lnTo>
                <a:lnTo>
                  <a:pt x="105" y="477"/>
                </a:lnTo>
                <a:lnTo>
                  <a:pt x="98" y="483"/>
                </a:lnTo>
                <a:lnTo>
                  <a:pt x="90" y="484"/>
                </a:lnTo>
                <a:lnTo>
                  <a:pt x="80" y="483"/>
                </a:lnTo>
                <a:lnTo>
                  <a:pt x="71" y="481"/>
                </a:lnTo>
                <a:lnTo>
                  <a:pt x="61" y="481"/>
                </a:lnTo>
                <a:lnTo>
                  <a:pt x="54" y="484"/>
                </a:lnTo>
                <a:lnTo>
                  <a:pt x="48" y="494"/>
                </a:lnTo>
                <a:lnTo>
                  <a:pt x="46" y="513"/>
                </a:lnTo>
                <a:lnTo>
                  <a:pt x="46" y="513"/>
                </a:lnTo>
                <a:lnTo>
                  <a:pt x="46" y="515"/>
                </a:lnTo>
                <a:lnTo>
                  <a:pt x="46" y="519"/>
                </a:lnTo>
                <a:lnTo>
                  <a:pt x="46" y="523"/>
                </a:lnTo>
                <a:lnTo>
                  <a:pt x="46" y="524"/>
                </a:lnTo>
                <a:lnTo>
                  <a:pt x="46" y="528"/>
                </a:lnTo>
                <a:lnTo>
                  <a:pt x="46" y="532"/>
                </a:lnTo>
                <a:lnTo>
                  <a:pt x="46" y="538"/>
                </a:lnTo>
                <a:lnTo>
                  <a:pt x="46" y="542"/>
                </a:lnTo>
                <a:lnTo>
                  <a:pt x="46" y="542"/>
                </a:lnTo>
                <a:lnTo>
                  <a:pt x="48" y="545"/>
                </a:lnTo>
                <a:lnTo>
                  <a:pt x="50" y="549"/>
                </a:lnTo>
                <a:lnTo>
                  <a:pt x="54" y="553"/>
                </a:lnTo>
                <a:lnTo>
                  <a:pt x="58" y="557"/>
                </a:lnTo>
                <a:lnTo>
                  <a:pt x="61" y="561"/>
                </a:lnTo>
                <a:lnTo>
                  <a:pt x="65" y="563"/>
                </a:lnTo>
                <a:lnTo>
                  <a:pt x="69" y="565"/>
                </a:lnTo>
                <a:lnTo>
                  <a:pt x="73" y="566"/>
                </a:lnTo>
                <a:lnTo>
                  <a:pt x="73" y="566"/>
                </a:lnTo>
                <a:lnTo>
                  <a:pt x="71" y="568"/>
                </a:lnTo>
                <a:lnTo>
                  <a:pt x="71" y="570"/>
                </a:lnTo>
                <a:lnTo>
                  <a:pt x="69" y="572"/>
                </a:lnTo>
                <a:lnTo>
                  <a:pt x="67" y="576"/>
                </a:lnTo>
                <a:lnTo>
                  <a:pt x="65" y="578"/>
                </a:lnTo>
                <a:lnTo>
                  <a:pt x="65" y="582"/>
                </a:lnTo>
                <a:lnTo>
                  <a:pt x="63" y="586"/>
                </a:lnTo>
                <a:lnTo>
                  <a:pt x="61" y="589"/>
                </a:lnTo>
                <a:lnTo>
                  <a:pt x="61" y="589"/>
                </a:lnTo>
                <a:lnTo>
                  <a:pt x="61" y="589"/>
                </a:lnTo>
                <a:lnTo>
                  <a:pt x="59" y="587"/>
                </a:lnTo>
                <a:lnTo>
                  <a:pt x="56" y="584"/>
                </a:lnTo>
                <a:lnTo>
                  <a:pt x="54" y="582"/>
                </a:lnTo>
                <a:lnTo>
                  <a:pt x="50" y="578"/>
                </a:lnTo>
                <a:lnTo>
                  <a:pt x="46" y="576"/>
                </a:lnTo>
                <a:lnTo>
                  <a:pt x="44" y="574"/>
                </a:lnTo>
                <a:lnTo>
                  <a:pt x="40" y="574"/>
                </a:lnTo>
                <a:lnTo>
                  <a:pt x="40" y="574"/>
                </a:lnTo>
                <a:lnTo>
                  <a:pt x="35" y="576"/>
                </a:lnTo>
                <a:lnTo>
                  <a:pt x="29" y="578"/>
                </a:lnTo>
                <a:lnTo>
                  <a:pt x="25" y="582"/>
                </a:lnTo>
                <a:lnTo>
                  <a:pt x="21" y="586"/>
                </a:lnTo>
                <a:lnTo>
                  <a:pt x="16" y="591"/>
                </a:lnTo>
                <a:lnTo>
                  <a:pt x="12" y="595"/>
                </a:lnTo>
                <a:lnTo>
                  <a:pt x="6" y="597"/>
                </a:lnTo>
                <a:lnTo>
                  <a:pt x="0" y="597"/>
                </a:lnTo>
                <a:lnTo>
                  <a:pt x="0" y="597"/>
                </a:lnTo>
                <a:lnTo>
                  <a:pt x="2" y="607"/>
                </a:lnTo>
                <a:lnTo>
                  <a:pt x="6" y="612"/>
                </a:lnTo>
                <a:lnTo>
                  <a:pt x="12" y="620"/>
                </a:lnTo>
                <a:lnTo>
                  <a:pt x="16" y="626"/>
                </a:lnTo>
                <a:lnTo>
                  <a:pt x="21" y="633"/>
                </a:lnTo>
                <a:lnTo>
                  <a:pt x="27" y="639"/>
                </a:lnTo>
                <a:lnTo>
                  <a:pt x="35" y="645"/>
                </a:lnTo>
                <a:lnTo>
                  <a:pt x="40" y="650"/>
                </a:lnTo>
                <a:lnTo>
                  <a:pt x="46" y="656"/>
                </a:lnTo>
                <a:lnTo>
                  <a:pt x="54" y="662"/>
                </a:lnTo>
                <a:lnTo>
                  <a:pt x="59" y="669"/>
                </a:lnTo>
                <a:lnTo>
                  <a:pt x="67" y="675"/>
                </a:lnTo>
                <a:lnTo>
                  <a:pt x="73" y="681"/>
                </a:lnTo>
                <a:lnTo>
                  <a:pt x="79" y="689"/>
                </a:lnTo>
                <a:lnTo>
                  <a:pt x="84" y="694"/>
                </a:lnTo>
                <a:lnTo>
                  <a:pt x="88" y="702"/>
                </a:lnTo>
                <a:lnTo>
                  <a:pt x="88" y="702"/>
                </a:lnTo>
                <a:lnTo>
                  <a:pt x="92" y="696"/>
                </a:lnTo>
                <a:lnTo>
                  <a:pt x="98" y="690"/>
                </a:lnTo>
                <a:lnTo>
                  <a:pt x="105" y="685"/>
                </a:lnTo>
                <a:lnTo>
                  <a:pt x="113" y="677"/>
                </a:lnTo>
                <a:lnTo>
                  <a:pt x="122" y="671"/>
                </a:lnTo>
                <a:lnTo>
                  <a:pt x="130" y="666"/>
                </a:lnTo>
                <a:lnTo>
                  <a:pt x="136" y="662"/>
                </a:lnTo>
                <a:lnTo>
                  <a:pt x="142" y="660"/>
                </a:lnTo>
                <a:lnTo>
                  <a:pt x="142" y="660"/>
                </a:lnTo>
                <a:lnTo>
                  <a:pt x="143" y="660"/>
                </a:lnTo>
                <a:lnTo>
                  <a:pt x="145" y="662"/>
                </a:lnTo>
                <a:lnTo>
                  <a:pt x="149" y="662"/>
                </a:lnTo>
                <a:lnTo>
                  <a:pt x="153" y="664"/>
                </a:lnTo>
                <a:lnTo>
                  <a:pt x="155" y="666"/>
                </a:lnTo>
                <a:lnTo>
                  <a:pt x="159" y="668"/>
                </a:lnTo>
                <a:lnTo>
                  <a:pt x="161" y="668"/>
                </a:lnTo>
                <a:lnTo>
                  <a:pt x="161" y="669"/>
                </a:lnTo>
                <a:lnTo>
                  <a:pt x="161" y="669"/>
                </a:lnTo>
                <a:lnTo>
                  <a:pt x="164" y="671"/>
                </a:lnTo>
                <a:lnTo>
                  <a:pt x="168" y="673"/>
                </a:lnTo>
                <a:lnTo>
                  <a:pt x="172" y="675"/>
                </a:lnTo>
                <a:lnTo>
                  <a:pt x="176" y="677"/>
                </a:lnTo>
                <a:lnTo>
                  <a:pt x="180" y="679"/>
                </a:lnTo>
                <a:lnTo>
                  <a:pt x="183" y="679"/>
                </a:lnTo>
                <a:lnTo>
                  <a:pt x="187" y="681"/>
                </a:lnTo>
                <a:lnTo>
                  <a:pt x="191" y="681"/>
                </a:lnTo>
                <a:lnTo>
                  <a:pt x="191" y="681"/>
                </a:lnTo>
                <a:lnTo>
                  <a:pt x="199" y="679"/>
                </a:lnTo>
                <a:lnTo>
                  <a:pt x="206" y="677"/>
                </a:lnTo>
                <a:lnTo>
                  <a:pt x="214" y="671"/>
                </a:lnTo>
                <a:lnTo>
                  <a:pt x="222" y="668"/>
                </a:lnTo>
                <a:lnTo>
                  <a:pt x="231" y="662"/>
                </a:lnTo>
                <a:lnTo>
                  <a:pt x="239" y="656"/>
                </a:lnTo>
                <a:lnTo>
                  <a:pt x="245" y="652"/>
                </a:lnTo>
                <a:lnTo>
                  <a:pt x="250" y="648"/>
                </a:lnTo>
                <a:lnTo>
                  <a:pt x="273" y="648"/>
                </a:lnTo>
                <a:lnTo>
                  <a:pt x="273" y="648"/>
                </a:lnTo>
                <a:lnTo>
                  <a:pt x="271" y="650"/>
                </a:lnTo>
                <a:lnTo>
                  <a:pt x="269" y="654"/>
                </a:lnTo>
                <a:lnTo>
                  <a:pt x="267" y="656"/>
                </a:lnTo>
                <a:lnTo>
                  <a:pt x="266" y="660"/>
                </a:lnTo>
                <a:lnTo>
                  <a:pt x="264" y="662"/>
                </a:lnTo>
                <a:lnTo>
                  <a:pt x="264" y="666"/>
                </a:lnTo>
                <a:lnTo>
                  <a:pt x="262" y="669"/>
                </a:lnTo>
                <a:lnTo>
                  <a:pt x="262" y="671"/>
                </a:lnTo>
                <a:lnTo>
                  <a:pt x="262" y="671"/>
                </a:lnTo>
                <a:lnTo>
                  <a:pt x="264" y="679"/>
                </a:lnTo>
                <a:lnTo>
                  <a:pt x="264" y="683"/>
                </a:lnTo>
                <a:lnTo>
                  <a:pt x="267" y="689"/>
                </a:lnTo>
                <a:lnTo>
                  <a:pt x="271" y="690"/>
                </a:lnTo>
                <a:lnTo>
                  <a:pt x="275" y="692"/>
                </a:lnTo>
                <a:lnTo>
                  <a:pt x="281" y="694"/>
                </a:lnTo>
                <a:lnTo>
                  <a:pt x="286" y="696"/>
                </a:lnTo>
                <a:lnTo>
                  <a:pt x="290" y="696"/>
                </a:lnTo>
                <a:lnTo>
                  <a:pt x="290" y="696"/>
                </a:lnTo>
                <a:lnTo>
                  <a:pt x="300" y="694"/>
                </a:lnTo>
                <a:lnTo>
                  <a:pt x="309" y="690"/>
                </a:lnTo>
                <a:lnTo>
                  <a:pt x="321" y="687"/>
                </a:lnTo>
                <a:lnTo>
                  <a:pt x="330" y="681"/>
                </a:lnTo>
                <a:lnTo>
                  <a:pt x="338" y="673"/>
                </a:lnTo>
                <a:lnTo>
                  <a:pt x="346" y="666"/>
                </a:lnTo>
                <a:lnTo>
                  <a:pt x="349" y="658"/>
                </a:lnTo>
                <a:lnTo>
                  <a:pt x="349" y="650"/>
                </a:lnTo>
                <a:lnTo>
                  <a:pt x="349" y="650"/>
                </a:lnTo>
                <a:lnTo>
                  <a:pt x="351" y="643"/>
                </a:lnTo>
                <a:lnTo>
                  <a:pt x="355" y="637"/>
                </a:lnTo>
                <a:lnTo>
                  <a:pt x="363" y="631"/>
                </a:lnTo>
                <a:lnTo>
                  <a:pt x="372" y="628"/>
                </a:lnTo>
                <a:lnTo>
                  <a:pt x="382" y="624"/>
                </a:lnTo>
                <a:lnTo>
                  <a:pt x="391" y="620"/>
                </a:lnTo>
                <a:lnTo>
                  <a:pt x="399" y="616"/>
                </a:lnTo>
                <a:lnTo>
                  <a:pt x="407" y="610"/>
                </a:lnTo>
                <a:lnTo>
                  <a:pt x="407" y="610"/>
                </a:lnTo>
                <a:lnTo>
                  <a:pt x="410" y="607"/>
                </a:lnTo>
                <a:lnTo>
                  <a:pt x="412" y="601"/>
                </a:lnTo>
                <a:lnTo>
                  <a:pt x="414" y="595"/>
                </a:lnTo>
                <a:lnTo>
                  <a:pt x="418" y="589"/>
                </a:lnTo>
                <a:lnTo>
                  <a:pt x="420" y="582"/>
                </a:lnTo>
                <a:lnTo>
                  <a:pt x="422" y="576"/>
                </a:lnTo>
                <a:lnTo>
                  <a:pt x="422" y="566"/>
                </a:lnTo>
                <a:lnTo>
                  <a:pt x="424" y="559"/>
                </a:lnTo>
                <a:lnTo>
                  <a:pt x="424" y="551"/>
                </a:lnTo>
                <a:lnTo>
                  <a:pt x="426" y="544"/>
                </a:lnTo>
                <a:lnTo>
                  <a:pt x="426" y="534"/>
                </a:lnTo>
                <a:lnTo>
                  <a:pt x="426" y="526"/>
                </a:lnTo>
                <a:lnTo>
                  <a:pt x="428" y="519"/>
                </a:lnTo>
                <a:lnTo>
                  <a:pt x="428" y="511"/>
                </a:lnTo>
                <a:lnTo>
                  <a:pt x="428" y="504"/>
                </a:lnTo>
                <a:lnTo>
                  <a:pt x="428" y="498"/>
                </a:lnTo>
                <a:lnTo>
                  <a:pt x="428" y="498"/>
                </a:lnTo>
                <a:lnTo>
                  <a:pt x="428" y="486"/>
                </a:lnTo>
                <a:lnTo>
                  <a:pt x="430" y="477"/>
                </a:lnTo>
                <a:lnTo>
                  <a:pt x="433" y="467"/>
                </a:lnTo>
                <a:lnTo>
                  <a:pt x="437" y="458"/>
                </a:lnTo>
                <a:lnTo>
                  <a:pt x="443" y="448"/>
                </a:lnTo>
                <a:lnTo>
                  <a:pt x="449" y="441"/>
                </a:lnTo>
                <a:lnTo>
                  <a:pt x="454" y="431"/>
                </a:lnTo>
                <a:lnTo>
                  <a:pt x="462" y="423"/>
                </a:lnTo>
                <a:lnTo>
                  <a:pt x="470" y="416"/>
                </a:lnTo>
                <a:lnTo>
                  <a:pt x="477" y="408"/>
                </a:lnTo>
                <a:lnTo>
                  <a:pt x="483" y="400"/>
                </a:lnTo>
                <a:lnTo>
                  <a:pt x="491" y="393"/>
                </a:lnTo>
                <a:lnTo>
                  <a:pt x="498" y="387"/>
                </a:lnTo>
                <a:lnTo>
                  <a:pt x="504" y="380"/>
                </a:lnTo>
                <a:lnTo>
                  <a:pt x="510" y="374"/>
                </a:lnTo>
                <a:lnTo>
                  <a:pt x="515" y="368"/>
                </a:lnTo>
                <a:lnTo>
                  <a:pt x="515" y="368"/>
                </a:lnTo>
                <a:lnTo>
                  <a:pt x="519" y="362"/>
                </a:lnTo>
                <a:lnTo>
                  <a:pt x="523" y="357"/>
                </a:lnTo>
                <a:lnTo>
                  <a:pt x="525" y="351"/>
                </a:lnTo>
                <a:lnTo>
                  <a:pt x="529" y="345"/>
                </a:lnTo>
                <a:lnTo>
                  <a:pt x="533" y="339"/>
                </a:lnTo>
                <a:lnTo>
                  <a:pt x="534" y="334"/>
                </a:lnTo>
                <a:lnTo>
                  <a:pt x="538" y="326"/>
                </a:lnTo>
                <a:lnTo>
                  <a:pt x="540" y="320"/>
                </a:lnTo>
                <a:lnTo>
                  <a:pt x="542" y="315"/>
                </a:lnTo>
                <a:lnTo>
                  <a:pt x="546" y="307"/>
                </a:lnTo>
                <a:lnTo>
                  <a:pt x="548" y="301"/>
                </a:lnTo>
                <a:lnTo>
                  <a:pt x="550" y="296"/>
                </a:lnTo>
                <a:lnTo>
                  <a:pt x="554" y="288"/>
                </a:lnTo>
                <a:lnTo>
                  <a:pt x="555" y="282"/>
                </a:lnTo>
                <a:lnTo>
                  <a:pt x="557" y="276"/>
                </a:lnTo>
                <a:lnTo>
                  <a:pt x="561" y="271"/>
                </a:lnTo>
                <a:lnTo>
                  <a:pt x="561" y="208"/>
                </a:lnTo>
                <a:lnTo>
                  <a:pt x="561" y="208"/>
                </a:lnTo>
                <a:lnTo>
                  <a:pt x="561" y="202"/>
                </a:lnTo>
                <a:lnTo>
                  <a:pt x="563" y="196"/>
                </a:lnTo>
                <a:lnTo>
                  <a:pt x="565" y="193"/>
                </a:lnTo>
                <a:lnTo>
                  <a:pt x="567" y="187"/>
                </a:lnTo>
                <a:lnTo>
                  <a:pt x="567" y="183"/>
                </a:lnTo>
                <a:lnTo>
                  <a:pt x="567" y="177"/>
                </a:lnTo>
                <a:lnTo>
                  <a:pt x="569" y="173"/>
                </a:lnTo>
                <a:lnTo>
                  <a:pt x="569" y="170"/>
                </a:lnTo>
                <a:lnTo>
                  <a:pt x="571" y="164"/>
                </a:lnTo>
                <a:lnTo>
                  <a:pt x="571" y="160"/>
                </a:lnTo>
                <a:lnTo>
                  <a:pt x="571" y="156"/>
                </a:lnTo>
                <a:lnTo>
                  <a:pt x="573" y="152"/>
                </a:lnTo>
                <a:lnTo>
                  <a:pt x="575" y="147"/>
                </a:lnTo>
                <a:lnTo>
                  <a:pt x="575" y="143"/>
                </a:lnTo>
                <a:lnTo>
                  <a:pt x="576" y="137"/>
                </a:lnTo>
                <a:lnTo>
                  <a:pt x="578" y="131"/>
                </a:lnTo>
                <a:lnTo>
                  <a:pt x="575" y="131"/>
                </a:lnTo>
                <a:lnTo>
                  <a:pt x="575" y="131"/>
                </a:lnTo>
                <a:lnTo>
                  <a:pt x="580" y="120"/>
                </a:lnTo>
                <a:lnTo>
                  <a:pt x="584" y="112"/>
                </a:lnTo>
                <a:lnTo>
                  <a:pt x="590" y="105"/>
                </a:lnTo>
                <a:lnTo>
                  <a:pt x="596" y="99"/>
                </a:lnTo>
                <a:lnTo>
                  <a:pt x="601" y="91"/>
                </a:lnTo>
                <a:lnTo>
                  <a:pt x="607" y="84"/>
                </a:lnTo>
                <a:lnTo>
                  <a:pt x="611" y="76"/>
                </a:lnTo>
                <a:lnTo>
                  <a:pt x="616" y="67"/>
                </a:lnTo>
                <a:lnTo>
                  <a:pt x="616" y="67"/>
                </a:lnTo>
                <a:lnTo>
                  <a:pt x="618" y="59"/>
                </a:lnTo>
                <a:lnTo>
                  <a:pt x="618" y="51"/>
                </a:lnTo>
                <a:lnTo>
                  <a:pt x="620" y="44"/>
                </a:lnTo>
                <a:lnTo>
                  <a:pt x="620" y="36"/>
                </a:lnTo>
                <a:lnTo>
                  <a:pt x="620" y="28"/>
                </a:lnTo>
                <a:lnTo>
                  <a:pt x="618" y="21"/>
                </a:lnTo>
                <a:lnTo>
                  <a:pt x="618" y="15"/>
                </a:lnTo>
                <a:lnTo>
                  <a:pt x="616" y="7"/>
                </a:lnTo>
                <a:lnTo>
                  <a:pt x="561" y="7"/>
                </a:lnTo>
                <a:lnTo>
                  <a:pt x="561" y="7"/>
                </a:lnTo>
                <a:lnTo>
                  <a:pt x="554" y="6"/>
                </a:lnTo>
                <a:lnTo>
                  <a:pt x="548" y="4"/>
                </a:lnTo>
                <a:lnTo>
                  <a:pt x="542" y="2"/>
                </a:lnTo>
                <a:lnTo>
                  <a:pt x="536" y="0"/>
                </a:lnTo>
                <a:lnTo>
                  <a:pt x="531" y="0"/>
                </a:lnTo>
                <a:lnTo>
                  <a:pt x="523" y="0"/>
                </a:lnTo>
                <a:lnTo>
                  <a:pt x="517" y="0"/>
                </a:lnTo>
                <a:lnTo>
                  <a:pt x="510" y="0"/>
                </a:lnTo>
                <a:lnTo>
                  <a:pt x="510" y="0"/>
                </a:lnTo>
                <a:lnTo>
                  <a:pt x="496" y="0"/>
                </a:lnTo>
                <a:lnTo>
                  <a:pt x="487" y="2"/>
                </a:lnTo>
                <a:lnTo>
                  <a:pt x="475" y="4"/>
                </a:lnTo>
                <a:lnTo>
                  <a:pt x="468" y="7"/>
                </a:lnTo>
                <a:lnTo>
                  <a:pt x="460" y="11"/>
                </a:lnTo>
                <a:lnTo>
                  <a:pt x="454" y="17"/>
                </a:lnTo>
                <a:lnTo>
                  <a:pt x="449" y="23"/>
                </a:lnTo>
                <a:lnTo>
                  <a:pt x="445" y="30"/>
                </a:lnTo>
                <a:lnTo>
                  <a:pt x="441" y="38"/>
                </a:lnTo>
                <a:lnTo>
                  <a:pt x="437" y="46"/>
                </a:lnTo>
                <a:lnTo>
                  <a:pt x="433" y="53"/>
                </a:lnTo>
                <a:lnTo>
                  <a:pt x="431" y="61"/>
                </a:lnTo>
                <a:lnTo>
                  <a:pt x="428" y="70"/>
                </a:lnTo>
                <a:lnTo>
                  <a:pt x="426" y="80"/>
                </a:lnTo>
                <a:lnTo>
                  <a:pt x="422" y="88"/>
                </a:lnTo>
                <a:lnTo>
                  <a:pt x="418" y="97"/>
                </a:lnTo>
                <a:lnTo>
                  <a:pt x="418" y="9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5" name="Freeform 25"/>
          <p:cNvSpPr>
            <a:spLocks/>
          </p:cNvSpPr>
          <p:nvPr/>
        </p:nvSpPr>
        <p:spPr bwMode="auto">
          <a:xfrm>
            <a:off x="2663825" y="4254402"/>
            <a:ext cx="65088" cy="88900"/>
          </a:xfrm>
          <a:custGeom>
            <a:avLst/>
            <a:gdLst>
              <a:gd name="T0" fmla="*/ 21 w 73"/>
              <a:gd name="T1" fmla="*/ 97 h 101"/>
              <a:gd name="T2" fmla="*/ 29 w 73"/>
              <a:gd name="T3" fmla="*/ 95 h 101"/>
              <a:gd name="T4" fmla="*/ 33 w 73"/>
              <a:gd name="T5" fmla="*/ 90 h 101"/>
              <a:gd name="T6" fmla="*/ 36 w 73"/>
              <a:gd name="T7" fmla="*/ 84 h 101"/>
              <a:gd name="T8" fmla="*/ 36 w 73"/>
              <a:gd name="T9" fmla="*/ 74 h 101"/>
              <a:gd name="T10" fmla="*/ 36 w 73"/>
              <a:gd name="T11" fmla="*/ 65 h 101"/>
              <a:gd name="T12" fmla="*/ 36 w 73"/>
              <a:gd name="T13" fmla="*/ 55 h 101"/>
              <a:gd name="T14" fmla="*/ 36 w 73"/>
              <a:gd name="T15" fmla="*/ 46 h 101"/>
              <a:gd name="T16" fmla="*/ 38 w 73"/>
              <a:gd name="T17" fmla="*/ 38 h 101"/>
              <a:gd name="T18" fmla="*/ 42 w 73"/>
              <a:gd name="T19" fmla="*/ 32 h 101"/>
              <a:gd name="T20" fmla="*/ 46 w 73"/>
              <a:gd name="T21" fmla="*/ 29 h 101"/>
              <a:gd name="T22" fmla="*/ 50 w 73"/>
              <a:gd name="T23" fmla="*/ 25 h 101"/>
              <a:gd name="T24" fmla="*/ 55 w 73"/>
              <a:gd name="T25" fmla="*/ 23 h 101"/>
              <a:gd name="T26" fmla="*/ 59 w 73"/>
              <a:gd name="T27" fmla="*/ 19 h 101"/>
              <a:gd name="T28" fmla="*/ 65 w 73"/>
              <a:gd name="T29" fmla="*/ 17 h 101"/>
              <a:gd name="T30" fmla="*/ 69 w 73"/>
              <a:gd name="T31" fmla="*/ 13 h 101"/>
              <a:gd name="T32" fmla="*/ 73 w 73"/>
              <a:gd name="T33" fmla="*/ 9 h 101"/>
              <a:gd name="T34" fmla="*/ 73 w 73"/>
              <a:gd name="T35" fmla="*/ 8 h 101"/>
              <a:gd name="T36" fmla="*/ 71 w 73"/>
              <a:gd name="T37" fmla="*/ 8 h 101"/>
              <a:gd name="T38" fmla="*/ 67 w 73"/>
              <a:gd name="T39" fmla="*/ 6 h 101"/>
              <a:gd name="T40" fmla="*/ 65 w 73"/>
              <a:gd name="T41" fmla="*/ 4 h 101"/>
              <a:gd name="T42" fmla="*/ 61 w 73"/>
              <a:gd name="T43" fmla="*/ 2 h 101"/>
              <a:gd name="T44" fmla="*/ 57 w 73"/>
              <a:gd name="T45" fmla="*/ 2 h 101"/>
              <a:gd name="T46" fmla="*/ 55 w 73"/>
              <a:gd name="T47" fmla="*/ 0 h 101"/>
              <a:gd name="T48" fmla="*/ 54 w 73"/>
              <a:gd name="T49" fmla="*/ 0 h 101"/>
              <a:gd name="T50" fmla="*/ 48 w 73"/>
              <a:gd name="T51" fmla="*/ 2 h 101"/>
              <a:gd name="T52" fmla="*/ 42 w 73"/>
              <a:gd name="T53" fmla="*/ 6 h 101"/>
              <a:gd name="T54" fmla="*/ 34 w 73"/>
              <a:gd name="T55" fmla="*/ 11 h 101"/>
              <a:gd name="T56" fmla="*/ 25 w 73"/>
              <a:gd name="T57" fmla="*/ 17 h 101"/>
              <a:gd name="T58" fmla="*/ 17 w 73"/>
              <a:gd name="T59" fmla="*/ 25 h 101"/>
              <a:gd name="T60" fmla="*/ 10 w 73"/>
              <a:gd name="T61" fmla="*/ 30 h 101"/>
              <a:gd name="T62" fmla="*/ 4 w 73"/>
              <a:gd name="T63" fmla="*/ 36 h 101"/>
              <a:gd name="T64" fmla="*/ 0 w 73"/>
              <a:gd name="T65" fmla="*/ 42 h 101"/>
              <a:gd name="T66" fmla="*/ 2 w 73"/>
              <a:gd name="T67" fmla="*/ 42 h 101"/>
              <a:gd name="T68" fmla="*/ 4 w 73"/>
              <a:gd name="T69" fmla="*/ 50 h 101"/>
              <a:gd name="T70" fmla="*/ 6 w 73"/>
              <a:gd name="T71" fmla="*/ 55 h 101"/>
              <a:gd name="T72" fmla="*/ 8 w 73"/>
              <a:gd name="T73" fmla="*/ 63 h 101"/>
              <a:gd name="T74" fmla="*/ 10 w 73"/>
              <a:gd name="T75" fmla="*/ 69 h 101"/>
              <a:gd name="T76" fmla="*/ 13 w 73"/>
              <a:gd name="T77" fmla="*/ 76 h 101"/>
              <a:gd name="T78" fmla="*/ 15 w 73"/>
              <a:gd name="T79" fmla="*/ 82 h 101"/>
              <a:gd name="T80" fmla="*/ 19 w 73"/>
              <a:gd name="T81" fmla="*/ 92 h 101"/>
              <a:gd name="T82" fmla="*/ 21 w 73"/>
              <a:gd name="T83" fmla="*/ 101 h 101"/>
              <a:gd name="T84" fmla="*/ 21 w 73"/>
              <a:gd name="T85"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3" h="101">
                <a:moveTo>
                  <a:pt x="21" y="97"/>
                </a:moveTo>
                <a:lnTo>
                  <a:pt x="29" y="95"/>
                </a:lnTo>
                <a:lnTo>
                  <a:pt x="33" y="90"/>
                </a:lnTo>
                <a:lnTo>
                  <a:pt x="36" y="84"/>
                </a:lnTo>
                <a:lnTo>
                  <a:pt x="36" y="74"/>
                </a:lnTo>
                <a:lnTo>
                  <a:pt x="36" y="65"/>
                </a:lnTo>
                <a:lnTo>
                  <a:pt x="36" y="55"/>
                </a:lnTo>
                <a:lnTo>
                  <a:pt x="36" y="46"/>
                </a:lnTo>
                <a:lnTo>
                  <a:pt x="38" y="38"/>
                </a:lnTo>
                <a:lnTo>
                  <a:pt x="42" y="32"/>
                </a:lnTo>
                <a:lnTo>
                  <a:pt x="46" y="29"/>
                </a:lnTo>
                <a:lnTo>
                  <a:pt x="50" y="25"/>
                </a:lnTo>
                <a:lnTo>
                  <a:pt x="55" y="23"/>
                </a:lnTo>
                <a:lnTo>
                  <a:pt x="59" y="19"/>
                </a:lnTo>
                <a:lnTo>
                  <a:pt x="65" y="17"/>
                </a:lnTo>
                <a:lnTo>
                  <a:pt x="69" y="13"/>
                </a:lnTo>
                <a:lnTo>
                  <a:pt x="73" y="9"/>
                </a:lnTo>
                <a:lnTo>
                  <a:pt x="73" y="8"/>
                </a:lnTo>
                <a:lnTo>
                  <a:pt x="71" y="8"/>
                </a:lnTo>
                <a:lnTo>
                  <a:pt x="67" y="6"/>
                </a:lnTo>
                <a:lnTo>
                  <a:pt x="65" y="4"/>
                </a:lnTo>
                <a:lnTo>
                  <a:pt x="61" y="2"/>
                </a:lnTo>
                <a:lnTo>
                  <a:pt x="57" y="2"/>
                </a:lnTo>
                <a:lnTo>
                  <a:pt x="55" y="0"/>
                </a:lnTo>
                <a:lnTo>
                  <a:pt x="54" y="0"/>
                </a:lnTo>
                <a:lnTo>
                  <a:pt x="48" y="2"/>
                </a:lnTo>
                <a:lnTo>
                  <a:pt x="42" y="6"/>
                </a:lnTo>
                <a:lnTo>
                  <a:pt x="34" y="11"/>
                </a:lnTo>
                <a:lnTo>
                  <a:pt x="25" y="17"/>
                </a:lnTo>
                <a:lnTo>
                  <a:pt x="17" y="25"/>
                </a:lnTo>
                <a:lnTo>
                  <a:pt x="10" y="30"/>
                </a:lnTo>
                <a:lnTo>
                  <a:pt x="4" y="36"/>
                </a:lnTo>
                <a:lnTo>
                  <a:pt x="0" y="42"/>
                </a:lnTo>
                <a:lnTo>
                  <a:pt x="2" y="42"/>
                </a:lnTo>
                <a:lnTo>
                  <a:pt x="4" y="50"/>
                </a:lnTo>
                <a:lnTo>
                  <a:pt x="6" y="55"/>
                </a:lnTo>
                <a:lnTo>
                  <a:pt x="8" y="63"/>
                </a:lnTo>
                <a:lnTo>
                  <a:pt x="10" y="69"/>
                </a:lnTo>
                <a:lnTo>
                  <a:pt x="13" y="76"/>
                </a:lnTo>
                <a:lnTo>
                  <a:pt x="15" y="82"/>
                </a:lnTo>
                <a:lnTo>
                  <a:pt x="19" y="92"/>
                </a:lnTo>
                <a:lnTo>
                  <a:pt x="21" y="101"/>
                </a:lnTo>
                <a:lnTo>
                  <a:pt x="21" y="97"/>
                </a:lnTo>
                <a:close/>
              </a:path>
            </a:pathLst>
          </a:custGeom>
          <a:solidFill>
            <a:schemeClr val="accent1"/>
          </a:solidFill>
          <a:ln w="9525" cmpd="sng">
            <a:solidFill>
              <a:schemeClr val="tx1"/>
            </a:solidFill>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6" name="Freeform 26"/>
          <p:cNvSpPr>
            <a:spLocks/>
          </p:cNvSpPr>
          <p:nvPr/>
        </p:nvSpPr>
        <p:spPr bwMode="auto">
          <a:xfrm>
            <a:off x="2663825" y="4254402"/>
            <a:ext cx="65088" cy="88900"/>
          </a:xfrm>
          <a:custGeom>
            <a:avLst/>
            <a:gdLst>
              <a:gd name="T0" fmla="*/ 21 w 73"/>
              <a:gd name="T1" fmla="*/ 97 h 101"/>
              <a:gd name="T2" fmla="*/ 21 w 73"/>
              <a:gd name="T3" fmla="*/ 97 h 101"/>
              <a:gd name="T4" fmla="*/ 29 w 73"/>
              <a:gd name="T5" fmla="*/ 95 h 101"/>
              <a:gd name="T6" fmla="*/ 33 w 73"/>
              <a:gd name="T7" fmla="*/ 90 h 101"/>
              <a:gd name="T8" fmla="*/ 36 w 73"/>
              <a:gd name="T9" fmla="*/ 84 h 101"/>
              <a:gd name="T10" fmla="*/ 36 w 73"/>
              <a:gd name="T11" fmla="*/ 74 h 101"/>
              <a:gd name="T12" fmla="*/ 36 w 73"/>
              <a:gd name="T13" fmla="*/ 65 h 101"/>
              <a:gd name="T14" fmla="*/ 36 w 73"/>
              <a:gd name="T15" fmla="*/ 55 h 101"/>
              <a:gd name="T16" fmla="*/ 36 w 73"/>
              <a:gd name="T17" fmla="*/ 46 h 101"/>
              <a:gd name="T18" fmla="*/ 38 w 73"/>
              <a:gd name="T19" fmla="*/ 38 h 101"/>
              <a:gd name="T20" fmla="*/ 38 w 73"/>
              <a:gd name="T21" fmla="*/ 38 h 101"/>
              <a:gd name="T22" fmla="*/ 42 w 73"/>
              <a:gd name="T23" fmla="*/ 32 h 101"/>
              <a:gd name="T24" fmla="*/ 46 w 73"/>
              <a:gd name="T25" fmla="*/ 29 h 101"/>
              <a:gd name="T26" fmla="*/ 50 w 73"/>
              <a:gd name="T27" fmla="*/ 25 h 101"/>
              <a:gd name="T28" fmla="*/ 55 w 73"/>
              <a:gd name="T29" fmla="*/ 23 h 101"/>
              <a:gd name="T30" fmla="*/ 59 w 73"/>
              <a:gd name="T31" fmla="*/ 19 h 101"/>
              <a:gd name="T32" fmla="*/ 65 w 73"/>
              <a:gd name="T33" fmla="*/ 17 h 101"/>
              <a:gd name="T34" fmla="*/ 69 w 73"/>
              <a:gd name="T35" fmla="*/ 13 h 101"/>
              <a:gd name="T36" fmla="*/ 73 w 73"/>
              <a:gd name="T37" fmla="*/ 9 h 101"/>
              <a:gd name="T38" fmla="*/ 73 w 73"/>
              <a:gd name="T39" fmla="*/ 9 h 101"/>
              <a:gd name="T40" fmla="*/ 73 w 73"/>
              <a:gd name="T41" fmla="*/ 8 h 101"/>
              <a:gd name="T42" fmla="*/ 71 w 73"/>
              <a:gd name="T43" fmla="*/ 8 h 101"/>
              <a:gd name="T44" fmla="*/ 67 w 73"/>
              <a:gd name="T45" fmla="*/ 6 h 101"/>
              <a:gd name="T46" fmla="*/ 65 w 73"/>
              <a:gd name="T47" fmla="*/ 4 h 101"/>
              <a:gd name="T48" fmla="*/ 61 w 73"/>
              <a:gd name="T49" fmla="*/ 2 h 101"/>
              <a:gd name="T50" fmla="*/ 57 w 73"/>
              <a:gd name="T51" fmla="*/ 2 h 101"/>
              <a:gd name="T52" fmla="*/ 55 w 73"/>
              <a:gd name="T53" fmla="*/ 0 h 101"/>
              <a:gd name="T54" fmla="*/ 54 w 73"/>
              <a:gd name="T55" fmla="*/ 0 h 101"/>
              <a:gd name="T56" fmla="*/ 54 w 73"/>
              <a:gd name="T57" fmla="*/ 0 h 101"/>
              <a:gd name="T58" fmla="*/ 48 w 73"/>
              <a:gd name="T59" fmla="*/ 2 h 101"/>
              <a:gd name="T60" fmla="*/ 42 w 73"/>
              <a:gd name="T61" fmla="*/ 6 h 101"/>
              <a:gd name="T62" fmla="*/ 34 w 73"/>
              <a:gd name="T63" fmla="*/ 11 h 101"/>
              <a:gd name="T64" fmla="*/ 25 w 73"/>
              <a:gd name="T65" fmla="*/ 17 h 101"/>
              <a:gd name="T66" fmla="*/ 17 w 73"/>
              <a:gd name="T67" fmla="*/ 25 h 101"/>
              <a:gd name="T68" fmla="*/ 10 w 73"/>
              <a:gd name="T69" fmla="*/ 30 h 101"/>
              <a:gd name="T70" fmla="*/ 4 w 73"/>
              <a:gd name="T71" fmla="*/ 36 h 101"/>
              <a:gd name="T72" fmla="*/ 0 w 73"/>
              <a:gd name="T73" fmla="*/ 42 h 101"/>
              <a:gd name="T74" fmla="*/ 2 w 73"/>
              <a:gd name="T75" fmla="*/ 42 h 101"/>
              <a:gd name="T76" fmla="*/ 2 w 73"/>
              <a:gd name="T77" fmla="*/ 42 h 101"/>
              <a:gd name="T78" fmla="*/ 4 w 73"/>
              <a:gd name="T79" fmla="*/ 50 h 101"/>
              <a:gd name="T80" fmla="*/ 6 w 73"/>
              <a:gd name="T81" fmla="*/ 55 h 101"/>
              <a:gd name="T82" fmla="*/ 8 w 73"/>
              <a:gd name="T83" fmla="*/ 63 h 101"/>
              <a:gd name="T84" fmla="*/ 10 w 73"/>
              <a:gd name="T85" fmla="*/ 69 h 101"/>
              <a:gd name="T86" fmla="*/ 13 w 73"/>
              <a:gd name="T87" fmla="*/ 76 h 101"/>
              <a:gd name="T88" fmla="*/ 15 w 73"/>
              <a:gd name="T89" fmla="*/ 82 h 101"/>
              <a:gd name="T90" fmla="*/ 19 w 73"/>
              <a:gd name="T91" fmla="*/ 92 h 101"/>
              <a:gd name="T92" fmla="*/ 21 w 73"/>
              <a:gd name="T93" fmla="*/ 101 h 101"/>
              <a:gd name="T94" fmla="*/ 21 w 73"/>
              <a:gd name="T95" fmla="*/ 9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 h="101">
                <a:moveTo>
                  <a:pt x="21" y="97"/>
                </a:moveTo>
                <a:lnTo>
                  <a:pt x="21" y="97"/>
                </a:lnTo>
                <a:lnTo>
                  <a:pt x="29" y="95"/>
                </a:lnTo>
                <a:lnTo>
                  <a:pt x="33" y="90"/>
                </a:lnTo>
                <a:lnTo>
                  <a:pt x="36" y="84"/>
                </a:lnTo>
                <a:lnTo>
                  <a:pt x="36" y="74"/>
                </a:lnTo>
                <a:lnTo>
                  <a:pt x="36" y="65"/>
                </a:lnTo>
                <a:lnTo>
                  <a:pt x="36" y="55"/>
                </a:lnTo>
                <a:lnTo>
                  <a:pt x="36" y="46"/>
                </a:lnTo>
                <a:lnTo>
                  <a:pt x="38" y="38"/>
                </a:lnTo>
                <a:lnTo>
                  <a:pt x="38" y="38"/>
                </a:lnTo>
                <a:lnTo>
                  <a:pt x="42" y="32"/>
                </a:lnTo>
                <a:lnTo>
                  <a:pt x="46" y="29"/>
                </a:lnTo>
                <a:lnTo>
                  <a:pt x="50" y="25"/>
                </a:lnTo>
                <a:lnTo>
                  <a:pt x="55" y="23"/>
                </a:lnTo>
                <a:lnTo>
                  <a:pt x="59" y="19"/>
                </a:lnTo>
                <a:lnTo>
                  <a:pt x="65" y="17"/>
                </a:lnTo>
                <a:lnTo>
                  <a:pt x="69" y="13"/>
                </a:lnTo>
                <a:lnTo>
                  <a:pt x="73" y="9"/>
                </a:lnTo>
                <a:lnTo>
                  <a:pt x="73" y="9"/>
                </a:lnTo>
                <a:lnTo>
                  <a:pt x="73" y="8"/>
                </a:lnTo>
                <a:lnTo>
                  <a:pt x="71" y="8"/>
                </a:lnTo>
                <a:lnTo>
                  <a:pt x="67" y="6"/>
                </a:lnTo>
                <a:lnTo>
                  <a:pt x="65" y="4"/>
                </a:lnTo>
                <a:lnTo>
                  <a:pt x="61" y="2"/>
                </a:lnTo>
                <a:lnTo>
                  <a:pt x="57" y="2"/>
                </a:lnTo>
                <a:lnTo>
                  <a:pt x="55" y="0"/>
                </a:lnTo>
                <a:lnTo>
                  <a:pt x="54" y="0"/>
                </a:lnTo>
                <a:lnTo>
                  <a:pt x="54" y="0"/>
                </a:lnTo>
                <a:lnTo>
                  <a:pt x="48" y="2"/>
                </a:lnTo>
                <a:lnTo>
                  <a:pt x="42" y="6"/>
                </a:lnTo>
                <a:lnTo>
                  <a:pt x="34" y="11"/>
                </a:lnTo>
                <a:lnTo>
                  <a:pt x="25" y="17"/>
                </a:lnTo>
                <a:lnTo>
                  <a:pt x="17" y="25"/>
                </a:lnTo>
                <a:lnTo>
                  <a:pt x="10" y="30"/>
                </a:lnTo>
                <a:lnTo>
                  <a:pt x="4" y="36"/>
                </a:lnTo>
                <a:lnTo>
                  <a:pt x="0" y="42"/>
                </a:lnTo>
                <a:lnTo>
                  <a:pt x="2" y="42"/>
                </a:lnTo>
                <a:lnTo>
                  <a:pt x="2" y="42"/>
                </a:lnTo>
                <a:lnTo>
                  <a:pt x="4" y="50"/>
                </a:lnTo>
                <a:lnTo>
                  <a:pt x="6" y="55"/>
                </a:lnTo>
                <a:lnTo>
                  <a:pt x="8" y="63"/>
                </a:lnTo>
                <a:lnTo>
                  <a:pt x="10" y="69"/>
                </a:lnTo>
                <a:lnTo>
                  <a:pt x="13" y="76"/>
                </a:lnTo>
                <a:lnTo>
                  <a:pt x="15" y="82"/>
                </a:lnTo>
                <a:lnTo>
                  <a:pt x="19" y="92"/>
                </a:lnTo>
                <a:lnTo>
                  <a:pt x="21" y="101"/>
                </a:lnTo>
                <a:lnTo>
                  <a:pt x="21" y="97"/>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7" name="Freeform 27"/>
          <p:cNvSpPr>
            <a:spLocks/>
          </p:cNvSpPr>
          <p:nvPr/>
        </p:nvSpPr>
        <p:spPr bwMode="auto">
          <a:xfrm>
            <a:off x="2425700" y="3784502"/>
            <a:ext cx="407988" cy="415925"/>
          </a:xfrm>
          <a:custGeom>
            <a:avLst/>
            <a:gdLst>
              <a:gd name="T0" fmla="*/ 351 w 454"/>
              <a:gd name="T1" fmla="*/ 11 h 477"/>
              <a:gd name="T2" fmla="*/ 347 w 454"/>
              <a:gd name="T3" fmla="*/ 27 h 477"/>
              <a:gd name="T4" fmla="*/ 345 w 454"/>
              <a:gd name="T5" fmla="*/ 42 h 477"/>
              <a:gd name="T6" fmla="*/ 345 w 454"/>
              <a:gd name="T7" fmla="*/ 67 h 477"/>
              <a:gd name="T8" fmla="*/ 345 w 454"/>
              <a:gd name="T9" fmla="*/ 88 h 477"/>
              <a:gd name="T10" fmla="*/ 364 w 454"/>
              <a:gd name="T11" fmla="*/ 86 h 477"/>
              <a:gd name="T12" fmla="*/ 379 w 454"/>
              <a:gd name="T13" fmla="*/ 78 h 477"/>
              <a:gd name="T14" fmla="*/ 395 w 454"/>
              <a:gd name="T15" fmla="*/ 73 h 477"/>
              <a:gd name="T16" fmla="*/ 414 w 454"/>
              <a:gd name="T17" fmla="*/ 71 h 477"/>
              <a:gd name="T18" fmla="*/ 433 w 454"/>
              <a:gd name="T19" fmla="*/ 78 h 477"/>
              <a:gd name="T20" fmla="*/ 446 w 454"/>
              <a:gd name="T21" fmla="*/ 103 h 477"/>
              <a:gd name="T22" fmla="*/ 439 w 454"/>
              <a:gd name="T23" fmla="*/ 128 h 477"/>
              <a:gd name="T24" fmla="*/ 406 w 454"/>
              <a:gd name="T25" fmla="*/ 153 h 477"/>
              <a:gd name="T26" fmla="*/ 402 w 454"/>
              <a:gd name="T27" fmla="*/ 183 h 477"/>
              <a:gd name="T28" fmla="*/ 437 w 454"/>
              <a:gd name="T29" fmla="*/ 204 h 477"/>
              <a:gd name="T30" fmla="*/ 454 w 454"/>
              <a:gd name="T31" fmla="*/ 227 h 477"/>
              <a:gd name="T32" fmla="*/ 452 w 454"/>
              <a:gd name="T33" fmla="*/ 258 h 477"/>
              <a:gd name="T34" fmla="*/ 444 w 454"/>
              <a:gd name="T35" fmla="*/ 290 h 477"/>
              <a:gd name="T36" fmla="*/ 437 w 454"/>
              <a:gd name="T37" fmla="*/ 322 h 477"/>
              <a:gd name="T38" fmla="*/ 429 w 454"/>
              <a:gd name="T39" fmla="*/ 345 h 477"/>
              <a:gd name="T40" fmla="*/ 427 w 454"/>
              <a:gd name="T41" fmla="*/ 357 h 477"/>
              <a:gd name="T42" fmla="*/ 418 w 454"/>
              <a:gd name="T43" fmla="*/ 368 h 477"/>
              <a:gd name="T44" fmla="*/ 412 w 454"/>
              <a:gd name="T45" fmla="*/ 366 h 477"/>
              <a:gd name="T46" fmla="*/ 400 w 454"/>
              <a:gd name="T47" fmla="*/ 353 h 477"/>
              <a:gd name="T48" fmla="*/ 393 w 454"/>
              <a:gd name="T49" fmla="*/ 349 h 477"/>
              <a:gd name="T50" fmla="*/ 378 w 454"/>
              <a:gd name="T51" fmla="*/ 359 h 477"/>
              <a:gd name="T52" fmla="*/ 360 w 454"/>
              <a:gd name="T53" fmla="*/ 363 h 477"/>
              <a:gd name="T54" fmla="*/ 334 w 454"/>
              <a:gd name="T55" fmla="*/ 343 h 477"/>
              <a:gd name="T56" fmla="*/ 313 w 454"/>
              <a:gd name="T57" fmla="*/ 324 h 477"/>
              <a:gd name="T58" fmla="*/ 297 w 454"/>
              <a:gd name="T59" fmla="*/ 332 h 477"/>
              <a:gd name="T60" fmla="*/ 284 w 454"/>
              <a:gd name="T61" fmla="*/ 353 h 477"/>
              <a:gd name="T62" fmla="*/ 265 w 454"/>
              <a:gd name="T63" fmla="*/ 364 h 477"/>
              <a:gd name="T64" fmla="*/ 229 w 454"/>
              <a:gd name="T65" fmla="*/ 364 h 477"/>
              <a:gd name="T66" fmla="*/ 221 w 454"/>
              <a:gd name="T67" fmla="*/ 395 h 477"/>
              <a:gd name="T68" fmla="*/ 221 w 454"/>
              <a:gd name="T69" fmla="*/ 408 h 477"/>
              <a:gd name="T70" fmla="*/ 221 w 454"/>
              <a:gd name="T71" fmla="*/ 422 h 477"/>
              <a:gd name="T72" fmla="*/ 233 w 454"/>
              <a:gd name="T73" fmla="*/ 437 h 477"/>
              <a:gd name="T74" fmla="*/ 248 w 454"/>
              <a:gd name="T75" fmla="*/ 446 h 477"/>
              <a:gd name="T76" fmla="*/ 244 w 454"/>
              <a:gd name="T77" fmla="*/ 452 h 477"/>
              <a:gd name="T78" fmla="*/ 238 w 454"/>
              <a:gd name="T79" fmla="*/ 466 h 477"/>
              <a:gd name="T80" fmla="*/ 234 w 454"/>
              <a:gd name="T81" fmla="*/ 467 h 477"/>
              <a:gd name="T82" fmla="*/ 221 w 454"/>
              <a:gd name="T83" fmla="*/ 456 h 477"/>
              <a:gd name="T84" fmla="*/ 210 w 454"/>
              <a:gd name="T85" fmla="*/ 456 h 477"/>
              <a:gd name="T86" fmla="*/ 191 w 454"/>
              <a:gd name="T87" fmla="*/ 471 h 477"/>
              <a:gd name="T88" fmla="*/ 175 w 454"/>
              <a:gd name="T89" fmla="*/ 477 h 477"/>
              <a:gd name="T90" fmla="*/ 158 w 454"/>
              <a:gd name="T91" fmla="*/ 452 h 477"/>
              <a:gd name="T92" fmla="*/ 139 w 454"/>
              <a:gd name="T93" fmla="*/ 431 h 477"/>
              <a:gd name="T94" fmla="*/ 118 w 454"/>
              <a:gd name="T95" fmla="*/ 414 h 477"/>
              <a:gd name="T96" fmla="*/ 95 w 454"/>
              <a:gd name="T97" fmla="*/ 393 h 477"/>
              <a:gd name="T98" fmla="*/ 78 w 454"/>
              <a:gd name="T99" fmla="*/ 368 h 477"/>
              <a:gd name="T100" fmla="*/ 63 w 454"/>
              <a:gd name="T101" fmla="*/ 336 h 477"/>
              <a:gd name="T102" fmla="*/ 49 w 454"/>
              <a:gd name="T103" fmla="*/ 319 h 477"/>
              <a:gd name="T104" fmla="*/ 30 w 454"/>
              <a:gd name="T105" fmla="*/ 296 h 477"/>
              <a:gd name="T106" fmla="*/ 13 w 454"/>
              <a:gd name="T107" fmla="*/ 269 h 477"/>
              <a:gd name="T108" fmla="*/ 2 w 454"/>
              <a:gd name="T109" fmla="*/ 242 h 477"/>
              <a:gd name="T110" fmla="*/ 6 w 454"/>
              <a:gd name="T111" fmla="*/ 231 h 477"/>
              <a:gd name="T112" fmla="*/ 27 w 454"/>
              <a:gd name="T113" fmla="*/ 208 h 477"/>
              <a:gd name="T114" fmla="*/ 46 w 454"/>
              <a:gd name="T115" fmla="*/ 160 h 477"/>
              <a:gd name="T116" fmla="*/ 61 w 454"/>
              <a:gd name="T117" fmla="*/ 113 h 477"/>
              <a:gd name="T118" fmla="*/ 204 w 454"/>
              <a:gd name="T119" fmla="*/ 94 h 477"/>
              <a:gd name="T120" fmla="*/ 360 w 454"/>
              <a:gd name="T121" fmla="*/ 4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4" h="477">
                <a:moveTo>
                  <a:pt x="357" y="4"/>
                </a:moveTo>
                <a:lnTo>
                  <a:pt x="357" y="4"/>
                </a:lnTo>
                <a:lnTo>
                  <a:pt x="355" y="8"/>
                </a:lnTo>
                <a:lnTo>
                  <a:pt x="351" y="11"/>
                </a:lnTo>
                <a:lnTo>
                  <a:pt x="351" y="15"/>
                </a:lnTo>
                <a:lnTo>
                  <a:pt x="349" y="19"/>
                </a:lnTo>
                <a:lnTo>
                  <a:pt x="347" y="23"/>
                </a:lnTo>
                <a:lnTo>
                  <a:pt x="347" y="27"/>
                </a:lnTo>
                <a:lnTo>
                  <a:pt x="345" y="32"/>
                </a:lnTo>
                <a:lnTo>
                  <a:pt x="345" y="38"/>
                </a:lnTo>
                <a:lnTo>
                  <a:pt x="345" y="38"/>
                </a:lnTo>
                <a:lnTo>
                  <a:pt x="345" y="42"/>
                </a:lnTo>
                <a:lnTo>
                  <a:pt x="345" y="48"/>
                </a:lnTo>
                <a:lnTo>
                  <a:pt x="345" y="53"/>
                </a:lnTo>
                <a:lnTo>
                  <a:pt x="345" y="59"/>
                </a:lnTo>
                <a:lnTo>
                  <a:pt x="345" y="67"/>
                </a:lnTo>
                <a:lnTo>
                  <a:pt x="345" y="73"/>
                </a:lnTo>
                <a:lnTo>
                  <a:pt x="345" y="80"/>
                </a:lnTo>
                <a:lnTo>
                  <a:pt x="345" y="88"/>
                </a:lnTo>
                <a:lnTo>
                  <a:pt x="345" y="88"/>
                </a:lnTo>
                <a:lnTo>
                  <a:pt x="351" y="88"/>
                </a:lnTo>
                <a:lnTo>
                  <a:pt x="355" y="88"/>
                </a:lnTo>
                <a:lnTo>
                  <a:pt x="360" y="86"/>
                </a:lnTo>
                <a:lnTo>
                  <a:pt x="364" y="86"/>
                </a:lnTo>
                <a:lnTo>
                  <a:pt x="368" y="84"/>
                </a:lnTo>
                <a:lnTo>
                  <a:pt x="372" y="82"/>
                </a:lnTo>
                <a:lnTo>
                  <a:pt x="376" y="80"/>
                </a:lnTo>
                <a:lnTo>
                  <a:pt x="379" y="78"/>
                </a:lnTo>
                <a:lnTo>
                  <a:pt x="383" y="76"/>
                </a:lnTo>
                <a:lnTo>
                  <a:pt x="387" y="76"/>
                </a:lnTo>
                <a:lnTo>
                  <a:pt x="391" y="74"/>
                </a:lnTo>
                <a:lnTo>
                  <a:pt x="395" y="73"/>
                </a:lnTo>
                <a:lnTo>
                  <a:pt x="400" y="73"/>
                </a:lnTo>
                <a:lnTo>
                  <a:pt x="404" y="71"/>
                </a:lnTo>
                <a:lnTo>
                  <a:pt x="408" y="71"/>
                </a:lnTo>
                <a:lnTo>
                  <a:pt x="414" y="71"/>
                </a:lnTo>
                <a:lnTo>
                  <a:pt x="414" y="71"/>
                </a:lnTo>
                <a:lnTo>
                  <a:pt x="420" y="71"/>
                </a:lnTo>
                <a:lnTo>
                  <a:pt x="427" y="74"/>
                </a:lnTo>
                <a:lnTo>
                  <a:pt x="433" y="78"/>
                </a:lnTo>
                <a:lnTo>
                  <a:pt x="437" y="84"/>
                </a:lnTo>
                <a:lnTo>
                  <a:pt x="441" y="90"/>
                </a:lnTo>
                <a:lnTo>
                  <a:pt x="444" y="97"/>
                </a:lnTo>
                <a:lnTo>
                  <a:pt x="446" y="103"/>
                </a:lnTo>
                <a:lnTo>
                  <a:pt x="446" y="111"/>
                </a:lnTo>
                <a:lnTo>
                  <a:pt x="446" y="111"/>
                </a:lnTo>
                <a:lnTo>
                  <a:pt x="444" y="120"/>
                </a:lnTo>
                <a:lnTo>
                  <a:pt x="439" y="128"/>
                </a:lnTo>
                <a:lnTo>
                  <a:pt x="431" y="134"/>
                </a:lnTo>
                <a:lnTo>
                  <a:pt x="423" y="139"/>
                </a:lnTo>
                <a:lnTo>
                  <a:pt x="414" y="145"/>
                </a:lnTo>
                <a:lnTo>
                  <a:pt x="406" y="153"/>
                </a:lnTo>
                <a:lnTo>
                  <a:pt x="400" y="162"/>
                </a:lnTo>
                <a:lnTo>
                  <a:pt x="399" y="174"/>
                </a:lnTo>
                <a:lnTo>
                  <a:pt x="399" y="174"/>
                </a:lnTo>
                <a:lnTo>
                  <a:pt x="402" y="183"/>
                </a:lnTo>
                <a:lnTo>
                  <a:pt x="408" y="189"/>
                </a:lnTo>
                <a:lnTo>
                  <a:pt x="416" y="195"/>
                </a:lnTo>
                <a:lnTo>
                  <a:pt x="427" y="200"/>
                </a:lnTo>
                <a:lnTo>
                  <a:pt x="437" y="204"/>
                </a:lnTo>
                <a:lnTo>
                  <a:pt x="446" y="210"/>
                </a:lnTo>
                <a:lnTo>
                  <a:pt x="452" y="218"/>
                </a:lnTo>
                <a:lnTo>
                  <a:pt x="454" y="227"/>
                </a:lnTo>
                <a:lnTo>
                  <a:pt x="454" y="227"/>
                </a:lnTo>
                <a:lnTo>
                  <a:pt x="454" y="235"/>
                </a:lnTo>
                <a:lnTo>
                  <a:pt x="454" y="242"/>
                </a:lnTo>
                <a:lnTo>
                  <a:pt x="454" y="250"/>
                </a:lnTo>
                <a:lnTo>
                  <a:pt x="452" y="258"/>
                </a:lnTo>
                <a:lnTo>
                  <a:pt x="450" y="265"/>
                </a:lnTo>
                <a:lnTo>
                  <a:pt x="448" y="273"/>
                </a:lnTo>
                <a:lnTo>
                  <a:pt x="446" y="282"/>
                </a:lnTo>
                <a:lnTo>
                  <a:pt x="444" y="290"/>
                </a:lnTo>
                <a:lnTo>
                  <a:pt x="442" y="300"/>
                </a:lnTo>
                <a:lnTo>
                  <a:pt x="441" y="307"/>
                </a:lnTo>
                <a:lnTo>
                  <a:pt x="439" y="315"/>
                </a:lnTo>
                <a:lnTo>
                  <a:pt x="437" y="322"/>
                </a:lnTo>
                <a:lnTo>
                  <a:pt x="435" y="328"/>
                </a:lnTo>
                <a:lnTo>
                  <a:pt x="431" y="334"/>
                </a:lnTo>
                <a:lnTo>
                  <a:pt x="431" y="340"/>
                </a:lnTo>
                <a:lnTo>
                  <a:pt x="429" y="345"/>
                </a:lnTo>
                <a:lnTo>
                  <a:pt x="429" y="345"/>
                </a:lnTo>
                <a:lnTo>
                  <a:pt x="427" y="349"/>
                </a:lnTo>
                <a:lnTo>
                  <a:pt x="427" y="353"/>
                </a:lnTo>
                <a:lnTo>
                  <a:pt x="427" y="357"/>
                </a:lnTo>
                <a:lnTo>
                  <a:pt x="425" y="361"/>
                </a:lnTo>
                <a:lnTo>
                  <a:pt x="423" y="363"/>
                </a:lnTo>
                <a:lnTo>
                  <a:pt x="421" y="366"/>
                </a:lnTo>
                <a:lnTo>
                  <a:pt x="418" y="368"/>
                </a:lnTo>
                <a:lnTo>
                  <a:pt x="414" y="368"/>
                </a:lnTo>
                <a:lnTo>
                  <a:pt x="414" y="368"/>
                </a:lnTo>
                <a:lnTo>
                  <a:pt x="414" y="368"/>
                </a:lnTo>
                <a:lnTo>
                  <a:pt x="412" y="366"/>
                </a:lnTo>
                <a:lnTo>
                  <a:pt x="408" y="363"/>
                </a:lnTo>
                <a:lnTo>
                  <a:pt x="406" y="359"/>
                </a:lnTo>
                <a:lnTo>
                  <a:pt x="404" y="355"/>
                </a:lnTo>
                <a:lnTo>
                  <a:pt x="400" y="353"/>
                </a:lnTo>
                <a:lnTo>
                  <a:pt x="400" y="349"/>
                </a:lnTo>
                <a:lnTo>
                  <a:pt x="399" y="347"/>
                </a:lnTo>
                <a:lnTo>
                  <a:pt x="399" y="347"/>
                </a:lnTo>
                <a:lnTo>
                  <a:pt x="393" y="349"/>
                </a:lnTo>
                <a:lnTo>
                  <a:pt x="389" y="351"/>
                </a:lnTo>
                <a:lnTo>
                  <a:pt x="385" y="353"/>
                </a:lnTo>
                <a:lnTo>
                  <a:pt x="381" y="357"/>
                </a:lnTo>
                <a:lnTo>
                  <a:pt x="378" y="359"/>
                </a:lnTo>
                <a:lnTo>
                  <a:pt x="374" y="361"/>
                </a:lnTo>
                <a:lnTo>
                  <a:pt x="368" y="363"/>
                </a:lnTo>
                <a:lnTo>
                  <a:pt x="360" y="363"/>
                </a:lnTo>
                <a:lnTo>
                  <a:pt x="360" y="363"/>
                </a:lnTo>
                <a:lnTo>
                  <a:pt x="351" y="363"/>
                </a:lnTo>
                <a:lnTo>
                  <a:pt x="343" y="357"/>
                </a:lnTo>
                <a:lnTo>
                  <a:pt x="338" y="351"/>
                </a:lnTo>
                <a:lnTo>
                  <a:pt x="334" y="343"/>
                </a:lnTo>
                <a:lnTo>
                  <a:pt x="328" y="338"/>
                </a:lnTo>
                <a:lnTo>
                  <a:pt x="324" y="330"/>
                </a:lnTo>
                <a:lnTo>
                  <a:pt x="318" y="326"/>
                </a:lnTo>
                <a:lnTo>
                  <a:pt x="313" y="324"/>
                </a:lnTo>
                <a:lnTo>
                  <a:pt x="313" y="324"/>
                </a:lnTo>
                <a:lnTo>
                  <a:pt x="307" y="324"/>
                </a:lnTo>
                <a:lnTo>
                  <a:pt x="301" y="328"/>
                </a:lnTo>
                <a:lnTo>
                  <a:pt x="297" y="332"/>
                </a:lnTo>
                <a:lnTo>
                  <a:pt x="294" y="336"/>
                </a:lnTo>
                <a:lnTo>
                  <a:pt x="292" y="342"/>
                </a:lnTo>
                <a:lnTo>
                  <a:pt x="288" y="347"/>
                </a:lnTo>
                <a:lnTo>
                  <a:pt x="284" y="353"/>
                </a:lnTo>
                <a:lnTo>
                  <a:pt x="280" y="357"/>
                </a:lnTo>
                <a:lnTo>
                  <a:pt x="280" y="357"/>
                </a:lnTo>
                <a:lnTo>
                  <a:pt x="273" y="363"/>
                </a:lnTo>
                <a:lnTo>
                  <a:pt x="265" y="364"/>
                </a:lnTo>
                <a:lnTo>
                  <a:pt x="255" y="363"/>
                </a:lnTo>
                <a:lnTo>
                  <a:pt x="246" y="361"/>
                </a:lnTo>
                <a:lnTo>
                  <a:pt x="236" y="361"/>
                </a:lnTo>
                <a:lnTo>
                  <a:pt x="229" y="364"/>
                </a:lnTo>
                <a:lnTo>
                  <a:pt x="223" y="374"/>
                </a:lnTo>
                <a:lnTo>
                  <a:pt x="221" y="393"/>
                </a:lnTo>
                <a:lnTo>
                  <a:pt x="221" y="393"/>
                </a:lnTo>
                <a:lnTo>
                  <a:pt x="221" y="395"/>
                </a:lnTo>
                <a:lnTo>
                  <a:pt x="221" y="399"/>
                </a:lnTo>
                <a:lnTo>
                  <a:pt x="221" y="403"/>
                </a:lnTo>
                <a:lnTo>
                  <a:pt x="221" y="404"/>
                </a:lnTo>
                <a:lnTo>
                  <a:pt x="221" y="408"/>
                </a:lnTo>
                <a:lnTo>
                  <a:pt x="221" y="412"/>
                </a:lnTo>
                <a:lnTo>
                  <a:pt x="221" y="418"/>
                </a:lnTo>
                <a:lnTo>
                  <a:pt x="221" y="422"/>
                </a:lnTo>
                <a:lnTo>
                  <a:pt x="221" y="422"/>
                </a:lnTo>
                <a:lnTo>
                  <a:pt x="223" y="425"/>
                </a:lnTo>
                <a:lnTo>
                  <a:pt x="225" y="429"/>
                </a:lnTo>
                <a:lnTo>
                  <a:pt x="229" y="433"/>
                </a:lnTo>
                <a:lnTo>
                  <a:pt x="233" y="437"/>
                </a:lnTo>
                <a:lnTo>
                  <a:pt x="236" y="441"/>
                </a:lnTo>
                <a:lnTo>
                  <a:pt x="240" y="443"/>
                </a:lnTo>
                <a:lnTo>
                  <a:pt x="244" y="445"/>
                </a:lnTo>
                <a:lnTo>
                  <a:pt x="248" y="446"/>
                </a:lnTo>
                <a:lnTo>
                  <a:pt x="248" y="446"/>
                </a:lnTo>
                <a:lnTo>
                  <a:pt x="246" y="448"/>
                </a:lnTo>
                <a:lnTo>
                  <a:pt x="246" y="450"/>
                </a:lnTo>
                <a:lnTo>
                  <a:pt x="244" y="452"/>
                </a:lnTo>
                <a:lnTo>
                  <a:pt x="242" y="456"/>
                </a:lnTo>
                <a:lnTo>
                  <a:pt x="240" y="458"/>
                </a:lnTo>
                <a:lnTo>
                  <a:pt x="240" y="462"/>
                </a:lnTo>
                <a:lnTo>
                  <a:pt x="238" y="466"/>
                </a:lnTo>
                <a:lnTo>
                  <a:pt x="236" y="469"/>
                </a:lnTo>
                <a:lnTo>
                  <a:pt x="236" y="469"/>
                </a:lnTo>
                <a:lnTo>
                  <a:pt x="236" y="469"/>
                </a:lnTo>
                <a:lnTo>
                  <a:pt x="234" y="467"/>
                </a:lnTo>
                <a:lnTo>
                  <a:pt x="231" y="464"/>
                </a:lnTo>
                <a:lnTo>
                  <a:pt x="229" y="462"/>
                </a:lnTo>
                <a:lnTo>
                  <a:pt x="225" y="458"/>
                </a:lnTo>
                <a:lnTo>
                  <a:pt x="221" y="456"/>
                </a:lnTo>
                <a:lnTo>
                  <a:pt x="219" y="454"/>
                </a:lnTo>
                <a:lnTo>
                  <a:pt x="215" y="454"/>
                </a:lnTo>
                <a:lnTo>
                  <a:pt x="215" y="454"/>
                </a:lnTo>
                <a:lnTo>
                  <a:pt x="210" y="456"/>
                </a:lnTo>
                <a:lnTo>
                  <a:pt x="204" y="458"/>
                </a:lnTo>
                <a:lnTo>
                  <a:pt x="200" y="462"/>
                </a:lnTo>
                <a:lnTo>
                  <a:pt x="196" y="466"/>
                </a:lnTo>
                <a:lnTo>
                  <a:pt x="191" y="471"/>
                </a:lnTo>
                <a:lnTo>
                  <a:pt x="187" y="475"/>
                </a:lnTo>
                <a:lnTo>
                  <a:pt x="181" y="477"/>
                </a:lnTo>
                <a:lnTo>
                  <a:pt x="175" y="477"/>
                </a:lnTo>
                <a:lnTo>
                  <a:pt x="175" y="477"/>
                </a:lnTo>
                <a:lnTo>
                  <a:pt x="172" y="471"/>
                </a:lnTo>
                <a:lnTo>
                  <a:pt x="168" y="464"/>
                </a:lnTo>
                <a:lnTo>
                  <a:pt x="162" y="458"/>
                </a:lnTo>
                <a:lnTo>
                  <a:pt x="158" y="452"/>
                </a:lnTo>
                <a:lnTo>
                  <a:pt x="152" y="446"/>
                </a:lnTo>
                <a:lnTo>
                  <a:pt x="149" y="441"/>
                </a:lnTo>
                <a:lnTo>
                  <a:pt x="143" y="437"/>
                </a:lnTo>
                <a:lnTo>
                  <a:pt x="139" y="431"/>
                </a:lnTo>
                <a:lnTo>
                  <a:pt x="133" y="427"/>
                </a:lnTo>
                <a:lnTo>
                  <a:pt x="128" y="422"/>
                </a:lnTo>
                <a:lnTo>
                  <a:pt x="122" y="418"/>
                </a:lnTo>
                <a:lnTo>
                  <a:pt x="118" y="414"/>
                </a:lnTo>
                <a:lnTo>
                  <a:pt x="112" y="408"/>
                </a:lnTo>
                <a:lnTo>
                  <a:pt x="107" y="403"/>
                </a:lnTo>
                <a:lnTo>
                  <a:pt x="101" y="399"/>
                </a:lnTo>
                <a:lnTo>
                  <a:pt x="95" y="393"/>
                </a:lnTo>
                <a:lnTo>
                  <a:pt x="95" y="393"/>
                </a:lnTo>
                <a:lnTo>
                  <a:pt x="88" y="385"/>
                </a:lnTo>
                <a:lnTo>
                  <a:pt x="82" y="378"/>
                </a:lnTo>
                <a:lnTo>
                  <a:pt x="78" y="368"/>
                </a:lnTo>
                <a:lnTo>
                  <a:pt x="74" y="361"/>
                </a:lnTo>
                <a:lnTo>
                  <a:pt x="70" y="353"/>
                </a:lnTo>
                <a:lnTo>
                  <a:pt x="67" y="345"/>
                </a:lnTo>
                <a:lnTo>
                  <a:pt x="63" y="336"/>
                </a:lnTo>
                <a:lnTo>
                  <a:pt x="57" y="328"/>
                </a:lnTo>
                <a:lnTo>
                  <a:pt x="57" y="328"/>
                </a:lnTo>
                <a:lnTo>
                  <a:pt x="53" y="322"/>
                </a:lnTo>
                <a:lnTo>
                  <a:pt x="49" y="319"/>
                </a:lnTo>
                <a:lnTo>
                  <a:pt x="44" y="313"/>
                </a:lnTo>
                <a:lnTo>
                  <a:pt x="40" y="307"/>
                </a:lnTo>
                <a:lnTo>
                  <a:pt x="36" y="301"/>
                </a:lnTo>
                <a:lnTo>
                  <a:pt x="30" y="296"/>
                </a:lnTo>
                <a:lnTo>
                  <a:pt x="27" y="288"/>
                </a:lnTo>
                <a:lnTo>
                  <a:pt x="21" y="282"/>
                </a:lnTo>
                <a:lnTo>
                  <a:pt x="17" y="275"/>
                </a:lnTo>
                <a:lnTo>
                  <a:pt x="13" y="269"/>
                </a:lnTo>
                <a:lnTo>
                  <a:pt x="9" y="261"/>
                </a:lnTo>
                <a:lnTo>
                  <a:pt x="6" y="256"/>
                </a:lnTo>
                <a:lnTo>
                  <a:pt x="4" y="248"/>
                </a:lnTo>
                <a:lnTo>
                  <a:pt x="2" y="242"/>
                </a:lnTo>
                <a:lnTo>
                  <a:pt x="0" y="235"/>
                </a:lnTo>
                <a:lnTo>
                  <a:pt x="0" y="229"/>
                </a:lnTo>
                <a:lnTo>
                  <a:pt x="0" y="229"/>
                </a:lnTo>
                <a:lnTo>
                  <a:pt x="6" y="231"/>
                </a:lnTo>
                <a:lnTo>
                  <a:pt x="9" y="229"/>
                </a:lnTo>
                <a:lnTo>
                  <a:pt x="15" y="225"/>
                </a:lnTo>
                <a:lnTo>
                  <a:pt x="21" y="218"/>
                </a:lnTo>
                <a:lnTo>
                  <a:pt x="27" y="208"/>
                </a:lnTo>
                <a:lnTo>
                  <a:pt x="32" y="198"/>
                </a:lnTo>
                <a:lnTo>
                  <a:pt x="36" y="187"/>
                </a:lnTo>
                <a:lnTo>
                  <a:pt x="42" y="174"/>
                </a:lnTo>
                <a:lnTo>
                  <a:pt x="46" y="160"/>
                </a:lnTo>
                <a:lnTo>
                  <a:pt x="51" y="147"/>
                </a:lnTo>
                <a:lnTo>
                  <a:pt x="55" y="136"/>
                </a:lnTo>
                <a:lnTo>
                  <a:pt x="57" y="124"/>
                </a:lnTo>
                <a:lnTo>
                  <a:pt x="61" y="113"/>
                </a:lnTo>
                <a:lnTo>
                  <a:pt x="63" y="105"/>
                </a:lnTo>
                <a:lnTo>
                  <a:pt x="65" y="97"/>
                </a:lnTo>
                <a:lnTo>
                  <a:pt x="65" y="94"/>
                </a:lnTo>
                <a:lnTo>
                  <a:pt x="204" y="94"/>
                </a:lnTo>
                <a:lnTo>
                  <a:pt x="204" y="0"/>
                </a:lnTo>
                <a:lnTo>
                  <a:pt x="349" y="0"/>
                </a:lnTo>
                <a:lnTo>
                  <a:pt x="360" y="6"/>
                </a:lnTo>
                <a:lnTo>
                  <a:pt x="360" y="4"/>
                </a:lnTo>
                <a:lnTo>
                  <a:pt x="357" y="4"/>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8" name="Freeform 28"/>
          <p:cNvSpPr>
            <a:spLocks/>
          </p:cNvSpPr>
          <p:nvPr/>
        </p:nvSpPr>
        <p:spPr bwMode="auto">
          <a:xfrm>
            <a:off x="2478088" y="3784502"/>
            <a:ext cx="131763" cy="80963"/>
          </a:xfrm>
          <a:custGeom>
            <a:avLst/>
            <a:gdLst>
              <a:gd name="T0" fmla="*/ 147 w 147"/>
              <a:gd name="T1" fmla="*/ 0 h 94"/>
              <a:gd name="T2" fmla="*/ 25 w 147"/>
              <a:gd name="T3" fmla="*/ 0 h 94"/>
              <a:gd name="T4" fmla="*/ 25 w 147"/>
              <a:gd name="T5" fmla="*/ 0 h 94"/>
              <a:gd name="T6" fmla="*/ 25 w 147"/>
              <a:gd name="T7" fmla="*/ 4 h 94"/>
              <a:gd name="T8" fmla="*/ 23 w 147"/>
              <a:gd name="T9" fmla="*/ 10 h 94"/>
              <a:gd name="T10" fmla="*/ 23 w 147"/>
              <a:gd name="T11" fmla="*/ 15 h 94"/>
              <a:gd name="T12" fmla="*/ 21 w 147"/>
              <a:gd name="T13" fmla="*/ 19 h 94"/>
              <a:gd name="T14" fmla="*/ 19 w 147"/>
              <a:gd name="T15" fmla="*/ 23 h 94"/>
              <a:gd name="T16" fmla="*/ 15 w 147"/>
              <a:gd name="T17" fmla="*/ 27 h 94"/>
              <a:gd name="T18" fmla="*/ 13 w 147"/>
              <a:gd name="T19" fmla="*/ 31 h 94"/>
              <a:gd name="T20" fmla="*/ 12 w 147"/>
              <a:gd name="T21" fmla="*/ 34 h 94"/>
              <a:gd name="T22" fmla="*/ 10 w 147"/>
              <a:gd name="T23" fmla="*/ 38 h 94"/>
              <a:gd name="T24" fmla="*/ 8 w 147"/>
              <a:gd name="T25" fmla="*/ 42 h 94"/>
              <a:gd name="T26" fmla="*/ 6 w 147"/>
              <a:gd name="T27" fmla="*/ 46 h 94"/>
              <a:gd name="T28" fmla="*/ 4 w 147"/>
              <a:gd name="T29" fmla="*/ 50 h 94"/>
              <a:gd name="T30" fmla="*/ 2 w 147"/>
              <a:gd name="T31" fmla="*/ 53 h 94"/>
              <a:gd name="T32" fmla="*/ 0 w 147"/>
              <a:gd name="T33" fmla="*/ 59 h 94"/>
              <a:gd name="T34" fmla="*/ 0 w 147"/>
              <a:gd name="T35" fmla="*/ 63 h 94"/>
              <a:gd name="T36" fmla="*/ 0 w 147"/>
              <a:gd name="T37" fmla="*/ 69 h 94"/>
              <a:gd name="T38" fmla="*/ 0 w 147"/>
              <a:gd name="T39" fmla="*/ 69 h 94"/>
              <a:gd name="T40" fmla="*/ 0 w 147"/>
              <a:gd name="T41" fmla="*/ 71 h 94"/>
              <a:gd name="T42" fmla="*/ 0 w 147"/>
              <a:gd name="T43" fmla="*/ 74 h 94"/>
              <a:gd name="T44" fmla="*/ 2 w 147"/>
              <a:gd name="T45" fmla="*/ 78 h 94"/>
              <a:gd name="T46" fmla="*/ 2 w 147"/>
              <a:gd name="T47" fmla="*/ 82 h 94"/>
              <a:gd name="T48" fmla="*/ 4 w 147"/>
              <a:gd name="T49" fmla="*/ 84 h 94"/>
              <a:gd name="T50" fmla="*/ 6 w 147"/>
              <a:gd name="T51" fmla="*/ 88 h 94"/>
              <a:gd name="T52" fmla="*/ 6 w 147"/>
              <a:gd name="T53" fmla="*/ 90 h 94"/>
              <a:gd name="T54" fmla="*/ 8 w 147"/>
              <a:gd name="T55" fmla="*/ 94 h 94"/>
              <a:gd name="T56" fmla="*/ 147 w 147"/>
              <a:gd name="T57" fmla="*/ 94 h 94"/>
              <a:gd name="T58" fmla="*/ 147 w 147"/>
              <a:gd name="T59" fmla="*/ 0 h 94"/>
              <a:gd name="T60" fmla="*/ 147 w 147"/>
              <a:gd name="T6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7" h="94">
                <a:moveTo>
                  <a:pt x="147" y="0"/>
                </a:moveTo>
                <a:lnTo>
                  <a:pt x="25" y="0"/>
                </a:lnTo>
                <a:lnTo>
                  <a:pt x="25" y="0"/>
                </a:lnTo>
                <a:lnTo>
                  <a:pt x="25" y="4"/>
                </a:lnTo>
                <a:lnTo>
                  <a:pt x="23" y="10"/>
                </a:lnTo>
                <a:lnTo>
                  <a:pt x="23" y="15"/>
                </a:lnTo>
                <a:lnTo>
                  <a:pt x="21" y="19"/>
                </a:lnTo>
                <a:lnTo>
                  <a:pt x="19" y="23"/>
                </a:lnTo>
                <a:lnTo>
                  <a:pt x="15" y="27"/>
                </a:lnTo>
                <a:lnTo>
                  <a:pt x="13" y="31"/>
                </a:lnTo>
                <a:lnTo>
                  <a:pt x="12" y="34"/>
                </a:lnTo>
                <a:lnTo>
                  <a:pt x="10" y="38"/>
                </a:lnTo>
                <a:lnTo>
                  <a:pt x="8" y="42"/>
                </a:lnTo>
                <a:lnTo>
                  <a:pt x="6" y="46"/>
                </a:lnTo>
                <a:lnTo>
                  <a:pt x="4" y="50"/>
                </a:lnTo>
                <a:lnTo>
                  <a:pt x="2" y="53"/>
                </a:lnTo>
                <a:lnTo>
                  <a:pt x="0" y="59"/>
                </a:lnTo>
                <a:lnTo>
                  <a:pt x="0" y="63"/>
                </a:lnTo>
                <a:lnTo>
                  <a:pt x="0" y="69"/>
                </a:lnTo>
                <a:lnTo>
                  <a:pt x="0" y="69"/>
                </a:lnTo>
                <a:lnTo>
                  <a:pt x="0" y="71"/>
                </a:lnTo>
                <a:lnTo>
                  <a:pt x="0" y="74"/>
                </a:lnTo>
                <a:lnTo>
                  <a:pt x="2" y="78"/>
                </a:lnTo>
                <a:lnTo>
                  <a:pt x="2" y="82"/>
                </a:lnTo>
                <a:lnTo>
                  <a:pt x="4" y="84"/>
                </a:lnTo>
                <a:lnTo>
                  <a:pt x="6" y="88"/>
                </a:lnTo>
                <a:lnTo>
                  <a:pt x="6" y="90"/>
                </a:lnTo>
                <a:lnTo>
                  <a:pt x="8" y="94"/>
                </a:lnTo>
                <a:lnTo>
                  <a:pt x="147" y="94"/>
                </a:lnTo>
                <a:lnTo>
                  <a:pt x="147" y="0"/>
                </a:lnTo>
                <a:lnTo>
                  <a:pt x="147" y="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29" name="Freeform 29"/>
          <p:cNvSpPr>
            <a:spLocks/>
          </p:cNvSpPr>
          <p:nvPr/>
        </p:nvSpPr>
        <p:spPr bwMode="auto">
          <a:xfrm>
            <a:off x="2409825" y="3027264"/>
            <a:ext cx="550863" cy="781050"/>
          </a:xfrm>
          <a:custGeom>
            <a:avLst/>
            <a:gdLst>
              <a:gd name="T0" fmla="*/ 101 w 610"/>
              <a:gd name="T1" fmla="*/ 857 h 897"/>
              <a:gd name="T2" fmla="*/ 107 w 610"/>
              <a:gd name="T3" fmla="*/ 826 h 897"/>
              <a:gd name="T4" fmla="*/ 112 w 610"/>
              <a:gd name="T5" fmla="*/ 797 h 897"/>
              <a:gd name="T6" fmla="*/ 93 w 610"/>
              <a:gd name="T7" fmla="*/ 755 h 897"/>
              <a:gd name="T8" fmla="*/ 49 w 610"/>
              <a:gd name="T9" fmla="*/ 723 h 897"/>
              <a:gd name="T10" fmla="*/ 21 w 610"/>
              <a:gd name="T11" fmla="*/ 698 h 897"/>
              <a:gd name="T12" fmla="*/ 2 w 610"/>
              <a:gd name="T13" fmla="*/ 660 h 897"/>
              <a:gd name="T14" fmla="*/ 13 w 610"/>
              <a:gd name="T15" fmla="*/ 628 h 897"/>
              <a:gd name="T16" fmla="*/ 21 w 610"/>
              <a:gd name="T17" fmla="*/ 593 h 897"/>
              <a:gd name="T18" fmla="*/ 49 w 610"/>
              <a:gd name="T19" fmla="*/ 549 h 897"/>
              <a:gd name="T20" fmla="*/ 110 w 610"/>
              <a:gd name="T21" fmla="*/ 504 h 897"/>
              <a:gd name="T22" fmla="*/ 150 w 610"/>
              <a:gd name="T23" fmla="*/ 494 h 897"/>
              <a:gd name="T24" fmla="*/ 164 w 610"/>
              <a:gd name="T25" fmla="*/ 477 h 897"/>
              <a:gd name="T26" fmla="*/ 208 w 610"/>
              <a:gd name="T27" fmla="*/ 527 h 897"/>
              <a:gd name="T28" fmla="*/ 238 w 610"/>
              <a:gd name="T29" fmla="*/ 509 h 897"/>
              <a:gd name="T30" fmla="*/ 272 w 610"/>
              <a:gd name="T31" fmla="*/ 450 h 897"/>
              <a:gd name="T32" fmla="*/ 286 w 610"/>
              <a:gd name="T33" fmla="*/ 410 h 897"/>
              <a:gd name="T34" fmla="*/ 305 w 610"/>
              <a:gd name="T35" fmla="*/ 374 h 897"/>
              <a:gd name="T36" fmla="*/ 335 w 610"/>
              <a:gd name="T37" fmla="*/ 347 h 897"/>
              <a:gd name="T38" fmla="*/ 343 w 610"/>
              <a:gd name="T39" fmla="*/ 321 h 897"/>
              <a:gd name="T40" fmla="*/ 362 w 610"/>
              <a:gd name="T41" fmla="*/ 294 h 897"/>
              <a:gd name="T42" fmla="*/ 379 w 610"/>
              <a:gd name="T43" fmla="*/ 273 h 897"/>
              <a:gd name="T44" fmla="*/ 377 w 610"/>
              <a:gd name="T45" fmla="*/ 244 h 897"/>
              <a:gd name="T46" fmla="*/ 398 w 610"/>
              <a:gd name="T47" fmla="*/ 206 h 897"/>
              <a:gd name="T48" fmla="*/ 429 w 610"/>
              <a:gd name="T49" fmla="*/ 166 h 897"/>
              <a:gd name="T50" fmla="*/ 477 w 610"/>
              <a:gd name="T51" fmla="*/ 132 h 897"/>
              <a:gd name="T52" fmla="*/ 486 w 610"/>
              <a:gd name="T53" fmla="*/ 88 h 897"/>
              <a:gd name="T54" fmla="*/ 486 w 610"/>
              <a:gd name="T55" fmla="*/ 65 h 897"/>
              <a:gd name="T56" fmla="*/ 452 w 610"/>
              <a:gd name="T57" fmla="*/ 55 h 897"/>
              <a:gd name="T58" fmla="*/ 477 w 610"/>
              <a:gd name="T59" fmla="*/ 31 h 897"/>
              <a:gd name="T60" fmla="*/ 505 w 610"/>
              <a:gd name="T61" fmla="*/ 128 h 897"/>
              <a:gd name="T62" fmla="*/ 522 w 610"/>
              <a:gd name="T63" fmla="*/ 179 h 897"/>
              <a:gd name="T64" fmla="*/ 538 w 610"/>
              <a:gd name="T65" fmla="*/ 227 h 897"/>
              <a:gd name="T66" fmla="*/ 498 w 610"/>
              <a:gd name="T67" fmla="*/ 235 h 897"/>
              <a:gd name="T68" fmla="*/ 446 w 610"/>
              <a:gd name="T69" fmla="*/ 246 h 897"/>
              <a:gd name="T70" fmla="*/ 438 w 610"/>
              <a:gd name="T71" fmla="*/ 286 h 897"/>
              <a:gd name="T72" fmla="*/ 461 w 610"/>
              <a:gd name="T73" fmla="*/ 319 h 897"/>
              <a:gd name="T74" fmla="*/ 492 w 610"/>
              <a:gd name="T75" fmla="*/ 342 h 897"/>
              <a:gd name="T76" fmla="*/ 522 w 610"/>
              <a:gd name="T77" fmla="*/ 378 h 897"/>
              <a:gd name="T78" fmla="*/ 549 w 610"/>
              <a:gd name="T79" fmla="*/ 427 h 897"/>
              <a:gd name="T80" fmla="*/ 551 w 610"/>
              <a:gd name="T81" fmla="*/ 456 h 897"/>
              <a:gd name="T82" fmla="*/ 536 w 610"/>
              <a:gd name="T83" fmla="*/ 466 h 897"/>
              <a:gd name="T84" fmla="*/ 505 w 610"/>
              <a:gd name="T85" fmla="*/ 513 h 897"/>
              <a:gd name="T86" fmla="*/ 475 w 610"/>
              <a:gd name="T87" fmla="*/ 561 h 897"/>
              <a:gd name="T88" fmla="*/ 480 w 610"/>
              <a:gd name="T89" fmla="*/ 576 h 897"/>
              <a:gd name="T90" fmla="*/ 484 w 610"/>
              <a:gd name="T91" fmla="*/ 591 h 897"/>
              <a:gd name="T92" fmla="*/ 484 w 610"/>
              <a:gd name="T93" fmla="*/ 622 h 897"/>
              <a:gd name="T94" fmla="*/ 509 w 610"/>
              <a:gd name="T95" fmla="*/ 700 h 897"/>
              <a:gd name="T96" fmla="*/ 549 w 610"/>
              <a:gd name="T97" fmla="*/ 765 h 897"/>
              <a:gd name="T98" fmla="*/ 576 w 610"/>
              <a:gd name="T99" fmla="*/ 792 h 897"/>
              <a:gd name="T100" fmla="*/ 604 w 610"/>
              <a:gd name="T101" fmla="*/ 818 h 897"/>
              <a:gd name="T102" fmla="*/ 610 w 610"/>
              <a:gd name="T103" fmla="*/ 845 h 897"/>
              <a:gd name="T104" fmla="*/ 602 w 610"/>
              <a:gd name="T105" fmla="*/ 859 h 897"/>
              <a:gd name="T106" fmla="*/ 591 w 610"/>
              <a:gd name="T107" fmla="*/ 895 h 897"/>
              <a:gd name="T108" fmla="*/ 557 w 610"/>
              <a:gd name="T109" fmla="*/ 883 h 897"/>
              <a:gd name="T110" fmla="*/ 511 w 610"/>
              <a:gd name="T111" fmla="*/ 874 h 897"/>
              <a:gd name="T112" fmla="*/ 463 w 610"/>
              <a:gd name="T113" fmla="*/ 859 h 897"/>
              <a:gd name="T114" fmla="*/ 406 w 610"/>
              <a:gd name="T115" fmla="*/ 857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0" h="897">
                <a:moveTo>
                  <a:pt x="366" y="868"/>
                </a:moveTo>
                <a:lnTo>
                  <a:pt x="221" y="868"/>
                </a:lnTo>
                <a:lnTo>
                  <a:pt x="221" y="868"/>
                </a:lnTo>
                <a:lnTo>
                  <a:pt x="99" y="868"/>
                </a:lnTo>
                <a:lnTo>
                  <a:pt x="99" y="868"/>
                </a:lnTo>
                <a:lnTo>
                  <a:pt x="99" y="862"/>
                </a:lnTo>
                <a:lnTo>
                  <a:pt x="101" y="857"/>
                </a:lnTo>
                <a:lnTo>
                  <a:pt x="101" y="851"/>
                </a:lnTo>
                <a:lnTo>
                  <a:pt x="101" y="847"/>
                </a:lnTo>
                <a:lnTo>
                  <a:pt x="103" y="841"/>
                </a:lnTo>
                <a:lnTo>
                  <a:pt x="103" y="838"/>
                </a:lnTo>
                <a:lnTo>
                  <a:pt x="105" y="834"/>
                </a:lnTo>
                <a:lnTo>
                  <a:pt x="107" y="830"/>
                </a:lnTo>
                <a:lnTo>
                  <a:pt x="107" y="826"/>
                </a:lnTo>
                <a:lnTo>
                  <a:pt x="108" y="822"/>
                </a:lnTo>
                <a:lnTo>
                  <a:pt x="108" y="818"/>
                </a:lnTo>
                <a:lnTo>
                  <a:pt x="110" y="813"/>
                </a:lnTo>
                <a:lnTo>
                  <a:pt x="110" y="809"/>
                </a:lnTo>
                <a:lnTo>
                  <a:pt x="110" y="805"/>
                </a:lnTo>
                <a:lnTo>
                  <a:pt x="112" y="801"/>
                </a:lnTo>
                <a:lnTo>
                  <a:pt x="112" y="797"/>
                </a:lnTo>
                <a:lnTo>
                  <a:pt x="112" y="797"/>
                </a:lnTo>
                <a:lnTo>
                  <a:pt x="110" y="790"/>
                </a:lnTo>
                <a:lnTo>
                  <a:pt x="108" y="782"/>
                </a:lnTo>
                <a:lnTo>
                  <a:pt x="107" y="775"/>
                </a:lnTo>
                <a:lnTo>
                  <a:pt x="103" y="769"/>
                </a:lnTo>
                <a:lnTo>
                  <a:pt x="99" y="761"/>
                </a:lnTo>
                <a:lnTo>
                  <a:pt x="93" y="755"/>
                </a:lnTo>
                <a:lnTo>
                  <a:pt x="87" y="750"/>
                </a:lnTo>
                <a:lnTo>
                  <a:pt x="82" y="744"/>
                </a:lnTo>
                <a:lnTo>
                  <a:pt x="76" y="740"/>
                </a:lnTo>
                <a:lnTo>
                  <a:pt x="68" y="735"/>
                </a:lnTo>
                <a:lnTo>
                  <a:pt x="63" y="731"/>
                </a:lnTo>
                <a:lnTo>
                  <a:pt x="57" y="727"/>
                </a:lnTo>
                <a:lnTo>
                  <a:pt x="49" y="723"/>
                </a:lnTo>
                <a:lnTo>
                  <a:pt x="44" y="719"/>
                </a:lnTo>
                <a:lnTo>
                  <a:pt x="40" y="715"/>
                </a:lnTo>
                <a:lnTo>
                  <a:pt x="34" y="714"/>
                </a:lnTo>
                <a:lnTo>
                  <a:pt x="34" y="714"/>
                </a:lnTo>
                <a:lnTo>
                  <a:pt x="30" y="710"/>
                </a:lnTo>
                <a:lnTo>
                  <a:pt x="26" y="704"/>
                </a:lnTo>
                <a:lnTo>
                  <a:pt x="21" y="698"/>
                </a:lnTo>
                <a:lnTo>
                  <a:pt x="17" y="691"/>
                </a:lnTo>
                <a:lnTo>
                  <a:pt x="13" y="683"/>
                </a:lnTo>
                <a:lnTo>
                  <a:pt x="7" y="675"/>
                </a:lnTo>
                <a:lnTo>
                  <a:pt x="4" y="670"/>
                </a:lnTo>
                <a:lnTo>
                  <a:pt x="0" y="666"/>
                </a:lnTo>
                <a:lnTo>
                  <a:pt x="0" y="666"/>
                </a:lnTo>
                <a:lnTo>
                  <a:pt x="2" y="660"/>
                </a:lnTo>
                <a:lnTo>
                  <a:pt x="4" y="656"/>
                </a:lnTo>
                <a:lnTo>
                  <a:pt x="5" y="652"/>
                </a:lnTo>
                <a:lnTo>
                  <a:pt x="7" y="647"/>
                </a:lnTo>
                <a:lnTo>
                  <a:pt x="9" y="643"/>
                </a:lnTo>
                <a:lnTo>
                  <a:pt x="9" y="637"/>
                </a:lnTo>
                <a:lnTo>
                  <a:pt x="11" y="631"/>
                </a:lnTo>
                <a:lnTo>
                  <a:pt x="13" y="628"/>
                </a:lnTo>
                <a:lnTo>
                  <a:pt x="13" y="622"/>
                </a:lnTo>
                <a:lnTo>
                  <a:pt x="15" y="618"/>
                </a:lnTo>
                <a:lnTo>
                  <a:pt x="15" y="612"/>
                </a:lnTo>
                <a:lnTo>
                  <a:pt x="17" y="607"/>
                </a:lnTo>
                <a:lnTo>
                  <a:pt x="19" y="603"/>
                </a:lnTo>
                <a:lnTo>
                  <a:pt x="19" y="597"/>
                </a:lnTo>
                <a:lnTo>
                  <a:pt x="21" y="593"/>
                </a:lnTo>
                <a:lnTo>
                  <a:pt x="23" y="588"/>
                </a:lnTo>
                <a:lnTo>
                  <a:pt x="23" y="588"/>
                </a:lnTo>
                <a:lnTo>
                  <a:pt x="26" y="580"/>
                </a:lnTo>
                <a:lnTo>
                  <a:pt x="30" y="572"/>
                </a:lnTo>
                <a:lnTo>
                  <a:pt x="36" y="565"/>
                </a:lnTo>
                <a:lnTo>
                  <a:pt x="42" y="557"/>
                </a:lnTo>
                <a:lnTo>
                  <a:pt x="49" y="549"/>
                </a:lnTo>
                <a:lnTo>
                  <a:pt x="57" y="542"/>
                </a:lnTo>
                <a:lnTo>
                  <a:pt x="65" y="534"/>
                </a:lnTo>
                <a:lnTo>
                  <a:pt x="74" y="527"/>
                </a:lnTo>
                <a:lnTo>
                  <a:pt x="82" y="521"/>
                </a:lnTo>
                <a:lnTo>
                  <a:pt x="91" y="515"/>
                </a:lnTo>
                <a:lnTo>
                  <a:pt x="101" y="509"/>
                </a:lnTo>
                <a:lnTo>
                  <a:pt x="110" y="504"/>
                </a:lnTo>
                <a:lnTo>
                  <a:pt x="120" y="502"/>
                </a:lnTo>
                <a:lnTo>
                  <a:pt x="128" y="498"/>
                </a:lnTo>
                <a:lnTo>
                  <a:pt x="137" y="496"/>
                </a:lnTo>
                <a:lnTo>
                  <a:pt x="145" y="496"/>
                </a:lnTo>
                <a:lnTo>
                  <a:pt x="145" y="496"/>
                </a:lnTo>
                <a:lnTo>
                  <a:pt x="148" y="496"/>
                </a:lnTo>
                <a:lnTo>
                  <a:pt x="150" y="494"/>
                </a:lnTo>
                <a:lnTo>
                  <a:pt x="154" y="490"/>
                </a:lnTo>
                <a:lnTo>
                  <a:pt x="156" y="488"/>
                </a:lnTo>
                <a:lnTo>
                  <a:pt x="160" y="485"/>
                </a:lnTo>
                <a:lnTo>
                  <a:pt x="162" y="483"/>
                </a:lnTo>
                <a:lnTo>
                  <a:pt x="164" y="479"/>
                </a:lnTo>
                <a:lnTo>
                  <a:pt x="164" y="477"/>
                </a:lnTo>
                <a:lnTo>
                  <a:pt x="164" y="477"/>
                </a:lnTo>
                <a:lnTo>
                  <a:pt x="171" y="485"/>
                </a:lnTo>
                <a:lnTo>
                  <a:pt x="179" y="492"/>
                </a:lnTo>
                <a:lnTo>
                  <a:pt x="185" y="500"/>
                </a:lnTo>
                <a:lnTo>
                  <a:pt x="190" y="509"/>
                </a:lnTo>
                <a:lnTo>
                  <a:pt x="196" y="517"/>
                </a:lnTo>
                <a:lnTo>
                  <a:pt x="202" y="523"/>
                </a:lnTo>
                <a:lnTo>
                  <a:pt x="208" y="527"/>
                </a:lnTo>
                <a:lnTo>
                  <a:pt x="215" y="528"/>
                </a:lnTo>
                <a:lnTo>
                  <a:pt x="215" y="528"/>
                </a:lnTo>
                <a:lnTo>
                  <a:pt x="219" y="528"/>
                </a:lnTo>
                <a:lnTo>
                  <a:pt x="223" y="525"/>
                </a:lnTo>
                <a:lnTo>
                  <a:pt x="229" y="521"/>
                </a:lnTo>
                <a:lnTo>
                  <a:pt x="234" y="515"/>
                </a:lnTo>
                <a:lnTo>
                  <a:pt x="238" y="509"/>
                </a:lnTo>
                <a:lnTo>
                  <a:pt x="244" y="502"/>
                </a:lnTo>
                <a:lnTo>
                  <a:pt x="250" y="494"/>
                </a:lnTo>
                <a:lnTo>
                  <a:pt x="255" y="487"/>
                </a:lnTo>
                <a:lnTo>
                  <a:pt x="259" y="477"/>
                </a:lnTo>
                <a:lnTo>
                  <a:pt x="265" y="467"/>
                </a:lnTo>
                <a:lnTo>
                  <a:pt x="269" y="460"/>
                </a:lnTo>
                <a:lnTo>
                  <a:pt x="272" y="450"/>
                </a:lnTo>
                <a:lnTo>
                  <a:pt x="276" y="443"/>
                </a:lnTo>
                <a:lnTo>
                  <a:pt x="280" y="437"/>
                </a:lnTo>
                <a:lnTo>
                  <a:pt x="282" y="429"/>
                </a:lnTo>
                <a:lnTo>
                  <a:pt x="282" y="425"/>
                </a:lnTo>
                <a:lnTo>
                  <a:pt x="282" y="425"/>
                </a:lnTo>
                <a:lnTo>
                  <a:pt x="284" y="418"/>
                </a:lnTo>
                <a:lnTo>
                  <a:pt x="286" y="410"/>
                </a:lnTo>
                <a:lnTo>
                  <a:pt x="288" y="404"/>
                </a:lnTo>
                <a:lnTo>
                  <a:pt x="290" y="399"/>
                </a:lnTo>
                <a:lnTo>
                  <a:pt x="293" y="393"/>
                </a:lnTo>
                <a:lnTo>
                  <a:pt x="295" y="387"/>
                </a:lnTo>
                <a:lnTo>
                  <a:pt x="299" y="383"/>
                </a:lnTo>
                <a:lnTo>
                  <a:pt x="303" y="378"/>
                </a:lnTo>
                <a:lnTo>
                  <a:pt x="305" y="374"/>
                </a:lnTo>
                <a:lnTo>
                  <a:pt x="309" y="370"/>
                </a:lnTo>
                <a:lnTo>
                  <a:pt x="314" y="366"/>
                </a:lnTo>
                <a:lnTo>
                  <a:pt x="318" y="362"/>
                </a:lnTo>
                <a:lnTo>
                  <a:pt x="322" y="359"/>
                </a:lnTo>
                <a:lnTo>
                  <a:pt x="326" y="355"/>
                </a:lnTo>
                <a:lnTo>
                  <a:pt x="332" y="351"/>
                </a:lnTo>
                <a:lnTo>
                  <a:pt x="335" y="347"/>
                </a:lnTo>
                <a:lnTo>
                  <a:pt x="335" y="347"/>
                </a:lnTo>
                <a:lnTo>
                  <a:pt x="339" y="345"/>
                </a:lnTo>
                <a:lnTo>
                  <a:pt x="341" y="340"/>
                </a:lnTo>
                <a:lnTo>
                  <a:pt x="343" y="336"/>
                </a:lnTo>
                <a:lnTo>
                  <a:pt x="343" y="330"/>
                </a:lnTo>
                <a:lnTo>
                  <a:pt x="343" y="324"/>
                </a:lnTo>
                <a:lnTo>
                  <a:pt x="343" y="321"/>
                </a:lnTo>
                <a:lnTo>
                  <a:pt x="345" y="315"/>
                </a:lnTo>
                <a:lnTo>
                  <a:pt x="345" y="313"/>
                </a:lnTo>
                <a:lnTo>
                  <a:pt x="345" y="313"/>
                </a:lnTo>
                <a:lnTo>
                  <a:pt x="349" y="307"/>
                </a:lnTo>
                <a:lnTo>
                  <a:pt x="353" y="303"/>
                </a:lnTo>
                <a:lnTo>
                  <a:pt x="356" y="298"/>
                </a:lnTo>
                <a:lnTo>
                  <a:pt x="362" y="294"/>
                </a:lnTo>
                <a:lnTo>
                  <a:pt x="368" y="290"/>
                </a:lnTo>
                <a:lnTo>
                  <a:pt x="372" y="286"/>
                </a:lnTo>
                <a:lnTo>
                  <a:pt x="375" y="282"/>
                </a:lnTo>
                <a:lnTo>
                  <a:pt x="377" y="280"/>
                </a:lnTo>
                <a:lnTo>
                  <a:pt x="377" y="280"/>
                </a:lnTo>
                <a:lnTo>
                  <a:pt x="377" y="277"/>
                </a:lnTo>
                <a:lnTo>
                  <a:pt x="379" y="273"/>
                </a:lnTo>
                <a:lnTo>
                  <a:pt x="377" y="269"/>
                </a:lnTo>
                <a:lnTo>
                  <a:pt x="377" y="263"/>
                </a:lnTo>
                <a:lnTo>
                  <a:pt x="377" y="258"/>
                </a:lnTo>
                <a:lnTo>
                  <a:pt x="377" y="254"/>
                </a:lnTo>
                <a:lnTo>
                  <a:pt x="377" y="248"/>
                </a:lnTo>
                <a:lnTo>
                  <a:pt x="377" y="244"/>
                </a:lnTo>
                <a:lnTo>
                  <a:pt x="377" y="244"/>
                </a:lnTo>
                <a:lnTo>
                  <a:pt x="377" y="240"/>
                </a:lnTo>
                <a:lnTo>
                  <a:pt x="381" y="237"/>
                </a:lnTo>
                <a:lnTo>
                  <a:pt x="383" y="231"/>
                </a:lnTo>
                <a:lnTo>
                  <a:pt x="387" y="223"/>
                </a:lnTo>
                <a:lnTo>
                  <a:pt x="391" y="218"/>
                </a:lnTo>
                <a:lnTo>
                  <a:pt x="395" y="212"/>
                </a:lnTo>
                <a:lnTo>
                  <a:pt x="398" y="206"/>
                </a:lnTo>
                <a:lnTo>
                  <a:pt x="400" y="200"/>
                </a:lnTo>
                <a:lnTo>
                  <a:pt x="400" y="200"/>
                </a:lnTo>
                <a:lnTo>
                  <a:pt x="406" y="191"/>
                </a:lnTo>
                <a:lnTo>
                  <a:pt x="410" y="183"/>
                </a:lnTo>
                <a:lnTo>
                  <a:pt x="416" y="177"/>
                </a:lnTo>
                <a:lnTo>
                  <a:pt x="421" y="172"/>
                </a:lnTo>
                <a:lnTo>
                  <a:pt x="429" y="166"/>
                </a:lnTo>
                <a:lnTo>
                  <a:pt x="437" y="162"/>
                </a:lnTo>
                <a:lnTo>
                  <a:pt x="444" y="156"/>
                </a:lnTo>
                <a:lnTo>
                  <a:pt x="452" y="153"/>
                </a:lnTo>
                <a:lnTo>
                  <a:pt x="458" y="149"/>
                </a:lnTo>
                <a:lnTo>
                  <a:pt x="465" y="143"/>
                </a:lnTo>
                <a:lnTo>
                  <a:pt x="471" y="137"/>
                </a:lnTo>
                <a:lnTo>
                  <a:pt x="477" y="132"/>
                </a:lnTo>
                <a:lnTo>
                  <a:pt x="480" y="126"/>
                </a:lnTo>
                <a:lnTo>
                  <a:pt x="484" y="118"/>
                </a:lnTo>
                <a:lnTo>
                  <a:pt x="486" y="109"/>
                </a:lnTo>
                <a:lnTo>
                  <a:pt x="486" y="99"/>
                </a:lnTo>
                <a:lnTo>
                  <a:pt x="486" y="99"/>
                </a:lnTo>
                <a:lnTo>
                  <a:pt x="486" y="94"/>
                </a:lnTo>
                <a:lnTo>
                  <a:pt x="486" y="88"/>
                </a:lnTo>
                <a:lnTo>
                  <a:pt x="486" y="84"/>
                </a:lnTo>
                <a:lnTo>
                  <a:pt x="484" y="80"/>
                </a:lnTo>
                <a:lnTo>
                  <a:pt x="484" y="76"/>
                </a:lnTo>
                <a:lnTo>
                  <a:pt x="484" y="73"/>
                </a:lnTo>
                <a:lnTo>
                  <a:pt x="486" y="69"/>
                </a:lnTo>
                <a:lnTo>
                  <a:pt x="486" y="65"/>
                </a:lnTo>
                <a:lnTo>
                  <a:pt x="486" y="65"/>
                </a:lnTo>
                <a:lnTo>
                  <a:pt x="480" y="63"/>
                </a:lnTo>
                <a:lnTo>
                  <a:pt x="475" y="63"/>
                </a:lnTo>
                <a:lnTo>
                  <a:pt x="469" y="61"/>
                </a:lnTo>
                <a:lnTo>
                  <a:pt x="463" y="59"/>
                </a:lnTo>
                <a:lnTo>
                  <a:pt x="459" y="59"/>
                </a:lnTo>
                <a:lnTo>
                  <a:pt x="454" y="57"/>
                </a:lnTo>
                <a:lnTo>
                  <a:pt x="452" y="55"/>
                </a:lnTo>
                <a:lnTo>
                  <a:pt x="448" y="53"/>
                </a:lnTo>
                <a:lnTo>
                  <a:pt x="448" y="0"/>
                </a:lnTo>
                <a:lnTo>
                  <a:pt x="448" y="0"/>
                </a:lnTo>
                <a:lnTo>
                  <a:pt x="458" y="8"/>
                </a:lnTo>
                <a:lnTo>
                  <a:pt x="465" y="15"/>
                </a:lnTo>
                <a:lnTo>
                  <a:pt x="471" y="21"/>
                </a:lnTo>
                <a:lnTo>
                  <a:pt x="477" y="31"/>
                </a:lnTo>
                <a:lnTo>
                  <a:pt x="482" y="38"/>
                </a:lnTo>
                <a:lnTo>
                  <a:pt x="488" y="46"/>
                </a:lnTo>
                <a:lnTo>
                  <a:pt x="496" y="55"/>
                </a:lnTo>
                <a:lnTo>
                  <a:pt x="501" y="65"/>
                </a:lnTo>
                <a:lnTo>
                  <a:pt x="501" y="120"/>
                </a:lnTo>
                <a:lnTo>
                  <a:pt x="501" y="120"/>
                </a:lnTo>
                <a:lnTo>
                  <a:pt x="505" y="128"/>
                </a:lnTo>
                <a:lnTo>
                  <a:pt x="509" y="135"/>
                </a:lnTo>
                <a:lnTo>
                  <a:pt x="511" y="143"/>
                </a:lnTo>
                <a:lnTo>
                  <a:pt x="515" y="151"/>
                </a:lnTo>
                <a:lnTo>
                  <a:pt x="517" y="156"/>
                </a:lnTo>
                <a:lnTo>
                  <a:pt x="519" y="164"/>
                </a:lnTo>
                <a:lnTo>
                  <a:pt x="520" y="172"/>
                </a:lnTo>
                <a:lnTo>
                  <a:pt x="522" y="179"/>
                </a:lnTo>
                <a:lnTo>
                  <a:pt x="524" y="185"/>
                </a:lnTo>
                <a:lnTo>
                  <a:pt x="526" y="193"/>
                </a:lnTo>
                <a:lnTo>
                  <a:pt x="528" y="200"/>
                </a:lnTo>
                <a:lnTo>
                  <a:pt x="530" y="206"/>
                </a:lnTo>
                <a:lnTo>
                  <a:pt x="532" y="214"/>
                </a:lnTo>
                <a:lnTo>
                  <a:pt x="534" y="221"/>
                </a:lnTo>
                <a:lnTo>
                  <a:pt x="538" y="227"/>
                </a:lnTo>
                <a:lnTo>
                  <a:pt x="540" y="235"/>
                </a:lnTo>
                <a:lnTo>
                  <a:pt x="540" y="235"/>
                </a:lnTo>
                <a:lnTo>
                  <a:pt x="532" y="235"/>
                </a:lnTo>
                <a:lnTo>
                  <a:pt x="524" y="235"/>
                </a:lnTo>
                <a:lnTo>
                  <a:pt x="515" y="235"/>
                </a:lnTo>
                <a:lnTo>
                  <a:pt x="507" y="235"/>
                </a:lnTo>
                <a:lnTo>
                  <a:pt x="498" y="235"/>
                </a:lnTo>
                <a:lnTo>
                  <a:pt x="490" y="237"/>
                </a:lnTo>
                <a:lnTo>
                  <a:pt x="480" y="237"/>
                </a:lnTo>
                <a:lnTo>
                  <a:pt x="473" y="237"/>
                </a:lnTo>
                <a:lnTo>
                  <a:pt x="465" y="238"/>
                </a:lnTo>
                <a:lnTo>
                  <a:pt x="458" y="240"/>
                </a:lnTo>
                <a:lnTo>
                  <a:pt x="452" y="242"/>
                </a:lnTo>
                <a:lnTo>
                  <a:pt x="446" y="246"/>
                </a:lnTo>
                <a:lnTo>
                  <a:pt x="442" y="250"/>
                </a:lnTo>
                <a:lnTo>
                  <a:pt x="438" y="256"/>
                </a:lnTo>
                <a:lnTo>
                  <a:pt x="437" y="263"/>
                </a:lnTo>
                <a:lnTo>
                  <a:pt x="437" y="271"/>
                </a:lnTo>
                <a:lnTo>
                  <a:pt x="437" y="271"/>
                </a:lnTo>
                <a:lnTo>
                  <a:pt x="437" y="279"/>
                </a:lnTo>
                <a:lnTo>
                  <a:pt x="438" y="286"/>
                </a:lnTo>
                <a:lnTo>
                  <a:pt x="440" y="292"/>
                </a:lnTo>
                <a:lnTo>
                  <a:pt x="442" y="298"/>
                </a:lnTo>
                <a:lnTo>
                  <a:pt x="446" y="303"/>
                </a:lnTo>
                <a:lnTo>
                  <a:pt x="448" y="307"/>
                </a:lnTo>
                <a:lnTo>
                  <a:pt x="452" y="311"/>
                </a:lnTo>
                <a:lnTo>
                  <a:pt x="458" y="315"/>
                </a:lnTo>
                <a:lnTo>
                  <a:pt x="461" y="319"/>
                </a:lnTo>
                <a:lnTo>
                  <a:pt x="467" y="322"/>
                </a:lnTo>
                <a:lnTo>
                  <a:pt x="471" y="326"/>
                </a:lnTo>
                <a:lnTo>
                  <a:pt x="475" y="328"/>
                </a:lnTo>
                <a:lnTo>
                  <a:pt x="480" y="332"/>
                </a:lnTo>
                <a:lnTo>
                  <a:pt x="484" y="336"/>
                </a:lnTo>
                <a:lnTo>
                  <a:pt x="490" y="338"/>
                </a:lnTo>
                <a:lnTo>
                  <a:pt x="492" y="342"/>
                </a:lnTo>
                <a:lnTo>
                  <a:pt x="492" y="342"/>
                </a:lnTo>
                <a:lnTo>
                  <a:pt x="498" y="347"/>
                </a:lnTo>
                <a:lnTo>
                  <a:pt x="503" y="355"/>
                </a:lnTo>
                <a:lnTo>
                  <a:pt x="509" y="361"/>
                </a:lnTo>
                <a:lnTo>
                  <a:pt x="515" y="366"/>
                </a:lnTo>
                <a:lnTo>
                  <a:pt x="519" y="372"/>
                </a:lnTo>
                <a:lnTo>
                  <a:pt x="522" y="378"/>
                </a:lnTo>
                <a:lnTo>
                  <a:pt x="528" y="385"/>
                </a:lnTo>
                <a:lnTo>
                  <a:pt x="532" y="391"/>
                </a:lnTo>
                <a:lnTo>
                  <a:pt x="536" y="399"/>
                </a:lnTo>
                <a:lnTo>
                  <a:pt x="540" y="404"/>
                </a:lnTo>
                <a:lnTo>
                  <a:pt x="541" y="412"/>
                </a:lnTo>
                <a:lnTo>
                  <a:pt x="545" y="420"/>
                </a:lnTo>
                <a:lnTo>
                  <a:pt x="549" y="427"/>
                </a:lnTo>
                <a:lnTo>
                  <a:pt x="551" y="437"/>
                </a:lnTo>
                <a:lnTo>
                  <a:pt x="555" y="445"/>
                </a:lnTo>
                <a:lnTo>
                  <a:pt x="557" y="454"/>
                </a:lnTo>
                <a:lnTo>
                  <a:pt x="557" y="454"/>
                </a:lnTo>
                <a:lnTo>
                  <a:pt x="555" y="454"/>
                </a:lnTo>
                <a:lnTo>
                  <a:pt x="553" y="454"/>
                </a:lnTo>
                <a:lnTo>
                  <a:pt x="551" y="456"/>
                </a:lnTo>
                <a:lnTo>
                  <a:pt x="551" y="456"/>
                </a:lnTo>
                <a:lnTo>
                  <a:pt x="549" y="458"/>
                </a:lnTo>
                <a:lnTo>
                  <a:pt x="547" y="458"/>
                </a:lnTo>
                <a:lnTo>
                  <a:pt x="545" y="458"/>
                </a:lnTo>
                <a:lnTo>
                  <a:pt x="541" y="460"/>
                </a:lnTo>
                <a:lnTo>
                  <a:pt x="541" y="460"/>
                </a:lnTo>
                <a:lnTo>
                  <a:pt x="536" y="466"/>
                </a:lnTo>
                <a:lnTo>
                  <a:pt x="532" y="473"/>
                </a:lnTo>
                <a:lnTo>
                  <a:pt x="526" y="479"/>
                </a:lnTo>
                <a:lnTo>
                  <a:pt x="522" y="487"/>
                </a:lnTo>
                <a:lnTo>
                  <a:pt x="517" y="492"/>
                </a:lnTo>
                <a:lnTo>
                  <a:pt x="513" y="500"/>
                </a:lnTo>
                <a:lnTo>
                  <a:pt x="509" y="506"/>
                </a:lnTo>
                <a:lnTo>
                  <a:pt x="505" y="513"/>
                </a:lnTo>
                <a:lnTo>
                  <a:pt x="501" y="521"/>
                </a:lnTo>
                <a:lnTo>
                  <a:pt x="498" y="527"/>
                </a:lnTo>
                <a:lnTo>
                  <a:pt x="494" y="534"/>
                </a:lnTo>
                <a:lnTo>
                  <a:pt x="490" y="540"/>
                </a:lnTo>
                <a:lnTo>
                  <a:pt x="484" y="548"/>
                </a:lnTo>
                <a:lnTo>
                  <a:pt x="480" y="553"/>
                </a:lnTo>
                <a:lnTo>
                  <a:pt x="475" y="561"/>
                </a:lnTo>
                <a:lnTo>
                  <a:pt x="469" y="567"/>
                </a:lnTo>
                <a:lnTo>
                  <a:pt x="469" y="567"/>
                </a:lnTo>
                <a:lnTo>
                  <a:pt x="471" y="569"/>
                </a:lnTo>
                <a:lnTo>
                  <a:pt x="473" y="570"/>
                </a:lnTo>
                <a:lnTo>
                  <a:pt x="477" y="572"/>
                </a:lnTo>
                <a:lnTo>
                  <a:pt x="478" y="574"/>
                </a:lnTo>
                <a:lnTo>
                  <a:pt x="480" y="576"/>
                </a:lnTo>
                <a:lnTo>
                  <a:pt x="482" y="578"/>
                </a:lnTo>
                <a:lnTo>
                  <a:pt x="482" y="580"/>
                </a:lnTo>
                <a:lnTo>
                  <a:pt x="482" y="582"/>
                </a:lnTo>
                <a:lnTo>
                  <a:pt x="482" y="582"/>
                </a:lnTo>
                <a:lnTo>
                  <a:pt x="484" y="586"/>
                </a:lnTo>
                <a:lnTo>
                  <a:pt x="484" y="588"/>
                </a:lnTo>
                <a:lnTo>
                  <a:pt x="484" y="591"/>
                </a:lnTo>
                <a:lnTo>
                  <a:pt x="484" y="593"/>
                </a:lnTo>
                <a:lnTo>
                  <a:pt x="484" y="597"/>
                </a:lnTo>
                <a:lnTo>
                  <a:pt x="484" y="601"/>
                </a:lnTo>
                <a:lnTo>
                  <a:pt x="482" y="607"/>
                </a:lnTo>
                <a:lnTo>
                  <a:pt x="482" y="611"/>
                </a:lnTo>
                <a:lnTo>
                  <a:pt x="482" y="611"/>
                </a:lnTo>
                <a:lnTo>
                  <a:pt x="484" y="622"/>
                </a:lnTo>
                <a:lnTo>
                  <a:pt x="486" y="633"/>
                </a:lnTo>
                <a:lnTo>
                  <a:pt x="488" y="645"/>
                </a:lnTo>
                <a:lnTo>
                  <a:pt x="490" y="656"/>
                </a:lnTo>
                <a:lnTo>
                  <a:pt x="494" y="668"/>
                </a:lnTo>
                <a:lnTo>
                  <a:pt x="498" y="679"/>
                </a:lnTo>
                <a:lnTo>
                  <a:pt x="503" y="691"/>
                </a:lnTo>
                <a:lnTo>
                  <a:pt x="509" y="700"/>
                </a:lnTo>
                <a:lnTo>
                  <a:pt x="515" y="712"/>
                </a:lnTo>
                <a:lnTo>
                  <a:pt x="520" y="721"/>
                </a:lnTo>
                <a:lnTo>
                  <a:pt x="526" y="731"/>
                </a:lnTo>
                <a:lnTo>
                  <a:pt x="532" y="740"/>
                </a:lnTo>
                <a:lnTo>
                  <a:pt x="538" y="750"/>
                </a:lnTo>
                <a:lnTo>
                  <a:pt x="543" y="757"/>
                </a:lnTo>
                <a:lnTo>
                  <a:pt x="549" y="765"/>
                </a:lnTo>
                <a:lnTo>
                  <a:pt x="555" y="773"/>
                </a:lnTo>
                <a:lnTo>
                  <a:pt x="555" y="773"/>
                </a:lnTo>
                <a:lnTo>
                  <a:pt x="559" y="776"/>
                </a:lnTo>
                <a:lnTo>
                  <a:pt x="562" y="780"/>
                </a:lnTo>
                <a:lnTo>
                  <a:pt x="566" y="784"/>
                </a:lnTo>
                <a:lnTo>
                  <a:pt x="570" y="788"/>
                </a:lnTo>
                <a:lnTo>
                  <a:pt x="576" y="792"/>
                </a:lnTo>
                <a:lnTo>
                  <a:pt x="580" y="794"/>
                </a:lnTo>
                <a:lnTo>
                  <a:pt x="585" y="797"/>
                </a:lnTo>
                <a:lnTo>
                  <a:pt x="589" y="801"/>
                </a:lnTo>
                <a:lnTo>
                  <a:pt x="593" y="805"/>
                </a:lnTo>
                <a:lnTo>
                  <a:pt x="597" y="809"/>
                </a:lnTo>
                <a:lnTo>
                  <a:pt x="601" y="813"/>
                </a:lnTo>
                <a:lnTo>
                  <a:pt x="604" y="818"/>
                </a:lnTo>
                <a:lnTo>
                  <a:pt x="606" y="824"/>
                </a:lnTo>
                <a:lnTo>
                  <a:pt x="608" y="830"/>
                </a:lnTo>
                <a:lnTo>
                  <a:pt x="610" y="838"/>
                </a:lnTo>
                <a:lnTo>
                  <a:pt x="610" y="845"/>
                </a:lnTo>
                <a:lnTo>
                  <a:pt x="610" y="845"/>
                </a:lnTo>
                <a:lnTo>
                  <a:pt x="610" y="847"/>
                </a:lnTo>
                <a:lnTo>
                  <a:pt x="610" y="845"/>
                </a:lnTo>
                <a:lnTo>
                  <a:pt x="610" y="843"/>
                </a:lnTo>
                <a:lnTo>
                  <a:pt x="610" y="845"/>
                </a:lnTo>
                <a:lnTo>
                  <a:pt x="610" y="838"/>
                </a:lnTo>
                <a:lnTo>
                  <a:pt x="610" y="838"/>
                </a:lnTo>
                <a:lnTo>
                  <a:pt x="606" y="845"/>
                </a:lnTo>
                <a:lnTo>
                  <a:pt x="604" y="851"/>
                </a:lnTo>
                <a:lnTo>
                  <a:pt x="602" y="859"/>
                </a:lnTo>
                <a:lnTo>
                  <a:pt x="601" y="866"/>
                </a:lnTo>
                <a:lnTo>
                  <a:pt x="601" y="874"/>
                </a:lnTo>
                <a:lnTo>
                  <a:pt x="599" y="881"/>
                </a:lnTo>
                <a:lnTo>
                  <a:pt x="597" y="889"/>
                </a:lnTo>
                <a:lnTo>
                  <a:pt x="593" y="897"/>
                </a:lnTo>
                <a:lnTo>
                  <a:pt x="593" y="897"/>
                </a:lnTo>
                <a:lnTo>
                  <a:pt x="591" y="895"/>
                </a:lnTo>
                <a:lnTo>
                  <a:pt x="587" y="893"/>
                </a:lnTo>
                <a:lnTo>
                  <a:pt x="583" y="891"/>
                </a:lnTo>
                <a:lnTo>
                  <a:pt x="580" y="887"/>
                </a:lnTo>
                <a:lnTo>
                  <a:pt x="574" y="885"/>
                </a:lnTo>
                <a:lnTo>
                  <a:pt x="568" y="885"/>
                </a:lnTo>
                <a:lnTo>
                  <a:pt x="562" y="883"/>
                </a:lnTo>
                <a:lnTo>
                  <a:pt x="557" y="883"/>
                </a:lnTo>
                <a:lnTo>
                  <a:pt x="557" y="883"/>
                </a:lnTo>
                <a:lnTo>
                  <a:pt x="549" y="881"/>
                </a:lnTo>
                <a:lnTo>
                  <a:pt x="540" y="881"/>
                </a:lnTo>
                <a:lnTo>
                  <a:pt x="532" y="879"/>
                </a:lnTo>
                <a:lnTo>
                  <a:pt x="524" y="878"/>
                </a:lnTo>
                <a:lnTo>
                  <a:pt x="517" y="876"/>
                </a:lnTo>
                <a:lnTo>
                  <a:pt x="511" y="874"/>
                </a:lnTo>
                <a:lnTo>
                  <a:pt x="505" y="872"/>
                </a:lnTo>
                <a:lnTo>
                  <a:pt x="498" y="868"/>
                </a:lnTo>
                <a:lnTo>
                  <a:pt x="492" y="866"/>
                </a:lnTo>
                <a:lnTo>
                  <a:pt x="484" y="864"/>
                </a:lnTo>
                <a:lnTo>
                  <a:pt x="478" y="862"/>
                </a:lnTo>
                <a:lnTo>
                  <a:pt x="471" y="860"/>
                </a:lnTo>
                <a:lnTo>
                  <a:pt x="463" y="859"/>
                </a:lnTo>
                <a:lnTo>
                  <a:pt x="456" y="857"/>
                </a:lnTo>
                <a:lnTo>
                  <a:pt x="446" y="857"/>
                </a:lnTo>
                <a:lnTo>
                  <a:pt x="437" y="855"/>
                </a:lnTo>
                <a:lnTo>
                  <a:pt x="437" y="855"/>
                </a:lnTo>
                <a:lnTo>
                  <a:pt x="425" y="855"/>
                </a:lnTo>
                <a:lnTo>
                  <a:pt x="416" y="857"/>
                </a:lnTo>
                <a:lnTo>
                  <a:pt x="406" y="857"/>
                </a:lnTo>
                <a:lnTo>
                  <a:pt x="398" y="859"/>
                </a:lnTo>
                <a:lnTo>
                  <a:pt x="391" y="860"/>
                </a:lnTo>
                <a:lnTo>
                  <a:pt x="383" y="864"/>
                </a:lnTo>
                <a:lnTo>
                  <a:pt x="377" y="868"/>
                </a:lnTo>
                <a:lnTo>
                  <a:pt x="374" y="872"/>
                </a:lnTo>
                <a:lnTo>
                  <a:pt x="366" y="868"/>
                </a:lnTo>
              </a:path>
            </a:pathLst>
          </a:custGeom>
          <a:solidFill>
            <a:schemeClr val="bg2"/>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0" name="Freeform 30"/>
          <p:cNvSpPr>
            <a:spLocks/>
          </p:cNvSpPr>
          <p:nvPr/>
        </p:nvSpPr>
        <p:spPr bwMode="auto">
          <a:xfrm>
            <a:off x="1998663" y="2962177"/>
            <a:ext cx="849313" cy="666750"/>
          </a:xfrm>
          <a:custGeom>
            <a:avLst/>
            <a:gdLst>
              <a:gd name="T0" fmla="*/ 442 w 944"/>
              <a:gd name="T1" fmla="*/ 730 h 763"/>
              <a:gd name="T2" fmla="*/ 421 w 944"/>
              <a:gd name="T3" fmla="*/ 738 h 763"/>
              <a:gd name="T4" fmla="*/ 379 w 944"/>
              <a:gd name="T5" fmla="*/ 751 h 763"/>
              <a:gd name="T6" fmla="*/ 339 w 944"/>
              <a:gd name="T7" fmla="*/ 755 h 763"/>
              <a:gd name="T8" fmla="*/ 311 w 944"/>
              <a:gd name="T9" fmla="*/ 757 h 763"/>
              <a:gd name="T10" fmla="*/ 280 w 944"/>
              <a:gd name="T11" fmla="*/ 761 h 763"/>
              <a:gd name="T12" fmla="*/ 236 w 944"/>
              <a:gd name="T13" fmla="*/ 751 h 763"/>
              <a:gd name="T14" fmla="*/ 208 w 944"/>
              <a:gd name="T15" fmla="*/ 703 h 763"/>
              <a:gd name="T16" fmla="*/ 183 w 944"/>
              <a:gd name="T17" fmla="*/ 658 h 763"/>
              <a:gd name="T18" fmla="*/ 141 w 944"/>
              <a:gd name="T19" fmla="*/ 608 h 763"/>
              <a:gd name="T20" fmla="*/ 97 w 944"/>
              <a:gd name="T21" fmla="*/ 599 h 763"/>
              <a:gd name="T22" fmla="*/ 4 w 944"/>
              <a:gd name="T23" fmla="*/ 595 h 763"/>
              <a:gd name="T24" fmla="*/ 4 w 944"/>
              <a:gd name="T25" fmla="*/ 427 h 763"/>
              <a:gd name="T26" fmla="*/ 23 w 944"/>
              <a:gd name="T27" fmla="*/ 394 h 763"/>
              <a:gd name="T28" fmla="*/ 30 w 944"/>
              <a:gd name="T29" fmla="*/ 352 h 763"/>
              <a:gd name="T30" fmla="*/ 61 w 944"/>
              <a:gd name="T31" fmla="*/ 312 h 763"/>
              <a:gd name="T32" fmla="*/ 93 w 944"/>
              <a:gd name="T33" fmla="*/ 267 h 763"/>
              <a:gd name="T34" fmla="*/ 88 w 944"/>
              <a:gd name="T35" fmla="*/ 215 h 763"/>
              <a:gd name="T36" fmla="*/ 78 w 944"/>
              <a:gd name="T37" fmla="*/ 145 h 763"/>
              <a:gd name="T38" fmla="*/ 99 w 944"/>
              <a:gd name="T39" fmla="*/ 89 h 763"/>
              <a:gd name="T40" fmla="*/ 124 w 944"/>
              <a:gd name="T41" fmla="*/ 43 h 763"/>
              <a:gd name="T42" fmla="*/ 147 w 944"/>
              <a:gd name="T43" fmla="*/ 13 h 763"/>
              <a:gd name="T44" fmla="*/ 202 w 944"/>
              <a:gd name="T45" fmla="*/ 1 h 763"/>
              <a:gd name="T46" fmla="*/ 242 w 944"/>
              <a:gd name="T47" fmla="*/ 1 h 763"/>
              <a:gd name="T48" fmla="*/ 288 w 944"/>
              <a:gd name="T49" fmla="*/ 15 h 763"/>
              <a:gd name="T50" fmla="*/ 313 w 944"/>
              <a:gd name="T51" fmla="*/ 30 h 763"/>
              <a:gd name="T52" fmla="*/ 341 w 944"/>
              <a:gd name="T53" fmla="*/ 68 h 763"/>
              <a:gd name="T54" fmla="*/ 372 w 944"/>
              <a:gd name="T55" fmla="*/ 62 h 763"/>
              <a:gd name="T56" fmla="*/ 400 w 944"/>
              <a:gd name="T57" fmla="*/ 49 h 763"/>
              <a:gd name="T58" fmla="*/ 435 w 944"/>
              <a:gd name="T59" fmla="*/ 47 h 763"/>
              <a:gd name="T60" fmla="*/ 477 w 944"/>
              <a:gd name="T61" fmla="*/ 70 h 763"/>
              <a:gd name="T62" fmla="*/ 528 w 944"/>
              <a:gd name="T63" fmla="*/ 87 h 763"/>
              <a:gd name="T64" fmla="*/ 578 w 944"/>
              <a:gd name="T65" fmla="*/ 72 h 763"/>
              <a:gd name="T66" fmla="*/ 627 w 944"/>
              <a:gd name="T67" fmla="*/ 45 h 763"/>
              <a:gd name="T68" fmla="*/ 683 w 944"/>
              <a:gd name="T69" fmla="*/ 45 h 763"/>
              <a:gd name="T70" fmla="*/ 723 w 944"/>
              <a:gd name="T71" fmla="*/ 64 h 763"/>
              <a:gd name="T72" fmla="*/ 759 w 944"/>
              <a:gd name="T73" fmla="*/ 76 h 763"/>
              <a:gd name="T74" fmla="*/ 799 w 944"/>
              <a:gd name="T75" fmla="*/ 55 h 763"/>
              <a:gd name="T76" fmla="*/ 851 w 944"/>
              <a:gd name="T77" fmla="*/ 24 h 763"/>
              <a:gd name="T78" fmla="*/ 879 w 944"/>
              <a:gd name="T79" fmla="*/ 38 h 763"/>
              <a:gd name="T80" fmla="*/ 906 w 944"/>
              <a:gd name="T81" fmla="*/ 125 h 763"/>
              <a:gd name="T82" fmla="*/ 938 w 944"/>
              <a:gd name="T83" fmla="*/ 135 h 763"/>
              <a:gd name="T84" fmla="*/ 944 w 944"/>
              <a:gd name="T85" fmla="*/ 156 h 763"/>
              <a:gd name="T86" fmla="*/ 938 w 944"/>
              <a:gd name="T87" fmla="*/ 198 h 763"/>
              <a:gd name="T88" fmla="*/ 895 w 944"/>
              <a:gd name="T89" fmla="*/ 234 h 763"/>
              <a:gd name="T90" fmla="*/ 858 w 944"/>
              <a:gd name="T91" fmla="*/ 272 h 763"/>
              <a:gd name="T92" fmla="*/ 835 w 944"/>
              <a:gd name="T93" fmla="*/ 312 h 763"/>
              <a:gd name="T94" fmla="*/ 835 w 944"/>
              <a:gd name="T95" fmla="*/ 341 h 763"/>
              <a:gd name="T96" fmla="*/ 826 w 944"/>
              <a:gd name="T97" fmla="*/ 362 h 763"/>
              <a:gd name="T98" fmla="*/ 803 w 944"/>
              <a:gd name="T99" fmla="*/ 387 h 763"/>
              <a:gd name="T100" fmla="*/ 793 w 944"/>
              <a:gd name="T101" fmla="*/ 419 h 763"/>
              <a:gd name="T102" fmla="*/ 767 w 944"/>
              <a:gd name="T103" fmla="*/ 442 h 763"/>
              <a:gd name="T104" fmla="*/ 746 w 944"/>
              <a:gd name="T105" fmla="*/ 476 h 763"/>
              <a:gd name="T106" fmla="*/ 734 w 944"/>
              <a:gd name="T107" fmla="*/ 515 h 763"/>
              <a:gd name="T108" fmla="*/ 702 w 944"/>
              <a:gd name="T109" fmla="*/ 574 h 763"/>
              <a:gd name="T110" fmla="*/ 673 w 944"/>
              <a:gd name="T111" fmla="*/ 600 h 763"/>
              <a:gd name="T112" fmla="*/ 629 w 944"/>
              <a:gd name="T113" fmla="*/ 557 h 763"/>
              <a:gd name="T114" fmla="*/ 612 w 944"/>
              <a:gd name="T115" fmla="*/ 562 h 763"/>
              <a:gd name="T116" fmla="*/ 578 w 944"/>
              <a:gd name="T117" fmla="*/ 574 h 763"/>
              <a:gd name="T118" fmla="*/ 515 w 944"/>
              <a:gd name="T119" fmla="*/ 614 h 763"/>
              <a:gd name="T120" fmla="*/ 481 w 944"/>
              <a:gd name="T121" fmla="*/ 660 h 763"/>
              <a:gd name="T122" fmla="*/ 471 w 944"/>
              <a:gd name="T123" fmla="*/ 694 h 763"/>
              <a:gd name="T124" fmla="*/ 462 w 944"/>
              <a:gd name="T125" fmla="*/ 728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4" h="763">
                <a:moveTo>
                  <a:pt x="454" y="736"/>
                </a:moveTo>
                <a:lnTo>
                  <a:pt x="454" y="736"/>
                </a:lnTo>
                <a:lnTo>
                  <a:pt x="452" y="736"/>
                </a:lnTo>
                <a:lnTo>
                  <a:pt x="450" y="734"/>
                </a:lnTo>
                <a:lnTo>
                  <a:pt x="446" y="732"/>
                </a:lnTo>
                <a:lnTo>
                  <a:pt x="444" y="732"/>
                </a:lnTo>
                <a:lnTo>
                  <a:pt x="442" y="730"/>
                </a:lnTo>
                <a:lnTo>
                  <a:pt x="441" y="730"/>
                </a:lnTo>
                <a:lnTo>
                  <a:pt x="439" y="728"/>
                </a:lnTo>
                <a:lnTo>
                  <a:pt x="437" y="726"/>
                </a:lnTo>
                <a:lnTo>
                  <a:pt x="437" y="726"/>
                </a:lnTo>
                <a:lnTo>
                  <a:pt x="431" y="732"/>
                </a:lnTo>
                <a:lnTo>
                  <a:pt x="427" y="736"/>
                </a:lnTo>
                <a:lnTo>
                  <a:pt x="421" y="738"/>
                </a:lnTo>
                <a:lnTo>
                  <a:pt x="418" y="742"/>
                </a:lnTo>
                <a:lnTo>
                  <a:pt x="412" y="745"/>
                </a:lnTo>
                <a:lnTo>
                  <a:pt x="406" y="747"/>
                </a:lnTo>
                <a:lnTo>
                  <a:pt x="399" y="747"/>
                </a:lnTo>
                <a:lnTo>
                  <a:pt x="393" y="749"/>
                </a:lnTo>
                <a:lnTo>
                  <a:pt x="385" y="751"/>
                </a:lnTo>
                <a:lnTo>
                  <a:pt x="379" y="751"/>
                </a:lnTo>
                <a:lnTo>
                  <a:pt x="372" y="753"/>
                </a:lnTo>
                <a:lnTo>
                  <a:pt x="366" y="753"/>
                </a:lnTo>
                <a:lnTo>
                  <a:pt x="359" y="753"/>
                </a:lnTo>
                <a:lnTo>
                  <a:pt x="353" y="755"/>
                </a:lnTo>
                <a:lnTo>
                  <a:pt x="345" y="755"/>
                </a:lnTo>
                <a:lnTo>
                  <a:pt x="339" y="755"/>
                </a:lnTo>
                <a:lnTo>
                  <a:pt x="339" y="755"/>
                </a:lnTo>
                <a:lnTo>
                  <a:pt x="336" y="755"/>
                </a:lnTo>
                <a:lnTo>
                  <a:pt x="330" y="755"/>
                </a:lnTo>
                <a:lnTo>
                  <a:pt x="326" y="755"/>
                </a:lnTo>
                <a:lnTo>
                  <a:pt x="322" y="755"/>
                </a:lnTo>
                <a:lnTo>
                  <a:pt x="318" y="755"/>
                </a:lnTo>
                <a:lnTo>
                  <a:pt x="315" y="757"/>
                </a:lnTo>
                <a:lnTo>
                  <a:pt x="311" y="757"/>
                </a:lnTo>
                <a:lnTo>
                  <a:pt x="305" y="757"/>
                </a:lnTo>
                <a:lnTo>
                  <a:pt x="301" y="759"/>
                </a:lnTo>
                <a:lnTo>
                  <a:pt x="297" y="759"/>
                </a:lnTo>
                <a:lnTo>
                  <a:pt x="294" y="761"/>
                </a:lnTo>
                <a:lnTo>
                  <a:pt x="290" y="761"/>
                </a:lnTo>
                <a:lnTo>
                  <a:pt x="284" y="761"/>
                </a:lnTo>
                <a:lnTo>
                  <a:pt x="280" y="761"/>
                </a:lnTo>
                <a:lnTo>
                  <a:pt x="276" y="763"/>
                </a:lnTo>
                <a:lnTo>
                  <a:pt x="273" y="763"/>
                </a:lnTo>
                <a:lnTo>
                  <a:pt x="273" y="763"/>
                </a:lnTo>
                <a:lnTo>
                  <a:pt x="261" y="761"/>
                </a:lnTo>
                <a:lnTo>
                  <a:pt x="252" y="759"/>
                </a:lnTo>
                <a:lnTo>
                  <a:pt x="242" y="757"/>
                </a:lnTo>
                <a:lnTo>
                  <a:pt x="236" y="751"/>
                </a:lnTo>
                <a:lnTo>
                  <a:pt x="229" y="747"/>
                </a:lnTo>
                <a:lnTo>
                  <a:pt x="225" y="742"/>
                </a:lnTo>
                <a:lnTo>
                  <a:pt x="219" y="734"/>
                </a:lnTo>
                <a:lnTo>
                  <a:pt x="217" y="728"/>
                </a:lnTo>
                <a:lnTo>
                  <a:pt x="214" y="721"/>
                </a:lnTo>
                <a:lnTo>
                  <a:pt x="210" y="713"/>
                </a:lnTo>
                <a:lnTo>
                  <a:pt x="208" y="703"/>
                </a:lnTo>
                <a:lnTo>
                  <a:pt x="204" y="696"/>
                </a:lnTo>
                <a:lnTo>
                  <a:pt x="202" y="688"/>
                </a:lnTo>
                <a:lnTo>
                  <a:pt x="198" y="681"/>
                </a:lnTo>
                <a:lnTo>
                  <a:pt x="194" y="673"/>
                </a:lnTo>
                <a:lnTo>
                  <a:pt x="189" y="665"/>
                </a:lnTo>
                <a:lnTo>
                  <a:pt x="189" y="665"/>
                </a:lnTo>
                <a:lnTo>
                  <a:pt x="183" y="658"/>
                </a:lnTo>
                <a:lnTo>
                  <a:pt x="177" y="650"/>
                </a:lnTo>
                <a:lnTo>
                  <a:pt x="173" y="642"/>
                </a:lnTo>
                <a:lnTo>
                  <a:pt x="168" y="635"/>
                </a:lnTo>
                <a:lnTo>
                  <a:pt x="162" y="629"/>
                </a:lnTo>
                <a:lnTo>
                  <a:pt x="156" y="621"/>
                </a:lnTo>
                <a:lnTo>
                  <a:pt x="149" y="616"/>
                </a:lnTo>
                <a:lnTo>
                  <a:pt x="141" y="608"/>
                </a:lnTo>
                <a:lnTo>
                  <a:pt x="141" y="608"/>
                </a:lnTo>
                <a:lnTo>
                  <a:pt x="133" y="604"/>
                </a:lnTo>
                <a:lnTo>
                  <a:pt x="128" y="602"/>
                </a:lnTo>
                <a:lnTo>
                  <a:pt x="120" y="600"/>
                </a:lnTo>
                <a:lnTo>
                  <a:pt x="112" y="600"/>
                </a:lnTo>
                <a:lnTo>
                  <a:pt x="105" y="599"/>
                </a:lnTo>
                <a:lnTo>
                  <a:pt x="97" y="599"/>
                </a:lnTo>
                <a:lnTo>
                  <a:pt x="90" y="595"/>
                </a:lnTo>
                <a:lnTo>
                  <a:pt x="84" y="591"/>
                </a:lnTo>
                <a:lnTo>
                  <a:pt x="6" y="591"/>
                </a:lnTo>
                <a:lnTo>
                  <a:pt x="6" y="591"/>
                </a:lnTo>
                <a:lnTo>
                  <a:pt x="6" y="591"/>
                </a:lnTo>
                <a:lnTo>
                  <a:pt x="6" y="593"/>
                </a:lnTo>
                <a:lnTo>
                  <a:pt x="4" y="595"/>
                </a:lnTo>
                <a:lnTo>
                  <a:pt x="2" y="595"/>
                </a:lnTo>
                <a:lnTo>
                  <a:pt x="2" y="459"/>
                </a:lnTo>
                <a:lnTo>
                  <a:pt x="2" y="459"/>
                </a:lnTo>
                <a:lnTo>
                  <a:pt x="0" y="450"/>
                </a:lnTo>
                <a:lnTo>
                  <a:pt x="0" y="440"/>
                </a:lnTo>
                <a:lnTo>
                  <a:pt x="2" y="433"/>
                </a:lnTo>
                <a:lnTo>
                  <a:pt x="4" y="427"/>
                </a:lnTo>
                <a:lnTo>
                  <a:pt x="8" y="421"/>
                </a:lnTo>
                <a:lnTo>
                  <a:pt x="11" y="415"/>
                </a:lnTo>
                <a:lnTo>
                  <a:pt x="13" y="412"/>
                </a:lnTo>
                <a:lnTo>
                  <a:pt x="17" y="406"/>
                </a:lnTo>
                <a:lnTo>
                  <a:pt x="17" y="406"/>
                </a:lnTo>
                <a:lnTo>
                  <a:pt x="21" y="400"/>
                </a:lnTo>
                <a:lnTo>
                  <a:pt x="23" y="394"/>
                </a:lnTo>
                <a:lnTo>
                  <a:pt x="25" y="387"/>
                </a:lnTo>
                <a:lnTo>
                  <a:pt x="25" y="381"/>
                </a:lnTo>
                <a:lnTo>
                  <a:pt x="25" y="373"/>
                </a:lnTo>
                <a:lnTo>
                  <a:pt x="27" y="368"/>
                </a:lnTo>
                <a:lnTo>
                  <a:pt x="27" y="360"/>
                </a:lnTo>
                <a:lnTo>
                  <a:pt x="30" y="352"/>
                </a:lnTo>
                <a:lnTo>
                  <a:pt x="30" y="352"/>
                </a:lnTo>
                <a:lnTo>
                  <a:pt x="32" y="347"/>
                </a:lnTo>
                <a:lnTo>
                  <a:pt x="36" y="339"/>
                </a:lnTo>
                <a:lnTo>
                  <a:pt x="40" y="333"/>
                </a:lnTo>
                <a:lnTo>
                  <a:pt x="46" y="330"/>
                </a:lnTo>
                <a:lnTo>
                  <a:pt x="51" y="324"/>
                </a:lnTo>
                <a:lnTo>
                  <a:pt x="57" y="318"/>
                </a:lnTo>
                <a:lnTo>
                  <a:pt x="61" y="312"/>
                </a:lnTo>
                <a:lnTo>
                  <a:pt x="67" y="307"/>
                </a:lnTo>
                <a:lnTo>
                  <a:pt x="72" y="303"/>
                </a:lnTo>
                <a:lnTo>
                  <a:pt x="78" y="295"/>
                </a:lnTo>
                <a:lnTo>
                  <a:pt x="82" y="290"/>
                </a:lnTo>
                <a:lnTo>
                  <a:pt x="86" y="282"/>
                </a:lnTo>
                <a:lnTo>
                  <a:pt x="90" y="274"/>
                </a:lnTo>
                <a:lnTo>
                  <a:pt x="93" y="267"/>
                </a:lnTo>
                <a:lnTo>
                  <a:pt x="93" y="259"/>
                </a:lnTo>
                <a:lnTo>
                  <a:pt x="95" y="249"/>
                </a:lnTo>
                <a:lnTo>
                  <a:pt x="95" y="249"/>
                </a:lnTo>
                <a:lnTo>
                  <a:pt x="93" y="238"/>
                </a:lnTo>
                <a:lnTo>
                  <a:pt x="93" y="228"/>
                </a:lnTo>
                <a:lnTo>
                  <a:pt x="90" y="221"/>
                </a:lnTo>
                <a:lnTo>
                  <a:pt x="88" y="215"/>
                </a:lnTo>
                <a:lnTo>
                  <a:pt x="86" y="207"/>
                </a:lnTo>
                <a:lnTo>
                  <a:pt x="82" y="200"/>
                </a:lnTo>
                <a:lnTo>
                  <a:pt x="80" y="192"/>
                </a:lnTo>
                <a:lnTo>
                  <a:pt x="80" y="185"/>
                </a:lnTo>
                <a:lnTo>
                  <a:pt x="80" y="185"/>
                </a:lnTo>
                <a:lnTo>
                  <a:pt x="78" y="162"/>
                </a:lnTo>
                <a:lnTo>
                  <a:pt x="78" y="145"/>
                </a:lnTo>
                <a:lnTo>
                  <a:pt x="78" y="131"/>
                </a:lnTo>
                <a:lnTo>
                  <a:pt x="80" y="120"/>
                </a:lnTo>
                <a:lnTo>
                  <a:pt x="82" y="110"/>
                </a:lnTo>
                <a:lnTo>
                  <a:pt x="86" y="103"/>
                </a:lnTo>
                <a:lnTo>
                  <a:pt x="90" y="97"/>
                </a:lnTo>
                <a:lnTo>
                  <a:pt x="93" y="93"/>
                </a:lnTo>
                <a:lnTo>
                  <a:pt x="99" y="89"/>
                </a:lnTo>
                <a:lnTo>
                  <a:pt x="103" y="85"/>
                </a:lnTo>
                <a:lnTo>
                  <a:pt x="107" y="82"/>
                </a:lnTo>
                <a:lnTo>
                  <a:pt x="112" y="76"/>
                </a:lnTo>
                <a:lnTo>
                  <a:pt x="116" y="72"/>
                </a:lnTo>
                <a:lnTo>
                  <a:pt x="120" y="64"/>
                </a:lnTo>
                <a:lnTo>
                  <a:pt x="122" y="55"/>
                </a:lnTo>
                <a:lnTo>
                  <a:pt x="124" y="43"/>
                </a:lnTo>
                <a:lnTo>
                  <a:pt x="124" y="43"/>
                </a:lnTo>
                <a:lnTo>
                  <a:pt x="126" y="36"/>
                </a:lnTo>
                <a:lnTo>
                  <a:pt x="130" y="30"/>
                </a:lnTo>
                <a:lnTo>
                  <a:pt x="132" y="26"/>
                </a:lnTo>
                <a:lnTo>
                  <a:pt x="137" y="21"/>
                </a:lnTo>
                <a:lnTo>
                  <a:pt x="141" y="17"/>
                </a:lnTo>
                <a:lnTo>
                  <a:pt x="147" y="13"/>
                </a:lnTo>
                <a:lnTo>
                  <a:pt x="154" y="11"/>
                </a:lnTo>
                <a:lnTo>
                  <a:pt x="160" y="9"/>
                </a:lnTo>
                <a:lnTo>
                  <a:pt x="168" y="7"/>
                </a:lnTo>
                <a:lnTo>
                  <a:pt x="177" y="5"/>
                </a:lnTo>
                <a:lnTo>
                  <a:pt x="185" y="3"/>
                </a:lnTo>
                <a:lnTo>
                  <a:pt x="193" y="1"/>
                </a:lnTo>
                <a:lnTo>
                  <a:pt x="202" y="1"/>
                </a:lnTo>
                <a:lnTo>
                  <a:pt x="210" y="1"/>
                </a:lnTo>
                <a:lnTo>
                  <a:pt x="219" y="0"/>
                </a:lnTo>
                <a:lnTo>
                  <a:pt x="227" y="0"/>
                </a:lnTo>
                <a:lnTo>
                  <a:pt x="227" y="0"/>
                </a:lnTo>
                <a:lnTo>
                  <a:pt x="231" y="0"/>
                </a:lnTo>
                <a:lnTo>
                  <a:pt x="236" y="1"/>
                </a:lnTo>
                <a:lnTo>
                  <a:pt x="242" y="1"/>
                </a:lnTo>
                <a:lnTo>
                  <a:pt x="248" y="3"/>
                </a:lnTo>
                <a:lnTo>
                  <a:pt x="256" y="5"/>
                </a:lnTo>
                <a:lnTo>
                  <a:pt x="261" y="7"/>
                </a:lnTo>
                <a:lnTo>
                  <a:pt x="269" y="9"/>
                </a:lnTo>
                <a:lnTo>
                  <a:pt x="275" y="11"/>
                </a:lnTo>
                <a:lnTo>
                  <a:pt x="282" y="13"/>
                </a:lnTo>
                <a:lnTo>
                  <a:pt x="288" y="15"/>
                </a:lnTo>
                <a:lnTo>
                  <a:pt x="294" y="17"/>
                </a:lnTo>
                <a:lnTo>
                  <a:pt x="299" y="21"/>
                </a:lnTo>
                <a:lnTo>
                  <a:pt x="303" y="22"/>
                </a:lnTo>
                <a:lnTo>
                  <a:pt x="307" y="24"/>
                </a:lnTo>
                <a:lnTo>
                  <a:pt x="311" y="28"/>
                </a:lnTo>
                <a:lnTo>
                  <a:pt x="313" y="30"/>
                </a:lnTo>
                <a:lnTo>
                  <a:pt x="313" y="30"/>
                </a:lnTo>
                <a:lnTo>
                  <a:pt x="317" y="36"/>
                </a:lnTo>
                <a:lnTo>
                  <a:pt x="320" y="42"/>
                </a:lnTo>
                <a:lnTo>
                  <a:pt x="324" y="47"/>
                </a:lnTo>
                <a:lnTo>
                  <a:pt x="328" y="55"/>
                </a:lnTo>
                <a:lnTo>
                  <a:pt x="332" y="61"/>
                </a:lnTo>
                <a:lnTo>
                  <a:pt x="338" y="64"/>
                </a:lnTo>
                <a:lnTo>
                  <a:pt x="341" y="68"/>
                </a:lnTo>
                <a:lnTo>
                  <a:pt x="349" y="68"/>
                </a:lnTo>
                <a:lnTo>
                  <a:pt x="349" y="68"/>
                </a:lnTo>
                <a:lnTo>
                  <a:pt x="353" y="68"/>
                </a:lnTo>
                <a:lnTo>
                  <a:pt x="359" y="68"/>
                </a:lnTo>
                <a:lnTo>
                  <a:pt x="362" y="66"/>
                </a:lnTo>
                <a:lnTo>
                  <a:pt x="368" y="64"/>
                </a:lnTo>
                <a:lnTo>
                  <a:pt x="372" y="62"/>
                </a:lnTo>
                <a:lnTo>
                  <a:pt x="376" y="61"/>
                </a:lnTo>
                <a:lnTo>
                  <a:pt x="379" y="59"/>
                </a:lnTo>
                <a:lnTo>
                  <a:pt x="383" y="57"/>
                </a:lnTo>
                <a:lnTo>
                  <a:pt x="387" y="55"/>
                </a:lnTo>
                <a:lnTo>
                  <a:pt x="391" y="53"/>
                </a:lnTo>
                <a:lnTo>
                  <a:pt x="397" y="51"/>
                </a:lnTo>
                <a:lnTo>
                  <a:pt x="400" y="49"/>
                </a:lnTo>
                <a:lnTo>
                  <a:pt x="404" y="47"/>
                </a:lnTo>
                <a:lnTo>
                  <a:pt x="410" y="45"/>
                </a:lnTo>
                <a:lnTo>
                  <a:pt x="414" y="45"/>
                </a:lnTo>
                <a:lnTo>
                  <a:pt x="420" y="45"/>
                </a:lnTo>
                <a:lnTo>
                  <a:pt x="420" y="45"/>
                </a:lnTo>
                <a:lnTo>
                  <a:pt x="427" y="45"/>
                </a:lnTo>
                <a:lnTo>
                  <a:pt x="435" y="47"/>
                </a:lnTo>
                <a:lnTo>
                  <a:pt x="441" y="49"/>
                </a:lnTo>
                <a:lnTo>
                  <a:pt x="448" y="51"/>
                </a:lnTo>
                <a:lnTo>
                  <a:pt x="454" y="55"/>
                </a:lnTo>
                <a:lnTo>
                  <a:pt x="460" y="59"/>
                </a:lnTo>
                <a:lnTo>
                  <a:pt x="465" y="62"/>
                </a:lnTo>
                <a:lnTo>
                  <a:pt x="471" y="66"/>
                </a:lnTo>
                <a:lnTo>
                  <a:pt x="477" y="70"/>
                </a:lnTo>
                <a:lnTo>
                  <a:pt x="482" y="74"/>
                </a:lnTo>
                <a:lnTo>
                  <a:pt x="490" y="78"/>
                </a:lnTo>
                <a:lnTo>
                  <a:pt x="496" y="80"/>
                </a:lnTo>
                <a:lnTo>
                  <a:pt x="503" y="83"/>
                </a:lnTo>
                <a:lnTo>
                  <a:pt x="511" y="85"/>
                </a:lnTo>
                <a:lnTo>
                  <a:pt x="519" y="85"/>
                </a:lnTo>
                <a:lnTo>
                  <a:pt x="528" y="87"/>
                </a:lnTo>
                <a:lnTo>
                  <a:pt x="528" y="87"/>
                </a:lnTo>
                <a:lnTo>
                  <a:pt x="538" y="85"/>
                </a:lnTo>
                <a:lnTo>
                  <a:pt x="547" y="85"/>
                </a:lnTo>
                <a:lnTo>
                  <a:pt x="557" y="82"/>
                </a:lnTo>
                <a:lnTo>
                  <a:pt x="565" y="80"/>
                </a:lnTo>
                <a:lnTo>
                  <a:pt x="570" y="76"/>
                </a:lnTo>
                <a:lnTo>
                  <a:pt x="578" y="72"/>
                </a:lnTo>
                <a:lnTo>
                  <a:pt x="586" y="68"/>
                </a:lnTo>
                <a:lnTo>
                  <a:pt x="591" y="64"/>
                </a:lnTo>
                <a:lnTo>
                  <a:pt x="597" y="61"/>
                </a:lnTo>
                <a:lnTo>
                  <a:pt x="605" y="57"/>
                </a:lnTo>
                <a:lnTo>
                  <a:pt x="612" y="53"/>
                </a:lnTo>
                <a:lnTo>
                  <a:pt x="620" y="49"/>
                </a:lnTo>
                <a:lnTo>
                  <a:pt x="627" y="45"/>
                </a:lnTo>
                <a:lnTo>
                  <a:pt x="637" y="43"/>
                </a:lnTo>
                <a:lnTo>
                  <a:pt x="647" y="42"/>
                </a:lnTo>
                <a:lnTo>
                  <a:pt x="658" y="42"/>
                </a:lnTo>
                <a:lnTo>
                  <a:pt x="658" y="42"/>
                </a:lnTo>
                <a:lnTo>
                  <a:pt x="668" y="42"/>
                </a:lnTo>
                <a:lnTo>
                  <a:pt x="675" y="43"/>
                </a:lnTo>
                <a:lnTo>
                  <a:pt x="683" y="45"/>
                </a:lnTo>
                <a:lnTo>
                  <a:pt x="689" y="47"/>
                </a:lnTo>
                <a:lnTo>
                  <a:pt x="696" y="49"/>
                </a:lnTo>
                <a:lnTo>
                  <a:pt x="702" y="53"/>
                </a:lnTo>
                <a:lnTo>
                  <a:pt x="706" y="55"/>
                </a:lnTo>
                <a:lnTo>
                  <a:pt x="711" y="59"/>
                </a:lnTo>
                <a:lnTo>
                  <a:pt x="717" y="61"/>
                </a:lnTo>
                <a:lnTo>
                  <a:pt x="723" y="64"/>
                </a:lnTo>
                <a:lnTo>
                  <a:pt x="727" y="66"/>
                </a:lnTo>
                <a:lnTo>
                  <a:pt x="732" y="70"/>
                </a:lnTo>
                <a:lnTo>
                  <a:pt x="738" y="72"/>
                </a:lnTo>
                <a:lnTo>
                  <a:pt x="746" y="74"/>
                </a:lnTo>
                <a:lnTo>
                  <a:pt x="751" y="74"/>
                </a:lnTo>
                <a:lnTo>
                  <a:pt x="759" y="76"/>
                </a:lnTo>
                <a:lnTo>
                  <a:pt x="759" y="76"/>
                </a:lnTo>
                <a:lnTo>
                  <a:pt x="763" y="74"/>
                </a:lnTo>
                <a:lnTo>
                  <a:pt x="769" y="72"/>
                </a:lnTo>
                <a:lnTo>
                  <a:pt x="774" y="70"/>
                </a:lnTo>
                <a:lnTo>
                  <a:pt x="780" y="66"/>
                </a:lnTo>
                <a:lnTo>
                  <a:pt x="788" y="62"/>
                </a:lnTo>
                <a:lnTo>
                  <a:pt x="793" y="59"/>
                </a:lnTo>
                <a:lnTo>
                  <a:pt x="799" y="55"/>
                </a:lnTo>
                <a:lnTo>
                  <a:pt x="807" y="49"/>
                </a:lnTo>
                <a:lnTo>
                  <a:pt x="814" y="45"/>
                </a:lnTo>
                <a:lnTo>
                  <a:pt x="820" y="40"/>
                </a:lnTo>
                <a:lnTo>
                  <a:pt x="828" y="36"/>
                </a:lnTo>
                <a:lnTo>
                  <a:pt x="835" y="32"/>
                </a:lnTo>
                <a:lnTo>
                  <a:pt x="843" y="28"/>
                </a:lnTo>
                <a:lnTo>
                  <a:pt x="851" y="24"/>
                </a:lnTo>
                <a:lnTo>
                  <a:pt x="856" y="22"/>
                </a:lnTo>
                <a:lnTo>
                  <a:pt x="864" y="22"/>
                </a:lnTo>
                <a:lnTo>
                  <a:pt x="864" y="17"/>
                </a:lnTo>
                <a:lnTo>
                  <a:pt x="864" y="17"/>
                </a:lnTo>
                <a:lnTo>
                  <a:pt x="868" y="24"/>
                </a:lnTo>
                <a:lnTo>
                  <a:pt x="874" y="32"/>
                </a:lnTo>
                <a:lnTo>
                  <a:pt x="879" y="38"/>
                </a:lnTo>
                <a:lnTo>
                  <a:pt x="885" y="43"/>
                </a:lnTo>
                <a:lnTo>
                  <a:pt x="889" y="51"/>
                </a:lnTo>
                <a:lnTo>
                  <a:pt x="895" y="57"/>
                </a:lnTo>
                <a:lnTo>
                  <a:pt x="900" y="64"/>
                </a:lnTo>
                <a:lnTo>
                  <a:pt x="906" y="72"/>
                </a:lnTo>
                <a:lnTo>
                  <a:pt x="906" y="125"/>
                </a:lnTo>
                <a:lnTo>
                  <a:pt x="906" y="125"/>
                </a:lnTo>
                <a:lnTo>
                  <a:pt x="910" y="127"/>
                </a:lnTo>
                <a:lnTo>
                  <a:pt x="912" y="129"/>
                </a:lnTo>
                <a:lnTo>
                  <a:pt x="917" y="131"/>
                </a:lnTo>
                <a:lnTo>
                  <a:pt x="921" y="131"/>
                </a:lnTo>
                <a:lnTo>
                  <a:pt x="927" y="133"/>
                </a:lnTo>
                <a:lnTo>
                  <a:pt x="933" y="135"/>
                </a:lnTo>
                <a:lnTo>
                  <a:pt x="938" y="135"/>
                </a:lnTo>
                <a:lnTo>
                  <a:pt x="944" y="137"/>
                </a:lnTo>
                <a:lnTo>
                  <a:pt x="944" y="137"/>
                </a:lnTo>
                <a:lnTo>
                  <a:pt x="944" y="141"/>
                </a:lnTo>
                <a:lnTo>
                  <a:pt x="942" y="145"/>
                </a:lnTo>
                <a:lnTo>
                  <a:pt x="942" y="148"/>
                </a:lnTo>
                <a:lnTo>
                  <a:pt x="942" y="152"/>
                </a:lnTo>
                <a:lnTo>
                  <a:pt x="944" y="156"/>
                </a:lnTo>
                <a:lnTo>
                  <a:pt x="944" y="160"/>
                </a:lnTo>
                <a:lnTo>
                  <a:pt x="944" y="166"/>
                </a:lnTo>
                <a:lnTo>
                  <a:pt x="944" y="171"/>
                </a:lnTo>
                <a:lnTo>
                  <a:pt x="944" y="171"/>
                </a:lnTo>
                <a:lnTo>
                  <a:pt x="944" y="181"/>
                </a:lnTo>
                <a:lnTo>
                  <a:pt x="942" y="190"/>
                </a:lnTo>
                <a:lnTo>
                  <a:pt x="938" y="198"/>
                </a:lnTo>
                <a:lnTo>
                  <a:pt x="935" y="204"/>
                </a:lnTo>
                <a:lnTo>
                  <a:pt x="929" y="209"/>
                </a:lnTo>
                <a:lnTo>
                  <a:pt x="923" y="215"/>
                </a:lnTo>
                <a:lnTo>
                  <a:pt x="916" y="221"/>
                </a:lnTo>
                <a:lnTo>
                  <a:pt x="910" y="225"/>
                </a:lnTo>
                <a:lnTo>
                  <a:pt x="902" y="228"/>
                </a:lnTo>
                <a:lnTo>
                  <a:pt x="895" y="234"/>
                </a:lnTo>
                <a:lnTo>
                  <a:pt x="887" y="238"/>
                </a:lnTo>
                <a:lnTo>
                  <a:pt x="879" y="244"/>
                </a:lnTo>
                <a:lnTo>
                  <a:pt x="874" y="249"/>
                </a:lnTo>
                <a:lnTo>
                  <a:pt x="868" y="255"/>
                </a:lnTo>
                <a:lnTo>
                  <a:pt x="864" y="263"/>
                </a:lnTo>
                <a:lnTo>
                  <a:pt x="858" y="272"/>
                </a:lnTo>
                <a:lnTo>
                  <a:pt x="858" y="272"/>
                </a:lnTo>
                <a:lnTo>
                  <a:pt x="856" y="278"/>
                </a:lnTo>
                <a:lnTo>
                  <a:pt x="853" y="284"/>
                </a:lnTo>
                <a:lnTo>
                  <a:pt x="849" y="290"/>
                </a:lnTo>
                <a:lnTo>
                  <a:pt x="845" y="295"/>
                </a:lnTo>
                <a:lnTo>
                  <a:pt x="841" y="303"/>
                </a:lnTo>
                <a:lnTo>
                  <a:pt x="839" y="309"/>
                </a:lnTo>
                <a:lnTo>
                  <a:pt x="835" y="312"/>
                </a:lnTo>
                <a:lnTo>
                  <a:pt x="835" y="316"/>
                </a:lnTo>
                <a:lnTo>
                  <a:pt x="835" y="316"/>
                </a:lnTo>
                <a:lnTo>
                  <a:pt x="835" y="320"/>
                </a:lnTo>
                <a:lnTo>
                  <a:pt x="835" y="326"/>
                </a:lnTo>
                <a:lnTo>
                  <a:pt x="835" y="330"/>
                </a:lnTo>
                <a:lnTo>
                  <a:pt x="835" y="335"/>
                </a:lnTo>
                <a:lnTo>
                  <a:pt x="835" y="341"/>
                </a:lnTo>
                <a:lnTo>
                  <a:pt x="837" y="345"/>
                </a:lnTo>
                <a:lnTo>
                  <a:pt x="835" y="349"/>
                </a:lnTo>
                <a:lnTo>
                  <a:pt x="835" y="352"/>
                </a:lnTo>
                <a:lnTo>
                  <a:pt x="835" y="352"/>
                </a:lnTo>
                <a:lnTo>
                  <a:pt x="833" y="354"/>
                </a:lnTo>
                <a:lnTo>
                  <a:pt x="830" y="358"/>
                </a:lnTo>
                <a:lnTo>
                  <a:pt x="826" y="362"/>
                </a:lnTo>
                <a:lnTo>
                  <a:pt x="820" y="366"/>
                </a:lnTo>
                <a:lnTo>
                  <a:pt x="814" y="370"/>
                </a:lnTo>
                <a:lnTo>
                  <a:pt x="811" y="375"/>
                </a:lnTo>
                <a:lnTo>
                  <a:pt x="807" y="379"/>
                </a:lnTo>
                <a:lnTo>
                  <a:pt x="803" y="385"/>
                </a:lnTo>
                <a:lnTo>
                  <a:pt x="803" y="385"/>
                </a:lnTo>
                <a:lnTo>
                  <a:pt x="803" y="387"/>
                </a:lnTo>
                <a:lnTo>
                  <a:pt x="801" y="393"/>
                </a:lnTo>
                <a:lnTo>
                  <a:pt x="801" y="396"/>
                </a:lnTo>
                <a:lnTo>
                  <a:pt x="801" y="402"/>
                </a:lnTo>
                <a:lnTo>
                  <a:pt x="801" y="408"/>
                </a:lnTo>
                <a:lnTo>
                  <a:pt x="799" y="412"/>
                </a:lnTo>
                <a:lnTo>
                  <a:pt x="797" y="417"/>
                </a:lnTo>
                <a:lnTo>
                  <a:pt x="793" y="419"/>
                </a:lnTo>
                <a:lnTo>
                  <a:pt x="793" y="419"/>
                </a:lnTo>
                <a:lnTo>
                  <a:pt x="790" y="423"/>
                </a:lnTo>
                <a:lnTo>
                  <a:pt x="784" y="427"/>
                </a:lnTo>
                <a:lnTo>
                  <a:pt x="780" y="431"/>
                </a:lnTo>
                <a:lnTo>
                  <a:pt x="776" y="434"/>
                </a:lnTo>
                <a:lnTo>
                  <a:pt x="772" y="438"/>
                </a:lnTo>
                <a:lnTo>
                  <a:pt x="767" y="442"/>
                </a:lnTo>
                <a:lnTo>
                  <a:pt x="763" y="446"/>
                </a:lnTo>
                <a:lnTo>
                  <a:pt x="761" y="450"/>
                </a:lnTo>
                <a:lnTo>
                  <a:pt x="757" y="455"/>
                </a:lnTo>
                <a:lnTo>
                  <a:pt x="753" y="459"/>
                </a:lnTo>
                <a:lnTo>
                  <a:pt x="751" y="465"/>
                </a:lnTo>
                <a:lnTo>
                  <a:pt x="748" y="471"/>
                </a:lnTo>
                <a:lnTo>
                  <a:pt x="746" y="476"/>
                </a:lnTo>
                <a:lnTo>
                  <a:pt x="744" y="482"/>
                </a:lnTo>
                <a:lnTo>
                  <a:pt x="742" y="490"/>
                </a:lnTo>
                <a:lnTo>
                  <a:pt x="740" y="497"/>
                </a:lnTo>
                <a:lnTo>
                  <a:pt x="740" y="497"/>
                </a:lnTo>
                <a:lnTo>
                  <a:pt x="740" y="501"/>
                </a:lnTo>
                <a:lnTo>
                  <a:pt x="738" y="509"/>
                </a:lnTo>
                <a:lnTo>
                  <a:pt x="734" y="515"/>
                </a:lnTo>
                <a:lnTo>
                  <a:pt x="730" y="522"/>
                </a:lnTo>
                <a:lnTo>
                  <a:pt x="727" y="532"/>
                </a:lnTo>
                <a:lnTo>
                  <a:pt x="723" y="539"/>
                </a:lnTo>
                <a:lnTo>
                  <a:pt x="717" y="549"/>
                </a:lnTo>
                <a:lnTo>
                  <a:pt x="713" y="559"/>
                </a:lnTo>
                <a:lnTo>
                  <a:pt x="708" y="566"/>
                </a:lnTo>
                <a:lnTo>
                  <a:pt x="702" y="574"/>
                </a:lnTo>
                <a:lnTo>
                  <a:pt x="696" y="581"/>
                </a:lnTo>
                <a:lnTo>
                  <a:pt x="692" y="587"/>
                </a:lnTo>
                <a:lnTo>
                  <a:pt x="687" y="593"/>
                </a:lnTo>
                <a:lnTo>
                  <a:pt x="681" y="597"/>
                </a:lnTo>
                <a:lnTo>
                  <a:pt x="677" y="600"/>
                </a:lnTo>
                <a:lnTo>
                  <a:pt x="673" y="600"/>
                </a:lnTo>
                <a:lnTo>
                  <a:pt x="673" y="600"/>
                </a:lnTo>
                <a:lnTo>
                  <a:pt x="666" y="599"/>
                </a:lnTo>
                <a:lnTo>
                  <a:pt x="660" y="595"/>
                </a:lnTo>
                <a:lnTo>
                  <a:pt x="654" y="589"/>
                </a:lnTo>
                <a:lnTo>
                  <a:pt x="648" y="581"/>
                </a:lnTo>
                <a:lnTo>
                  <a:pt x="643" y="572"/>
                </a:lnTo>
                <a:lnTo>
                  <a:pt x="637" y="564"/>
                </a:lnTo>
                <a:lnTo>
                  <a:pt x="629" y="557"/>
                </a:lnTo>
                <a:lnTo>
                  <a:pt x="622" y="549"/>
                </a:lnTo>
                <a:lnTo>
                  <a:pt x="622" y="549"/>
                </a:lnTo>
                <a:lnTo>
                  <a:pt x="622" y="551"/>
                </a:lnTo>
                <a:lnTo>
                  <a:pt x="620" y="555"/>
                </a:lnTo>
                <a:lnTo>
                  <a:pt x="618" y="557"/>
                </a:lnTo>
                <a:lnTo>
                  <a:pt x="614" y="560"/>
                </a:lnTo>
                <a:lnTo>
                  <a:pt x="612" y="562"/>
                </a:lnTo>
                <a:lnTo>
                  <a:pt x="608" y="566"/>
                </a:lnTo>
                <a:lnTo>
                  <a:pt x="606" y="568"/>
                </a:lnTo>
                <a:lnTo>
                  <a:pt x="603" y="568"/>
                </a:lnTo>
                <a:lnTo>
                  <a:pt x="603" y="568"/>
                </a:lnTo>
                <a:lnTo>
                  <a:pt x="595" y="568"/>
                </a:lnTo>
                <a:lnTo>
                  <a:pt x="586" y="570"/>
                </a:lnTo>
                <a:lnTo>
                  <a:pt x="578" y="574"/>
                </a:lnTo>
                <a:lnTo>
                  <a:pt x="568" y="576"/>
                </a:lnTo>
                <a:lnTo>
                  <a:pt x="559" y="581"/>
                </a:lnTo>
                <a:lnTo>
                  <a:pt x="549" y="587"/>
                </a:lnTo>
                <a:lnTo>
                  <a:pt x="540" y="593"/>
                </a:lnTo>
                <a:lnTo>
                  <a:pt x="532" y="599"/>
                </a:lnTo>
                <a:lnTo>
                  <a:pt x="523" y="606"/>
                </a:lnTo>
                <a:lnTo>
                  <a:pt x="515" y="614"/>
                </a:lnTo>
                <a:lnTo>
                  <a:pt x="507" y="621"/>
                </a:lnTo>
                <a:lnTo>
                  <a:pt x="500" y="629"/>
                </a:lnTo>
                <a:lnTo>
                  <a:pt x="494" y="637"/>
                </a:lnTo>
                <a:lnTo>
                  <a:pt x="488" y="644"/>
                </a:lnTo>
                <a:lnTo>
                  <a:pt x="484" y="652"/>
                </a:lnTo>
                <a:lnTo>
                  <a:pt x="481" y="660"/>
                </a:lnTo>
                <a:lnTo>
                  <a:pt x="481" y="660"/>
                </a:lnTo>
                <a:lnTo>
                  <a:pt x="479" y="665"/>
                </a:lnTo>
                <a:lnTo>
                  <a:pt x="477" y="669"/>
                </a:lnTo>
                <a:lnTo>
                  <a:pt x="477" y="675"/>
                </a:lnTo>
                <a:lnTo>
                  <a:pt x="475" y="679"/>
                </a:lnTo>
                <a:lnTo>
                  <a:pt x="473" y="684"/>
                </a:lnTo>
                <a:lnTo>
                  <a:pt x="473" y="690"/>
                </a:lnTo>
                <a:lnTo>
                  <a:pt x="471" y="694"/>
                </a:lnTo>
                <a:lnTo>
                  <a:pt x="471" y="700"/>
                </a:lnTo>
                <a:lnTo>
                  <a:pt x="469" y="703"/>
                </a:lnTo>
                <a:lnTo>
                  <a:pt x="467" y="709"/>
                </a:lnTo>
                <a:lnTo>
                  <a:pt x="467" y="715"/>
                </a:lnTo>
                <a:lnTo>
                  <a:pt x="465" y="719"/>
                </a:lnTo>
                <a:lnTo>
                  <a:pt x="463" y="724"/>
                </a:lnTo>
                <a:lnTo>
                  <a:pt x="462" y="728"/>
                </a:lnTo>
                <a:lnTo>
                  <a:pt x="460" y="732"/>
                </a:lnTo>
                <a:lnTo>
                  <a:pt x="458" y="738"/>
                </a:lnTo>
                <a:lnTo>
                  <a:pt x="454" y="736"/>
                </a:lnTo>
              </a:path>
            </a:pathLst>
          </a:custGeom>
          <a:solidFill>
            <a:srgbClr val="003366"/>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1" name="Freeform 31"/>
          <p:cNvSpPr>
            <a:spLocks/>
          </p:cNvSpPr>
          <p:nvPr/>
        </p:nvSpPr>
        <p:spPr bwMode="auto">
          <a:xfrm>
            <a:off x="1871663" y="3057427"/>
            <a:ext cx="212725" cy="430213"/>
          </a:xfrm>
          <a:custGeom>
            <a:avLst/>
            <a:gdLst>
              <a:gd name="T0" fmla="*/ 147 w 236"/>
              <a:gd name="T1" fmla="*/ 485 h 494"/>
              <a:gd name="T2" fmla="*/ 143 w 236"/>
              <a:gd name="T3" fmla="*/ 489 h 494"/>
              <a:gd name="T4" fmla="*/ 141 w 236"/>
              <a:gd name="T5" fmla="*/ 344 h 494"/>
              <a:gd name="T6" fmla="*/ 145 w 236"/>
              <a:gd name="T7" fmla="*/ 321 h 494"/>
              <a:gd name="T8" fmla="*/ 154 w 236"/>
              <a:gd name="T9" fmla="*/ 306 h 494"/>
              <a:gd name="T10" fmla="*/ 162 w 236"/>
              <a:gd name="T11" fmla="*/ 294 h 494"/>
              <a:gd name="T12" fmla="*/ 166 w 236"/>
              <a:gd name="T13" fmla="*/ 275 h 494"/>
              <a:gd name="T14" fmla="*/ 168 w 236"/>
              <a:gd name="T15" fmla="*/ 254 h 494"/>
              <a:gd name="T16" fmla="*/ 173 w 236"/>
              <a:gd name="T17" fmla="*/ 241 h 494"/>
              <a:gd name="T18" fmla="*/ 187 w 236"/>
              <a:gd name="T19" fmla="*/ 224 h 494"/>
              <a:gd name="T20" fmla="*/ 202 w 236"/>
              <a:gd name="T21" fmla="*/ 206 h 494"/>
              <a:gd name="T22" fmla="*/ 219 w 236"/>
              <a:gd name="T23" fmla="*/ 189 h 494"/>
              <a:gd name="T24" fmla="*/ 231 w 236"/>
              <a:gd name="T25" fmla="*/ 168 h 494"/>
              <a:gd name="T26" fmla="*/ 236 w 236"/>
              <a:gd name="T27" fmla="*/ 143 h 494"/>
              <a:gd name="T28" fmla="*/ 232 w 236"/>
              <a:gd name="T29" fmla="*/ 122 h 494"/>
              <a:gd name="T30" fmla="*/ 225 w 236"/>
              <a:gd name="T31" fmla="*/ 101 h 494"/>
              <a:gd name="T32" fmla="*/ 221 w 236"/>
              <a:gd name="T33" fmla="*/ 79 h 494"/>
              <a:gd name="T34" fmla="*/ 221 w 236"/>
              <a:gd name="T35" fmla="*/ 71 h 494"/>
              <a:gd name="T36" fmla="*/ 221 w 236"/>
              <a:gd name="T37" fmla="*/ 61 h 494"/>
              <a:gd name="T38" fmla="*/ 221 w 236"/>
              <a:gd name="T39" fmla="*/ 50 h 494"/>
              <a:gd name="T40" fmla="*/ 217 w 236"/>
              <a:gd name="T41" fmla="*/ 52 h 494"/>
              <a:gd name="T42" fmla="*/ 194 w 236"/>
              <a:gd name="T43" fmla="*/ 25 h 494"/>
              <a:gd name="T44" fmla="*/ 168 w 236"/>
              <a:gd name="T45" fmla="*/ 2 h 494"/>
              <a:gd name="T46" fmla="*/ 158 w 236"/>
              <a:gd name="T47" fmla="*/ 2 h 494"/>
              <a:gd name="T48" fmla="*/ 137 w 236"/>
              <a:gd name="T49" fmla="*/ 14 h 494"/>
              <a:gd name="T50" fmla="*/ 122 w 236"/>
              <a:gd name="T51" fmla="*/ 25 h 494"/>
              <a:gd name="T52" fmla="*/ 120 w 236"/>
              <a:gd name="T53" fmla="*/ 37 h 494"/>
              <a:gd name="T54" fmla="*/ 110 w 236"/>
              <a:gd name="T55" fmla="*/ 61 h 494"/>
              <a:gd name="T56" fmla="*/ 87 w 236"/>
              <a:gd name="T57" fmla="*/ 77 h 494"/>
              <a:gd name="T58" fmla="*/ 68 w 236"/>
              <a:gd name="T59" fmla="*/ 79 h 494"/>
              <a:gd name="T60" fmla="*/ 47 w 236"/>
              <a:gd name="T61" fmla="*/ 80 h 494"/>
              <a:gd name="T62" fmla="*/ 28 w 236"/>
              <a:gd name="T63" fmla="*/ 90 h 494"/>
              <a:gd name="T64" fmla="*/ 13 w 236"/>
              <a:gd name="T65" fmla="*/ 103 h 494"/>
              <a:gd name="T66" fmla="*/ 4 w 236"/>
              <a:gd name="T67" fmla="*/ 122 h 494"/>
              <a:gd name="T68" fmla="*/ 0 w 236"/>
              <a:gd name="T69" fmla="*/ 145 h 494"/>
              <a:gd name="T70" fmla="*/ 2 w 236"/>
              <a:gd name="T71" fmla="*/ 166 h 494"/>
              <a:gd name="T72" fmla="*/ 15 w 236"/>
              <a:gd name="T73" fmla="*/ 191 h 494"/>
              <a:gd name="T74" fmla="*/ 32 w 236"/>
              <a:gd name="T75" fmla="*/ 214 h 494"/>
              <a:gd name="T76" fmla="*/ 49 w 236"/>
              <a:gd name="T77" fmla="*/ 237 h 494"/>
              <a:gd name="T78" fmla="*/ 61 w 236"/>
              <a:gd name="T79" fmla="*/ 262 h 494"/>
              <a:gd name="T80" fmla="*/ 65 w 236"/>
              <a:gd name="T81" fmla="*/ 283 h 494"/>
              <a:gd name="T82" fmla="*/ 63 w 236"/>
              <a:gd name="T83" fmla="*/ 315 h 494"/>
              <a:gd name="T84" fmla="*/ 57 w 236"/>
              <a:gd name="T85" fmla="*/ 348 h 494"/>
              <a:gd name="T86" fmla="*/ 51 w 236"/>
              <a:gd name="T87" fmla="*/ 378 h 494"/>
              <a:gd name="T88" fmla="*/ 46 w 236"/>
              <a:gd name="T89" fmla="*/ 411 h 494"/>
              <a:gd name="T90" fmla="*/ 44 w 236"/>
              <a:gd name="T91" fmla="*/ 447 h 494"/>
              <a:gd name="T92" fmla="*/ 44 w 236"/>
              <a:gd name="T93" fmla="*/ 464 h 494"/>
              <a:gd name="T94" fmla="*/ 51 w 236"/>
              <a:gd name="T95" fmla="*/ 481 h 494"/>
              <a:gd name="T96" fmla="*/ 61 w 236"/>
              <a:gd name="T97" fmla="*/ 493 h 494"/>
              <a:gd name="T98" fmla="*/ 68 w 236"/>
              <a:gd name="T99" fmla="*/ 494 h 494"/>
              <a:gd name="T100" fmla="*/ 84 w 236"/>
              <a:gd name="T101" fmla="*/ 493 h 494"/>
              <a:gd name="T102" fmla="*/ 97 w 236"/>
              <a:gd name="T103" fmla="*/ 491 h 494"/>
              <a:gd name="T104" fmla="*/ 112 w 236"/>
              <a:gd name="T105" fmla="*/ 489 h 494"/>
              <a:gd name="T106" fmla="*/ 128 w 236"/>
              <a:gd name="T107" fmla="*/ 485 h 494"/>
              <a:gd name="T108" fmla="*/ 143 w 236"/>
              <a:gd name="T109" fmla="*/ 483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6" h="494">
                <a:moveTo>
                  <a:pt x="147" y="485"/>
                </a:moveTo>
                <a:lnTo>
                  <a:pt x="147" y="485"/>
                </a:lnTo>
                <a:lnTo>
                  <a:pt x="147" y="485"/>
                </a:lnTo>
                <a:lnTo>
                  <a:pt x="147" y="487"/>
                </a:lnTo>
                <a:lnTo>
                  <a:pt x="145" y="489"/>
                </a:lnTo>
                <a:lnTo>
                  <a:pt x="143" y="489"/>
                </a:lnTo>
                <a:lnTo>
                  <a:pt x="143" y="353"/>
                </a:lnTo>
                <a:lnTo>
                  <a:pt x="143" y="353"/>
                </a:lnTo>
                <a:lnTo>
                  <a:pt x="141" y="344"/>
                </a:lnTo>
                <a:lnTo>
                  <a:pt x="141" y="334"/>
                </a:lnTo>
                <a:lnTo>
                  <a:pt x="143" y="327"/>
                </a:lnTo>
                <a:lnTo>
                  <a:pt x="145" y="321"/>
                </a:lnTo>
                <a:lnTo>
                  <a:pt x="149" y="315"/>
                </a:lnTo>
                <a:lnTo>
                  <a:pt x="152" y="309"/>
                </a:lnTo>
                <a:lnTo>
                  <a:pt x="154" y="306"/>
                </a:lnTo>
                <a:lnTo>
                  <a:pt x="158" y="300"/>
                </a:lnTo>
                <a:lnTo>
                  <a:pt x="158" y="300"/>
                </a:lnTo>
                <a:lnTo>
                  <a:pt x="162" y="294"/>
                </a:lnTo>
                <a:lnTo>
                  <a:pt x="164" y="288"/>
                </a:lnTo>
                <a:lnTo>
                  <a:pt x="166" y="281"/>
                </a:lnTo>
                <a:lnTo>
                  <a:pt x="166" y="275"/>
                </a:lnTo>
                <a:lnTo>
                  <a:pt x="166" y="267"/>
                </a:lnTo>
                <a:lnTo>
                  <a:pt x="168" y="262"/>
                </a:lnTo>
                <a:lnTo>
                  <a:pt x="168" y="254"/>
                </a:lnTo>
                <a:lnTo>
                  <a:pt x="171" y="246"/>
                </a:lnTo>
                <a:lnTo>
                  <a:pt x="171" y="246"/>
                </a:lnTo>
                <a:lnTo>
                  <a:pt x="173" y="241"/>
                </a:lnTo>
                <a:lnTo>
                  <a:pt x="177" y="233"/>
                </a:lnTo>
                <a:lnTo>
                  <a:pt x="181" y="227"/>
                </a:lnTo>
                <a:lnTo>
                  <a:pt x="187" y="224"/>
                </a:lnTo>
                <a:lnTo>
                  <a:pt x="192" y="218"/>
                </a:lnTo>
                <a:lnTo>
                  <a:pt x="198" y="212"/>
                </a:lnTo>
                <a:lnTo>
                  <a:pt x="202" y="206"/>
                </a:lnTo>
                <a:lnTo>
                  <a:pt x="208" y="201"/>
                </a:lnTo>
                <a:lnTo>
                  <a:pt x="213" y="197"/>
                </a:lnTo>
                <a:lnTo>
                  <a:pt x="219" y="189"/>
                </a:lnTo>
                <a:lnTo>
                  <a:pt x="223" y="184"/>
                </a:lnTo>
                <a:lnTo>
                  <a:pt x="227" y="176"/>
                </a:lnTo>
                <a:lnTo>
                  <a:pt x="231" y="168"/>
                </a:lnTo>
                <a:lnTo>
                  <a:pt x="234" y="161"/>
                </a:lnTo>
                <a:lnTo>
                  <a:pt x="234" y="153"/>
                </a:lnTo>
                <a:lnTo>
                  <a:pt x="236" y="143"/>
                </a:lnTo>
                <a:lnTo>
                  <a:pt x="236" y="143"/>
                </a:lnTo>
                <a:lnTo>
                  <a:pt x="234" y="132"/>
                </a:lnTo>
                <a:lnTo>
                  <a:pt x="232" y="122"/>
                </a:lnTo>
                <a:lnTo>
                  <a:pt x="231" y="115"/>
                </a:lnTo>
                <a:lnTo>
                  <a:pt x="229" y="109"/>
                </a:lnTo>
                <a:lnTo>
                  <a:pt x="225" y="101"/>
                </a:lnTo>
                <a:lnTo>
                  <a:pt x="223" y="94"/>
                </a:lnTo>
                <a:lnTo>
                  <a:pt x="221" y="86"/>
                </a:lnTo>
                <a:lnTo>
                  <a:pt x="221" y="79"/>
                </a:lnTo>
                <a:lnTo>
                  <a:pt x="221" y="79"/>
                </a:lnTo>
                <a:lnTo>
                  <a:pt x="221" y="75"/>
                </a:lnTo>
                <a:lnTo>
                  <a:pt x="221" y="71"/>
                </a:lnTo>
                <a:lnTo>
                  <a:pt x="221" y="67"/>
                </a:lnTo>
                <a:lnTo>
                  <a:pt x="221" y="63"/>
                </a:lnTo>
                <a:lnTo>
                  <a:pt x="221" y="61"/>
                </a:lnTo>
                <a:lnTo>
                  <a:pt x="221" y="58"/>
                </a:lnTo>
                <a:lnTo>
                  <a:pt x="221" y="54"/>
                </a:lnTo>
                <a:lnTo>
                  <a:pt x="221" y="50"/>
                </a:lnTo>
                <a:lnTo>
                  <a:pt x="225" y="58"/>
                </a:lnTo>
                <a:lnTo>
                  <a:pt x="225" y="58"/>
                </a:lnTo>
                <a:lnTo>
                  <a:pt x="217" y="52"/>
                </a:lnTo>
                <a:lnTo>
                  <a:pt x="211" y="44"/>
                </a:lnTo>
                <a:lnTo>
                  <a:pt x="202" y="37"/>
                </a:lnTo>
                <a:lnTo>
                  <a:pt x="194" y="25"/>
                </a:lnTo>
                <a:lnTo>
                  <a:pt x="185" y="16"/>
                </a:lnTo>
                <a:lnTo>
                  <a:pt x="177" y="8"/>
                </a:lnTo>
                <a:lnTo>
                  <a:pt x="168" y="2"/>
                </a:lnTo>
                <a:lnTo>
                  <a:pt x="162" y="0"/>
                </a:lnTo>
                <a:lnTo>
                  <a:pt x="162" y="0"/>
                </a:lnTo>
                <a:lnTo>
                  <a:pt x="158" y="2"/>
                </a:lnTo>
                <a:lnTo>
                  <a:pt x="152" y="4"/>
                </a:lnTo>
                <a:lnTo>
                  <a:pt x="145" y="8"/>
                </a:lnTo>
                <a:lnTo>
                  <a:pt x="137" y="14"/>
                </a:lnTo>
                <a:lnTo>
                  <a:pt x="131" y="18"/>
                </a:lnTo>
                <a:lnTo>
                  <a:pt x="126" y="21"/>
                </a:lnTo>
                <a:lnTo>
                  <a:pt x="122" y="25"/>
                </a:lnTo>
                <a:lnTo>
                  <a:pt x="120" y="29"/>
                </a:lnTo>
                <a:lnTo>
                  <a:pt x="120" y="29"/>
                </a:lnTo>
                <a:lnTo>
                  <a:pt x="120" y="37"/>
                </a:lnTo>
                <a:lnTo>
                  <a:pt x="118" y="46"/>
                </a:lnTo>
                <a:lnTo>
                  <a:pt x="114" y="54"/>
                </a:lnTo>
                <a:lnTo>
                  <a:pt x="110" y="61"/>
                </a:lnTo>
                <a:lnTo>
                  <a:pt x="105" y="67"/>
                </a:lnTo>
                <a:lnTo>
                  <a:pt x="97" y="73"/>
                </a:lnTo>
                <a:lnTo>
                  <a:pt x="87" y="77"/>
                </a:lnTo>
                <a:lnTo>
                  <a:pt x="76" y="79"/>
                </a:lnTo>
                <a:lnTo>
                  <a:pt x="76" y="79"/>
                </a:lnTo>
                <a:lnTo>
                  <a:pt x="68" y="79"/>
                </a:lnTo>
                <a:lnTo>
                  <a:pt x="61" y="79"/>
                </a:lnTo>
                <a:lnTo>
                  <a:pt x="55" y="80"/>
                </a:lnTo>
                <a:lnTo>
                  <a:pt x="47" y="80"/>
                </a:lnTo>
                <a:lnTo>
                  <a:pt x="42" y="84"/>
                </a:lnTo>
                <a:lnTo>
                  <a:pt x="34" y="86"/>
                </a:lnTo>
                <a:lnTo>
                  <a:pt x="28" y="90"/>
                </a:lnTo>
                <a:lnTo>
                  <a:pt x="23" y="94"/>
                </a:lnTo>
                <a:lnTo>
                  <a:pt x="19" y="98"/>
                </a:lnTo>
                <a:lnTo>
                  <a:pt x="13" y="103"/>
                </a:lnTo>
                <a:lnTo>
                  <a:pt x="9" y="109"/>
                </a:lnTo>
                <a:lnTo>
                  <a:pt x="5" y="115"/>
                </a:lnTo>
                <a:lnTo>
                  <a:pt x="4" y="122"/>
                </a:lnTo>
                <a:lnTo>
                  <a:pt x="2" y="128"/>
                </a:lnTo>
                <a:lnTo>
                  <a:pt x="0" y="138"/>
                </a:lnTo>
                <a:lnTo>
                  <a:pt x="0" y="145"/>
                </a:lnTo>
                <a:lnTo>
                  <a:pt x="0" y="145"/>
                </a:lnTo>
                <a:lnTo>
                  <a:pt x="0" y="157"/>
                </a:lnTo>
                <a:lnTo>
                  <a:pt x="2" y="166"/>
                </a:lnTo>
                <a:lnTo>
                  <a:pt x="5" y="174"/>
                </a:lnTo>
                <a:lnTo>
                  <a:pt x="9" y="184"/>
                </a:lnTo>
                <a:lnTo>
                  <a:pt x="15" y="191"/>
                </a:lnTo>
                <a:lnTo>
                  <a:pt x="21" y="199"/>
                </a:lnTo>
                <a:lnTo>
                  <a:pt x="26" y="206"/>
                </a:lnTo>
                <a:lnTo>
                  <a:pt x="32" y="214"/>
                </a:lnTo>
                <a:lnTo>
                  <a:pt x="38" y="222"/>
                </a:lnTo>
                <a:lnTo>
                  <a:pt x="44" y="229"/>
                </a:lnTo>
                <a:lnTo>
                  <a:pt x="49" y="237"/>
                </a:lnTo>
                <a:lnTo>
                  <a:pt x="53" y="245"/>
                </a:lnTo>
                <a:lnTo>
                  <a:pt x="59" y="252"/>
                </a:lnTo>
                <a:lnTo>
                  <a:pt x="61" y="262"/>
                </a:lnTo>
                <a:lnTo>
                  <a:pt x="63" y="271"/>
                </a:lnTo>
                <a:lnTo>
                  <a:pt x="65" y="283"/>
                </a:lnTo>
                <a:lnTo>
                  <a:pt x="65" y="283"/>
                </a:lnTo>
                <a:lnTo>
                  <a:pt x="65" y="292"/>
                </a:lnTo>
                <a:lnTo>
                  <a:pt x="63" y="304"/>
                </a:lnTo>
                <a:lnTo>
                  <a:pt x="63" y="315"/>
                </a:lnTo>
                <a:lnTo>
                  <a:pt x="61" y="327"/>
                </a:lnTo>
                <a:lnTo>
                  <a:pt x="59" y="336"/>
                </a:lnTo>
                <a:lnTo>
                  <a:pt x="57" y="348"/>
                </a:lnTo>
                <a:lnTo>
                  <a:pt x="55" y="357"/>
                </a:lnTo>
                <a:lnTo>
                  <a:pt x="53" y="369"/>
                </a:lnTo>
                <a:lnTo>
                  <a:pt x="51" y="378"/>
                </a:lnTo>
                <a:lnTo>
                  <a:pt x="49" y="390"/>
                </a:lnTo>
                <a:lnTo>
                  <a:pt x="47" y="399"/>
                </a:lnTo>
                <a:lnTo>
                  <a:pt x="46" y="411"/>
                </a:lnTo>
                <a:lnTo>
                  <a:pt x="46" y="422"/>
                </a:lnTo>
                <a:lnTo>
                  <a:pt x="44" y="433"/>
                </a:lnTo>
                <a:lnTo>
                  <a:pt x="44" y="447"/>
                </a:lnTo>
                <a:lnTo>
                  <a:pt x="44" y="458"/>
                </a:lnTo>
                <a:lnTo>
                  <a:pt x="44" y="458"/>
                </a:lnTo>
                <a:lnTo>
                  <a:pt x="44" y="464"/>
                </a:lnTo>
                <a:lnTo>
                  <a:pt x="46" y="470"/>
                </a:lnTo>
                <a:lnTo>
                  <a:pt x="47" y="475"/>
                </a:lnTo>
                <a:lnTo>
                  <a:pt x="51" y="481"/>
                </a:lnTo>
                <a:lnTo>
                  <a:pt x="53" y="487"/>
                </a:lnTo>
                <a:lnTo>
                  <a:pt x="57" y="491"/>
                </a:lnTo>
                <a:lnTo>
                  <a:pt x="61" y="493"/>
                </a:lnTo>
                <a:lnTo>
                  <a:pt x="65" y="494"/>
                </a:lnTo>
                <a:lnTo>
                  <a:pt x="65" y="494"/>
                </a:lnTo>
                <a:lnTo>
                  <a:pt x="68" y="494"/>
                </a:lnTo>
                <a:lnTo>
                  <a:pt x="74" y="494"/>
                </a:lnTo>
                <a:lnTo>
                  <a:pt x="78" y="494"/>
                </a:lnTo>
                <a:lnTo>
                  <a:pt x="84" y="493"/>
                </a:lnTo>
                <a:lnTo>
                  <a:pt x="87" y="493"/>
                </a:lnTo>
                <a:lnTo>
                  <a:pt x="93" y="493"/>
                </a:lnTo>
                <a:lnTo>
                  <a:pt x="97" y="491"/>
                </a:lnTo>
                <a:lnTo>
                  <a:pt x="103" y="491"/>
                </a:lnTo>
                <a:lnTo>
                  <a:pt x="108" y="489"/>
                </a:lnTo>
                <a:lnTo>
                  <a:pt x="112" y="489"/>
                </a:lnTo>
                <a:lnTo>
                  <a:pt x="118" y="487"/>
                </a:lnTo>
                <a:lnTo>
                  <a:pt x="124" y="487"/>
                </a:lnTo>
                <a:lnTo>
                  <a:pt x="128" y="485"/>
                </a:lnTo>
                <a:lnTo>
                  <a:pt x="133" y="485"/>
                </a:lnTo>
                <a:lnTo>
                  <a:pt x="139" y="483"/>
                </a:lnTo>
                <a:lnTo>
                  <a:pt x="143" y="483"/>
                </a:lnTo>
                <a:lnTo>
                  <a:pt x="147" y="485"/>
                </a:lnTo>
              </a:path>
            </a:pathLst>
          </a:custGeom>
          <a:solidFill>
            <a:schemeClr val="bg2"/>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2" name="Freeform 32"/>
          <p:cNvSpPr>
            <a:spLocks/>
          </p:cNvSpPr>
          <p:nvPr/>
        </p:nvSpPr>
        <p:spPr bwMode="auto">
          <a:xfrm>
            <a:off x="1812925" y="3144739"/>
            <a:ext cx="117475" cy="354013"/>
          </a:xfrm>
          <a:custGeom>
            <a:avLst/>
            <a:gdLst>
              <a:gd name="T0" fmla="*/ 67 w 130"/>
              <a:gd name="T1" fmla="*/ 27 h 407"/>
              <a:gd name="T2" fmla="*/ 65 w 130"/>
              <a:gd name="T3" fmla="*/ 35 h 407"/>
              <a:gd name="T4" fmla="*/ 65 w 130"/>
              <a:gd name="T5" fmla="*/ 42 h 407"/>
              <a:gd name="T6" fmla="*/ 65 w 130"/>
              <a:gd name="T7" fmla="*/ 56 h 407"/>
              <a:gd name="T8" fmla="*/ 74 w 130"/>
              <a:gd name="T9" fmla="*/ 83 h 407"/>
              <a:gd name="T10" fmla="*/ 91 w 130"/>
              <a:gd name="T11" fmla="*/ 105 h 407"/>
              <a:gd name="T12" fmla="*/ 109 w 130"/>
              <a:gd name="T13" fmla="*/ 128 h 407"/>
              <a:gd name="T14" fmla="*/ 124 w 130"/>
              <a:gd name="T15" fmla="*/ 151 h 407"/>
              <a:gd name="T16" fmla="*/ 130 w 130"/>
              <a:gd name="T17" fmla="*/ 182 h 407"/>
              <a:gd name="T18" fmla="*/ 128 w 130"/>
              <a:gd name="T19" fmla="*/ 203 h 407"/>
              <a:gd name="T20" fmla="*/ 124 w 130"/>
              <a:gd name="T21" fmla="*/ 235 h 407"/>
              <a:gd name="T22" fmla="*/ 118 w 130"/>
              <a:gd name="T23" fmla="*/ 268 h 407"/>
              <a:gd name="T24" fmla="*/ 112 w 130"/>
              <a:gd name="T25" fmla="*/ 298 h 407"/>
              <a:gd name="T26" fmla="*/ 109 w 130"/>
              <a:gd name="T27" fmla="*/ 332 h 407"/>
              <a:gd name="T28" fmla="*/ 109 w 130"/>
              <a:gd name="T29" fmla="*/ 357 h 407"/>
              <a:gd name="T30" fmla="*/ 112 w 130"/>
              <a:gd name="T31" fmla="*/ 374 h 407"/>
              <a:gd name="T32" fmla="*/ 122 w 130"/>
              <a:gd name="T33" fmla="*/ 390 h 407"/>
              <a:gd name="T34" fmla="*/ 130 w 130"/>
              <a:gd name="T35" fmla="*/ 393 h 407"/>
              <a:gd name="T36" fmla="*/ 109 w 130"/>
              <a:gd name="T37" fmla="*/ 401 h 407"/>
              <a:gd name="T38" fmla="*/ 91 w 130"/>
              <a:gd name="T39" fmla="*/ 407 h 407"/>
              <a:gd name="T40" fmla="*/ 78 w 130"/>
              <a:gd name="T41" fmla="*/ 407 h 407"/>
              <a:gd name="T42" fmla="*/ 55 w 130"/>
              <a:gd name="T43" fmla="*/ 393 h 407"/>
              <a:gd name="T44" fmla="*/ 36 w 130"/>
              <a:gd name="T45" fmla="*/ 363 h 407"/>
              <a:gd name="T46" fmla="*/ 32 w 130"/>
              <a:gd name="T47" fmla="*/ 342 h 407"/>
              <a:gd name="T48" fmla="*/ 34 w 130"/>
              <a:gd name="T49" fmla="*/ 329 h 407"/>
              <a:gd name="T50" fmla="*/ 40 w 130"/>
              <a:gd name="T51" fmla="*/ 317 h 407"/>
              <a:gd name="T52" fmla="*/ 40 w 130"/>
              <a:gd name="T53" fmla="*/ 311 h 407"/>
              <a:gd name="T54" fmla="*/ 40 w 130"/>
              <a:gd name="T55" fmla="*/ 302 h 407"/>
              <a:gd name="T56" fmla="*/ 40 w 130"/>
              <a:gd name="T57" fmla="*/ 298 h 407"/>
              <a:gd name="T58" fmla="*/ 40 w 130"/>
              <a:gd name="T59" fmla="*/ 292 h 407"/>
              <a:gd name="T60" fmla="*/ 42 w 130"/>
              <a:gd name="T61" fmla="*/ 285 h 407"/>
              <a:gd name="T62" fmla="*/ 44 w 130"/>
              <a:gd name="T63" fmla="*/ 271 h 407"/>
              <a:gd name="T64" fmla="*/ 46 w 130"/>
              <a:gd name="T65" fmla="*/ 258 h 407"/>
              <a:gd name="T66" fmla="*/ 48 w 130"/>
              <a:gd name="T67" fmla="*/ 243 h 407"/>
              <a:gd name="T68" fmla="*/ 49 w 130"/>
              <a:gd name="T69" fmla="*/ 229 h 407"/>
              <a:gd name="T70" fmla="*/ 48 w 130"/>
              <a:gd name="T71" fmla="*/ 218 h 407"/>
              <a:gd name="T72" fmla="*/ 40 w 130"/>
              <a:gd name="T73" fmla="*/ 205 h 407"/>
              <a:gd name="T74" fmla="*/ 30 w 130"/>
              <a:gd name="T75" fmla="*/ 195 h 407"/>
              <a:gd name="T76" fmla="*/ 28 w 130"/>
              <a:gd name="T77" fmla="*/ 184 h 407"/>
              <a:gd name="T78" fmla="*/ 34 w 130"/>
              <a:gd name="T79" fmla="*/ 168 h 407"/>
              <a:gd name="T80" fmla="*/ 40 w 130"/>
              <a:gd name="T81" fmla="*/ 157 h 407"/>
              <a:gd name="T82" fmla="*/ 40 w 130"/>
              <a:gd name="T83" fmla="*/ 147 h 407"/>
              <a:gd name="T84" fmla="*/ 32 w 130"/>
              <a:gd name="T85" fmla="*/ 134 h 407"/>
              <a:gd name="T86" fmla="*/ 25 w 130"/>
              <a:gd name="T87" fmla="*/ 119 h 407"/>
              <a:gd name="T88" fmla="*/ 23 w 130"/>
              <a:gd name="T89" fmla="*/ 105 h 407"/>
              <a:gd name="T90" fmla="*/ 23 w 130"/>
              <a:gd name="T91" fmla="*/ 92 h 407"/>
              <a:gd name="T92" fmla="*/ 23 w 130"/>
              <a:gd name="T93" fmla="*/ 84 h 407"/>
              <a:gd name="T94" fmla="*/ 23 w 130"/>
              <a:gd name="T95" fmla="*/ 75 h 407"/>
              <a:gd name="T96" fmla="*/ 11 w 130"/>
              <a:gd name="T97" fmla="*/ 58 h 407"/>
              <a:gd name="T98" fmla="*/ 0 w 130"/>
              <a:gd name="T99" fmla="*/ 37 h 407"/>
              <a:gd name="T100" fmla="*/ 0 w 130"/>
              <a:gd name="T101" fmla="*/ 21 h 407"/>
              <a:gd name="T102" fmla="*/ 2 w 130"/>
              <a:gd name="T103" fmla="*/ 8 h 407"/>
              <a:gd name="T104" fmla="*/ 9 w 130"/>
              <a:gd name="T105" fmla="*/ 0 h 407"/>
              <a:gd name="T106" fmla="*/ 21 w 130"/>
              <a:gd name="T107" fmla="*/ 0 h 407"/>
              <a:gd name="T108" fmla="*/ 40 w 130"/>
              <a:gd name="T109" fmla="*/ 8 h 407"/>
              <a:gd name="T110" fmla="*/ 61 w 130"/>
              <a:gd name="T111" fmla="*/ 18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407">
                <a:moveTo>
                  <a:pt x="67" y="23"/>
                </a:moveTo>
                <a:lnTo>
                  <a:pt x="67" y="23"/>
                </a:lnTo>
                <a:lnTo>
                  <a:pt x="67" y="27"/>
                </a:lnTo>
                <a:lnTo>
                  <a:pt x="65" y="29"/>
                </a:lnTo>
                <a:lnTo>
                  <a:pt x="65" y="31"/>
                </a:lnTo>
                <a:lnTo>
                  <a:pt x="65" y="35"/>
                </a:lnTo>
                <a:lnTo>
                  <a:pt x="65" y="37"/>
                </a:lnTo>
                <a:lnTo>
                  <a:pt x="65" y="39"/>
                </a:lnTo>
                <a:lnTo>
                  <a:pt x="65" y="42"/>
                </a:lnTo>
                <a:lnTo>
                  <a:pt x="65" y="44"/>
                </a:lnTo>
                <a:lnTo>
                  <a:pt x="65" y="44"/>
                </a:lnTo>
                <a:lnTo>
                  <a:pt x="65" y="56"/>
                </a:lnTo>
                <a:lnTo>
                  <a:pt x="67" y="65"/>
                </a:lnTo>
                <a:lnTo>
                  <a:pt x="70" y="73"/>
                </a:lnTo>
                <a:lnTo>
                  <a:pt x="74" y="83"/>
                </a:lnTo>
                <a:lnTo>
                  <a:pt x="80" y="90"/>
                </a:lnTo>
                <a:lnTo>
                  <a:pt x="86" y="98"/>
                </a:lnTo>
                <a:lnTo>
                  <a:pt x="91" y="105"/>
                </a:lnTo>
                <a:lnTo>
                  <a:pt x="97" y="113"/>
                </a:lnTo>
                <a:lnTo>
                  <a:pt x="103" y="121"/>
                </a:lnTo>
                <a:lnTo>
                  <a:pt x="109" y="128"/>
                </a:lnTo>
                <a:lnTo>
                  <a:pt x="114" y="136"/>
                </a:lnTo>
                <a:lnTo>
                  <a:pt x="118" y="144"/>
                </a:lnTo>
                <a:lnTo>
                  <a:pt x="124" y="151"/>
                </a:lnTo>
                <a:lnTo>
                  <a:pt x="126" y="161"/>
                </a:lnTo>
                <a:lnTo>
                  <a:pt x="128" y="170"/>
                </a:lnTo>
                <a:lnTo>
                  <a:pt x="130" y="182"/>
                </a:lnTo>
                <a:lnTo>
                  <a:pt x="130" y="182"/>
                </a:lnTo>
                <a:lnTo>
                  <a:pt x="130" y="191"/>
                </a:lnTo>
                <a:lnTo>
                  <a:pt x="128" y="203"/>
                </a:lnTo>
                <a:lnTo>
                  <a:pt x="128" y="214"/>
                </a:lnTo>
                <a:lnTo>
                  <a:pt x="126" y="226"/>
                </a:lnTo>
                <a:lnTo>
                  <a:pt x="124" y="235"/>
                </a:lnTo>
                <a:lnTo>
                  <a:pt x="122" y="247"/>
                </a:lnTo>
                <a:lnTo>
                  <a:pt x="120" y="256"/>
                </a:lnTo>
                <a:lnTo>
                  <a:pt x="118" y="268"/>
                </a:lnTo>
                <a:lnTo>
                  <a:pt x="116" y="277"/>
                </a:lnTo>
                <a:lnTo>
                  <a:pt x="114" y="289"/>
                </a:lnTo>
                <a:lnTo>
                  <a:pt x="112" y="298"/>
                </a:lnTo>
                <a:lnTo>
                  <a:pt x="111" y="310"/>
                </a:lnTo>
                <a:lnTo>
                  <a:pt x="111" y="321"/>
                </a:lnTo>
                <a:lnTo>
                  <a:pt x="109" y="332"/>
                </a:lnTo>
                <a:lnTo>
                  <a:pt x="109" y="346"/>
                </a:lnTo>
                <a:lnTo>
                  <a:pt x="109" y="357"/>
                </a:lnTo>
                <a:lnTo>
                  <a:pt x="109" y="357"/>
                </a:lnTo>
                <a:lnTo>
                  <a:pt x="109" y="363"/>
                </a:lnTo>
                <a:lnTo>
                  <a:pt x="111" y="369"/>
                </a:lnTo>
                <a:lnTo>
                  <a:pt x="112" y="374"/>
                </a:lnTo>
                <a:lnTo>
                  <a:pt x="116" y="380"/>
                </a:lnTo>
                <a:lnTo>
                  <a:pt x="118" y="386"/>
                </a:lnTo>
                <a:lnTo>
                  <a:pt x="122" y="390"/>
                </a:lnTo>
                <a:lnTo>
                  <a:pt x="126" y="392"/>
                </a:lnTo>
                <a:lnTo>
                  <a:pt x="130" y="393"/>
                </a:lnTo>
                <a:lnTo>
                  <a:pt x="130" y="393"/>
                </a:lnTo>
                <a:lnTo>
                  <a:pt x="122" y="395"/>
                </a:lnTo>
                <a:lnTo>
                  <a:pt x="116" y="397"/>
                </a:lnTo>
                <a:lnTo>
                  <a:pt x="109" y="401"/>
                </a:lnTo>
                <a:lnTo>
                  <a:pt x="105" y="403"/>
                </a:lnTo>
                <a:lnTo>
                  <a:pt x="99" y="405"/>
                </a:lnTo>
                <a:lnTo>
                  <a:pt x="91" y="407"/>
                </a:lnTo>
                <a:lnTo>
                  <a:pt x="86" y="407"/>
                </a:lnTo>
                <a:lnTo>
                  <a:pt x="78" y="407"/>
                </a:lnTo>
                <a:lnTo>
                  <a:pt x="78" y="407"/>
                </a:lnTo>
                <a:lnTo>
                  <a:pt x="70" y="405"/>
                </a:lnTo>
                <a:lnTo>
                  <a:pt x="63" y="401"/>
                </a:lnTo>
                <a:lnTo>
                  <a:pt x="55" y="393"/>
                </a:lnTo>
                <a:lnTo>
                  <a:pt x="48" y="384"/>
                </a:lnTo>
                <a:lnTo>
                  <a:pt x="42" y="372"/>
                </a:lnTo>
                <a:lnTo>
                  <a:pt x="36" y="363"/>
                </a:lnTo>
                <a:lnTo>
                  <a:pt x="32" y="352"/>
                </a:lnTo>
                <a:lnTo>
                  <a:pt x="32" y="342"/>
                </a:lnTo>
                <a:lnTo>
                  <a:pt x="32" y="342"/>
                </a:lnTo>
                <a:lnTo>
                  <a:pt x="32" y="336"/>
                </a:lnTo>
                <a:lnTo>
                  <a:pt x="32" y="332"/>
                </a:lnTo>
                <a:lnTo>
                  <a:pt x="34" y="329"/>
                </a:lnTo>
                <a:lnTo>
                  <a:pt x="36" y="325"/>
                </a:lnTo>
                <a:lnTo>
                  <a:pt x="38" y="321"/>
                </a:lnTo>
                <a:lnTo>
                  <a:pt x="40" y="317"/>
                </a:lnTo>
                <a:lnTo>
                  <a:pt x="40" y="313"/>
                </a:lnTo>
                <a:lnTo>
                  <a:pt x="40" y="311"/>
                </a:lnTo>
                <a:lnTo>
                  <a:pt x="40" y="311"/>
                </a:lnTo>
                <a:lnTo>
                  <a:pt x="40" y="308"/>
                </a:lnTo>
                <a:lnTo>
                  <a:pt x="40" y="304"/>
                </a:lnTo>
                <a:lnTo>
                  <a:pt x="40" y="302"/>
                </a:lnTo>
                <a:lnTo>
                  <a:pt x="40" y="302"/>
                </a:lnTo>
                <a:lnTo>
                  <a:pt x="40" y="300"/>
                </a:lnTo>
                <a:lnTo>
                  <a:pt x="40" y="298"/>
                </a:lnTo>
                <a:lnTo>
                  <a:pt x="40" y="296"/>
                </a:lnTo>
                <a:lnTo>
                  <a:pt x="40" y="292"/>
                </a:lnTo>
                <a:lnTo>
                  <a:pt x="40" y="292"/>
                </a:lnTo>
                <a:lnTo>
                  <a:pt x="40" y="290"/>
                </a:lnTo>
                <a:lnTo>
                  <a:pt x="42" y="287"/>
                </a:lnTo>
                <a:lnTo>
                  <a:pt x="42" y="285"/>
                </a:lnTo>
                <a:lnTo>
                  <a:pt x="42" y="279"/>
                </a:lnTo>
                <a:lnTo>
                  <a:pt x="44" y="275"/>
                </a:lnTo>
                <a:lnTo>
                  <a:pt x="44" y="271"/>
                </a:lnTo>
                <a:lnTo>
                  <a:pt x="44" y="268"/>
                </a:lnTo>
                <a:lnTo>
                  <a:pt x="46" y="262"/>
                </a:lnTo>
                <a:lnTo>
                  <a:pt x="46" y="258"/>
                </a:lnTo>
                <a:lnTo>
                  <a:pt x="48" y="252"/>
                </a:lnTo>
                <a:lnTo>
                  <a:pt x="48" y="247"/>
                </a:lnTo>
                <a:lnTo>
                  <a:pt x="48" y="243"/>
                </a:lnTo>
                <a:lnTo>
                  <a:pt x="48" y="237"/>
                </a:lnTo>
                <a:lnTo>
                  <a:pt x="49" y="233"/>
                </a:lnTo>
                <a:lnTo>
                  <a:pt x="49" y="229"/>
                </a:lnTo>
                <a:lnTo>
                  <a:pt x="49" y="224"/>
                </a:lnTo>
                <a:lnTo>
                  <a:pt x="49" y="224"/>
                </a:lnTo>
                <a:lnTo>
                  <a:pt x="48" y="218"/>
                </a:lnTo>
                <a:lnTo>
                  <a:pt x="46" y="212"/>
                </a:lnTo>
                <a:lnTo>
                  <a:pt x="42" y="208"/>
                </a:lnTo>
                <a:lnTo>
                  <a:pt x="40" y="205"/>
                </a:lnTo>
                <a:lnTo>
                  <a:pt x="36" y="203"/>
                </a:lnTo>
                <a:lnTo>
                  <a:pt x="32" y="199"/>
                </a:lnTo>
                <a:lnTo>
                  <a:pt x="30" y="195"/>
                </a:lnTo>
                <a:lnTo>
                  <a:pt x="28" y="189"/>
                </a:lnTo>
                <a:lnTo>
                  <a:pt x="28" y="189"/>
                </a:lnTo>
                <a:lnTo>
                  <a:pt x="28" y="184"/>
                </a:lnTo>
                <a:lnTo>
                  <a:pt x="30" y="178"/>
                </a:lnTo>
                <a:lnTo>
                  <a:pt x="32" y="174"/>
                </a:lnTo>
                <a:lnTo>
                  <a:pt x="34" y="168"/>
                </a:lnTo>
                <a:lnTo>
                  <a:pt x="38" y="165"/>
                </a:lnTo>
                <a:lnTo>
                  <a:pt x="38" y="161"/>
                </a:lnTo>
                <a:lnTo>
                  <a:pt x="40" y="157"/>
                </a:lnTo>
                <a:lnTo>
                  <a:pt x="40" y="151"/>
                </a:lnTo>
                <a:lnTo>
                  <a:pt x="40" y="151"/>
                </a:lnTo>
                <a:lnTo>
                  <a:pt x="40" y="147"/>
                </a:lnTo>
                <a:lnTo>
                  <a:pt x="38" y="142"/>
                </a:lnTo>
                <a:lnTo>
                  <a:pt x="34" y="140"/>
                </a:lnTo>
                <a:lnTo>
                  <a:pt x="32" y="134"/>
                </a:lnTo>
                <a:lnTo>
                  <a:pt x="28" y="130"/>
                </a:lnTo>
                <a:lnTo>
                  <a:pt x="27" y="124"/>
                </a:lnTo>
                <a:lnTo>
                  <a:pt x="25" y="119"/>
                </a:lnTo>
                <a:lnTo>
                  <a:pt x="23" y="113"/>
                </a:lnTo>
                <a:lnTo>
                  <a:pt x="23" y="113"/>
                </a:lnTo>
                <a:lnTo>
                  <a:pt x="23" y="105"/>
                </a:lnTo>
                <a:lnTo>
                  <a:pt x="23" y="100"/>
                </a:lnTo>
                <a:lnTo>
                  <a:pt x="23" y="96"/>
                </a:lnTo>
                <a:lnTo>
                  <a:pt x="23" y="92"/>
                </a:lnTo>
                <a:lnTo>
                  <a:pt x="23" y="90"/>
                </a:lnTo>
                <a:lnTo>
                  <a:pt x="23" y="88"/>
                </a:lnTo>
                <a:lnTo>
                  <a:pt x="23" y="84"/>
                </a:lnTo>
                <a:lnTo>
                  <a:pt x="23" y="81"/>
                </a:lnTo>
                <a:lnTo>
                  <a:pt x="23" y="81"/>
                </a:lnTo>
                <a:lnTo>
                  <a:pt x="23" y="75"/>
                </a:lnTo>
                <a:lnTo>
                  <a:pt x="19" y="69"/>
                </a:lnTo>
                <a:lnTo>
                  <a:pt x="15" y="63"/>
                </a:lnTo>
                <a:lnTo>
                  <a:pt x="11" y="58"/>
                </a:lnTo>
                <a:lnTo>
                  <a:pt x="8" y="52"/>
                </a:lnTo>
                <a:lnTo>
                  <a:pt x="4" y="44"/>
                </a:lnTo>
                <a:lnTo>
                  <a:pt x="0" y="37"/>
                </a:lnTo>
                <a:lnTo>
                  <a:pt x="0" y="27"/>
                </a:lnTo>
                <a:lnTo>
                  <a:pt x="0" y="27"/>
                </a:lnTo>
                <a:lnTo>
                  <a:pt x="0" y="21"/>
                </a:lnTo>
                <a:lnTo>
                  <a:pt x="0" y="18"/>
                </a:lnTo>
                <a:lnTo>
                  <a:pt x="2" y="14"/>
                </a:lnTo>
                <a:lnTo>
                  <a:pt x="2" y="8"/>
                </a:lnTo>
                <a:lnTo>
                  <a:pt x="4" y="4"/>
                </a:lnTo>
                <a:lnTo>
                  <a:pt x="8" y="2"/>
                </a:lnTo>
                <a:lnTo>
                  <a:pt x="9" y="0"/>
                </a:lnTo>
                <a:lnTo>
                  <a:pt x="13" y="0"/>
                </a:lnTo>
                <a:lnTo>
                  <a:pt x="13" y="0"/>
                </a:lnTo>
                <a:lnTo>
                  <a:pt x="21" y="0"/>
                </a:lnTo>
                <a:lnTo>
                  <a:pt x="28" y="2"/>
                </a:lnTo>
                <a:lnTo>
                  <a:pt x="34" y="6"/>
                </a:lnTo>
                <a:lnTo>
                  <a:pt x="40" y="8"/>
                </a:lnTo>
                <a:lnTo>
                  <a:pt x="48" y="12"/>
                </a:lnTo>
                <a:lnTo>
                  <a:pt x="53" y="16"/>
                </a:lnTo>
                <a:lnTo>
                  <a:pt x="61" y="18"/>
                </a:lnTo>
                <a:lnTo>
                  <a:pt x="70" y="18"/>
                </a:lnTo>
                <a:lnTo>
                  <a:pt x="67" y="23"/>
                </a:lnTo>
              </a:path>
            </a:pathLst>
          </a:custGeom>
          <a:solidFill>
            <a:schemeClr val="bg2"/>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3" name="Freeform 33"/>
          <p:cNvSpPr>
            <a:spLocks/>
          </p:cNvSpPr>
          <p:nvPr/>
        </p:nvSpPr>
        <p:spPr bwMode="auto">
          <a:xfrm>
            <a:off x="1579563" y="3141564"/>
            <a:ext cx="304800" cy="446088"/>
          </a:xfrm>
          <a:custGeom>
            <a:avLst/>
            <a:gdLst>
              <a:gd name="T0" fmla="*/ 246 w 339"/>
              <a:gd name="T1" fmla="*/ 7 h 509"/>
              <a:gd name="T2" fmla="*/ 227 w 339"/>
              <a:gd name="T3" fmla="*/ 19 h 509"/>
              <a:gd name="T4" fmla="*/ 202 w 339"/>
              <a:gd name="T5" fmla="*/ 15 h 509"/>
              <a:gd name="T6" fmla="*/ 68 w 339"/>
              <a:gd name="T7" fmla="*/ 0 h 509"/>
              <a:gd name="T8" fmla="*/ 47 w 339"/>
              <a:gd name="T9" fmla="*/ 9 h 509"/>
              <a:gd name="T10" fmla="*/ 38 w 339"/>
              <a:gd name="T11" fmla="*/ 34 h 509"/>
              <a:gd name="T12" fmla="*/ 38 w 339"/>
              <a:gd name="T13" fmla="*/ 57 h 509"/>
              <a:gd name="T14" fmla="*/ 38 w 339"/>
              <a:gd name="T15" fmla="*/ 74 h 509"/>
              <a:gd name="T16" fmla="*/ 38 w 339"/>
              <a:gd name="T17" fmla="*/ 97 h 509"/>
              <a:gd name="T18" fmla="*/ 42 w 339"/>
              <a:gd name="T19" fmla="*/ 120 h 509"/>
              <a:gd name="T20" fmla="*/ 49 w 339"/>
              <a:gd name="T21" fmla="*/ 150 h 509"/>
              <a:gd name="T22" fmla="*/ 57 w 339"/>
              <a:gd name="T23" fmla="*/ 177 h 509"/>
              <a:gd name="T24" fmla="*/ 59 w 339"/>
              <a:gd name="T25" fmla="*/ 202 h 509"/>
              <a:gd name="T26" fmla="*/ 51 w 339"/>
              <a:gd name="T27" fmla="*/ 230 h 509"/>
              <a:gd name="T28" fmla="*/ 36 w 339"/>
              <a:gd name="T29" fmla="*/ 253 h 509"/>
              <a:gd name="T30" fmla="*/ 26 w 339"/>
              <a:gd name="T31" fmla="*/ 278 h 509"/>
              <a:gd name="T32" fmla="*/ 28 w 339"/>
              <a:gd name="T33" fmla="*/ 303 h 509"/>
              <a:gd name="T34" fmla="*/ 24 w 339"/>
              <a:gd name="T35" fmla="*/ 330 h 509"/>
              <a:gd name="T36" fmla="*/ 5 w 339"/>
              <a:gd name="T37" fmla="*/ 349 h 509"/>
              <a:gd name="T38" fmla="*/ 1 w 339"/>
              <a:gd name="T39" fmla="*/ 377 h 509"/>
              <a:gd name="T40" fmla="*/ 7 w 339"/>
              <a:gd name="T41" fmla="*/ 406 h 509"/>
              <a:gd name="T42" fmla="*/ 22 w 339"/>
              <a:gd name="T43" fmla="*/ 425 h 509"/>
              <a:gd name="T44" fmla="*/ 36 w 339"/>
              <a:gd name="T45" fmla="*/ 444 h 509"/>
              <a:gd name="T46" fmla="*/ 36 w 339"/>
              <a:gd name="T47" fmla="*/ 461 h 509"/>
              <a:gd name="T48" fmla="*/ 38 w 339"/>
              <a:gd name="T49" fmla="*/ 482 h 509"/>
              <a:gd name="T50" fmla="*/ 74 w 339"/>
              <a:gd name="T51" fmla="*/ 501 h 509"/>
              <a:gd name="T52" fmla="*/ 101 w 339"/>
              <a:gd name="T53" fmla="*/ 509 h 509"/>
              <a:gd name="T54" fmla="*/ 125 w 339"/>
              <a:gd name="T55" fmla="*/ 501 h 509"/>
              <a:gd name="T56" fmla="*/ 145 w 339"/>
              <a:gd name="T57" fmla="*/ 486 h 509"/>
              <a:gd name="T58" fmla="*/ 167 w 339"/>
              <a:gd name="T59" fmla="*/ 473 h 509"/>
              <a:gd name="T60" fmla="*/ 196 w 339"/>
              <a:gd name="T61" fmla="*/ 471 h 509"/>
              <a:gd name="T62" fmla="*/ 219 w 339"/>
              <a:gd name="T63" fmla="*/ 467 h 509"/>
              <a:gd name="T64" fmla="*/ 246 w 339"/>
              <a:gd name="T65" fmla="*/ 444 h 509"/>
              <a:gd name="T66" fmla="*/ 272 w 339"/>
              <a:gd name="T67" fmla="*/ 431 h 509"/>
              <a:gd name="T68" fmla="*/ 299 w 339"/>
              <a:gd name="T69" fmla="*/ 429 h 509"/>
              <a:gd name="T70" fmla="*/ 322 w 339"/>
              <a:gd name="T71" fmla="*/ 427 h 509"/>
              <a:gd name="T72" fmla="*/ 339 w 339"/>
              <a:gd name="T73" fmla="*/ 408 h 509"/>
              <a:gd name="T74" fmla="*/ 309 w 339"/>
              <a:gd name="T75" fmla="*/ 385 h 509"/>
              <a:gd name="T76" fmla="*/ 293 w 339"/>
              <a:gd name="T77" fmla="*/ 343 h 509"/>
              <a:gd name="T78" fmla="*/ 299 w 339"/>
              <a:gd name="T79" fmla="*/ 322 h 509"/>
              <a:gd name="T80" fmla="*/ 301 w 339"/>
              <a:gd name="T81" fmla="*/ 309 h 509"/>
              <a:gd name="T82" fmla="*/ 301 w 339"/>
              <a:gd name="T83" fmla="*/ 299 h 509"/>
              <a:gd name="T84" fmla="*/ 303 w 339"/>
              <a:gd name="T85" fmla="*/ 288 h 509"/>
              <a:gd name="T86" fmla="*/ 305 w 339"/>
              <a:gd name="T87" fmla="*/ 269 h 509"/>
              <a:gd name="T88" fmla="*/ 309 w 339"/>
              <a:gd name="T89" fmla="*/ 244 h 509"/>
              <a:gd name="T90" fmla="*/ 310 w 339"/>
              <a:gd name="T91" fmla="*/ 225 h 509"/>
              <a:gd name="T92" fmla="*/ 297 w 339"/>
              <a:gd name="T93" fmla="*/ 204 h 509"/>
              <a:gd name="T94" fmla="*/ 289 w 339"/>
              <a:gd name="T95" fmla="*/ 185 h 509"/>
              <a:gd name="T96" fmla="*/ 299 w 339"/>
              <a:gd name="T97" fmla="*/ 162 h 509"/>
              <a:gd name="T98" fmla="*/ 299 w 339"/>
              <a:gd name="T99" fmla="*/ 143 h 509"/>
              <a:gd name="T100" fmla="*/ 286 w 339"/>
              <a:gd name="T101" fmla="*/ 120 h 509"/>
              <a:gd name="T102" fmla="*/ 284 w 339"/>
              <a:gd name="T103" fmla="*/ 97 h 509"/>
              <a:gd name="T104" fmla="*/ 284 w 339"/>
              <a:gd name="T105" fmla="*/ 82 h 509"/>
              <a:gd name="T106" fmla="*/ 272 w 339"/>
              <a:gd name="T107" fmla="*/ 59 h 509"/>
              <a:gd name="T108" fmla="*/ 261 w 339"/>
              <a:gd name="T109" fmla="*/ 28 h 509"/>
              <a:gd name="T110" fmla="*/ 261 w 339"/>
              <a:gd name="T111" fmla="*/ 17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9" h="509">
                <a:moveTo>
                  <a:pt x="267" y="13"/>
                </a:moveTo>
                <a:lnTo>
                  <a:pt x="267" y="13"/>
                </a:lnTo>
                <a:lnTo>
                  <a:pt x="259" y="7"/>
                </a:lnTo>
                <a:lnTo>
                  <a:pt x="251" y="5"/>
                </a:lnTo>
                <a:lnTo>
                  <a:pt x="246" y="7"/>
                </a:lnTo>
                <a:lnTo>
                  <a:pt x="240" y="9"/>
                </a:lnTo>
                <a:lnTo>
                  <a:pt x="236" y="13"/>
                </a:lnTo>
                <a:lnTo>
                  <a:pt x="232" y="15"/>
                </a:lnTo>
                <a:lnTo>
                  <a:pt x="228" y="19"/>
                </a:lnTo>
                <a:lnTo>
                  <a:pt x="227" y="19"/>
                </a:lnTo>
                <a:lnTo>
                  <a:pt x="227" y="19"/>
                </a:lnTo>
                <a:lnTo>
                  <a:pt x="221" y="19"/>
                </a:lnTo>
                <a:lnTo>
                  <a:pt x="215" y="19"/>
                </a:lnTo>
                <a:lnTo>
                  <a:pt x="209" y="17"/>
                </a:lnTo>
                <a:lnTo>
                  <a:pt x="202" y="15"/>
                </a:lnTo>
                <a:lnTo>
                  <a:pt x="196" y="15"/>
                </a:lnTo>
                <a:lnTo>
                  <a:pt x="188" y="13"/>
                </a:lnTo>
                <a:lnTo>
                  <a:pt x="179" y="13"/>
                </a:lnTo>
                <a:lnTo>
                  <a:pt x="167" y="13"/>
                </a:lnTo>
                <a:lnTo>
                  <a:pt x="68" y="0"/>
                </a:lnTo>
                <a:lnTo>
                  <a:pt x="68" y="0"/>
                </a:lnTo>
                <a:lnTo>
                  <a:pt x="62" y="0"/>
                </a:lnTo>
                <a:lnTo>
                  <a:pt x="57" y="3"/>
                </a:lnTo>
                <a:lnTo>
                  <a:pt x="51" y="5"/>
                </a:lnTo>
                <a:lnTo>
                  <a:pt x="47" y="9"/>
                </a:lnTo>
                <a:lnTo>
                  <a:pt x="43" y="15"/>
                </a:lnTo>
                <a:lnTo>
                  <a:pt x="42" y="21"/>
                </a:lnTo>
                <a:lnTo>
                  <a:pt x="40" y="26"/>
                </a:lnTo>
                <a:lnTo>
                  <a:pt x="38" y="34"/>
                </a:lnTo>
                <a:lnTo>
                  <a:pt x="38" y="34"/>
                </a:lnTo>
                <a:lnTo>
                  <a:pt x="38" y="40"/>
                </a:lnTo>
                <a:lnTo>
                  <a:pt x="38" y="45"/>
                </a:lnTo>
                <a:lnTo>
                  <a:pt x="38" y="49"/>
                </a:lnTo>
                <a:lnTo>
                  <a:pt x="38" y="53"/>
                </a:lnTo>
                <a:lnTo>
                  <a:pt x="38" y="57"/>
                </a:lnTo>
                <a:lnTo>
                  <a:pt x="38" y="61"/>
                </a:lnTo>
                <a:lnTo>
                  <a:pt x="38" y="64"/>
                </a:lnTo>
                <a:lnTo>
                  <a:pt x="38" y="68"/>
                </a:lnTo>
                <a:lnTo>
                  <a:pt x="38" y="70"/>
                </a:lnTo>
                <a:lnTo>
                  <a:pt x="38" y="74"/>
                </a:lnTo>
                <a:lnTo>
                  <a:pt x="38" y="78"/>
                </a:lnTo>
                <a:lnTo>
                  <a:pt x="38" y="82"/>
                </a:lnTo>
                <a:lnTo>
                  <a:pt x="38" y="85"/>
                </a:lnTo>
                <a:lnTo>
                  <a:pt x="38" y="91"/>
                </a:lnTo>
                <a:lnTo>
                  <a:pt x="38" y="97"/>
                </a:lnTo>
                <a:lnTo>
                  <a:pt x="38" y="103"/>
                </a:lnTo>
                <a:lnTo>
                  <a:pt x="38" y="103"/>
                </a:lnTo>
                <a:lnTo>
                  <a:pt x="40" y="108"/>
                </a:lnTo>
                <a:lnTo>
                  <a:pt x="40" y="114"/>
                </a:lnTo>
                <a:lnTo>
                  <a:pt x="42" y="120"/>
                </a:lnTo>
                <a:lnTo>
                  <a:pt x="42" y="127"/>
                </a:lnTo>
                <a:lnTo>
                  <a:pt x="43" y="133"/>
                </a:lnTo>
                <a:lnTo>
                  <a:pt x="45" y="139"/>
                </a:lnTo>
                <a:lnTo>
                  <a:pt x="47" y="143"/>
                </a:lnTo>
                <a:lnTo>
                  <a:pt x="49" y="150"/>
                </a:lnTo>
                <a:lnTo>
                  <a:pt x="51" y="154"/>
                </a:lnTo>
                <a:lnTo>
                  <a:pt x="53" y="160"/>
                </a:lnTo>
                <a:lnTo>
                  <a:pt x="55" y="166"/>
                </a:lnTo>
                <a:lnTo>
                  <a:pt x="57" y="171"/>
                </a:lnTo>
                <a:lnTo>
                  <a:pt x="57" y="177"/>
                </a:lnTo>
                <a:lnTo>
                  <a:pt x="59" y="185"/>
                </a:lnTo>
                <a:lnTo>
                  <a:pt x="59" y="190"/>
                </a:lnTo>
                <a:lnTo>
                  <a:pt x="59" y="196"/>
                </a:lnTo>
                <a:lnTo>
                  <a:pt x="59" y="196"/>
                </a:lnTo>
                <a:lnTo>
                  <a:pt x="59" y="202"/>
                </a:lnTo>
                <a:lnTo>
                  <a:pt x="59" y="209"/>
                </a:lnTo>
                <a:lnTo>
                  <a:pt x="57" y="215"/>
                </a:lnTo>
                <a:lnTo>
                  <a:pt x="55" y="221"/>
                </a:lnTo>
                <a:lnTo>
                  <a:pt x="53" y="225"/>
                </a:lnTo>
                <a:lnTo>
                  <a:pt x="51" y="230"/>
                </a:lnTo>
                <a:lnTo>
                  <a:pt x="47" y="236"/>
                </a:lnTo>
                <a:lnTo>
                  <a:pt x="45" y="240"/>
                </a:lnTo>
                <a:lnTo>
                  <a:pt x="42" y="246"/>
                </a:lnTo>
                <a:lnTo>
                  <a:pt x="40" y="249"/>
                </a:lnTo>
                <a:lnTo>
                  <a:pt x="36" y="253"/>
                </a:lnTo>
                <a:lnTo>
                  <a:pt x="34" y="259"/>
                </a:lnTo>
                <a:lnTo>
                  <a:pt x="32" y="263"/>
                </a:lnTo>
                <a:lnTo>
                  <a:pt x="30" y="269"/>
                </a:lnTo>
                <a:lnTo>
                  <a:pt x="28" y="274"/>
                </a:lnTo>
                <a:lnTo>
                  <a:pt x="26" y="278"/>
                </a:lnTo>
                <a:lnTo>
                  <a:pt x="26" y="278"/>
                </a:lnTo>
                <a:lnTo>
                  <a:pt x="26" y="284"/>
                </a:lnTo>
                <a:lnTo>
                  <a:pt x="26" y="290"/>
                </a:lnTo>
                <a:lnTo>
                  <a:pt x="26" y="297"/>
                </a:lnTo>
                <a:lnTo>
                  <a:pt x="28" y="303"/>
                </a:lnTo>
                <a:lnTo>
                  <a:pt x="28" y="311"/>
                </a:lnTo>
                <a:lnTo>
                  <a:pt x="28" y="318"/>
                </a:lnTo>
                <a:lnTo>
                  <a:pt x="26" y="324"/>
                </a:lnTo>
                <a:lnTo>
                  <a:pt x="24" y="330"/>
                </a:lnTo>
                <a:lnTo>
                  <a:pt x="24" y="330"/>
                </a:lnTo>
                <a:lnTo>
                  <a:pt x="21" y="335"/>
                </a:lnTo>
                <a:lnTo>
                  <a:pt x="17" y="339"/>
                </a:lnTo>
                <a:lnTo>
                  <a:pt x="13" y="343"/>
                </a:lnTo>
                <a:lnTo>
                  <a:pt x="9" y="345"/>
                </a:lnTo>
                <a:lnTo>
                  <a:pt x="5" y="349"/>
                </a:lnTo>
                <a:lnTo>
                  <a:pt x="3" y="354"/>
                </a:lnTo>
                <a:lnTo>
                  <a:pt x="1" y="360"/>
                </a:lnTo>
                <a:lnTo>
                  <a:pt x="0" y="372"/>
                </a:lnTo>
                <a:lnTo>
                  <a:pt x="0" y="372"/>
                </a:lnTo>
                <a:lnTo>
                  <a:pt x="1" y="377"/>
                </a:lnTo>
                <a:lnTo>
                  <a:pt x="1" y="385"/>
                </a:lnTo>
                <a:lnTo>
                  <a:pt x="3" y="391"/>
                </a:lnTo>
                <a:lnTo>
                  <a:pt x="3" y="396"/>
                </a:lnTo>
                <a:lnTo>
                  <a:pt x="5" y="402"/>
                </a:lnTo>
                <a:lnTo>
                  <a:pt x="7" y="406"/>
                </a:lnTo>
                <a:lnTo>
                  <a:pt x="11" y="410"/>
                </a:lnTo>
                <a:lnTo>
                  <a:pt x="13" y="414"/>
                </a:lnTo>
                <a:lnTo>
                  <a:pt x="17" y="417"/>
                </a:lnTo>
                <a:lnTo>
                  <a:pt x="19" y="421"/>
                </a:lnTo>
                <a:lnTo>
                  <a:pt x="22" y="425"/>
                </a:lnTo>
                <a:lnTo>
                  <a:pt x="24" y="429"/>
                </a:lnTo>
                <a:lnTo>
                  <a:pt x="28" y="433"/>
                </a:lnTo>
                <a:lnTo>
                  <a:pt x="30" y="436"/>
                </a:lnTo>
                <a:lnTo>
                  <a:pt x="34" y="440"/>
                </a:lnTo>
                <a:lnTo>
                  <a:pt x="36" y="444"/>
                </a:lnTo>
                <a:lnTo>
                  <a:pt x="36" y="444"/>
                </a:lnTo>
                <a:lnTo>
                  <a:pt x="36" y="446"/>
                </a:lnTo>
                <a:lnTo>
                  <a:pt x="36" y="450"/>
                </a:lnTo>
                <a:lnTo>
                  <a:pt x="36" y="456"/>
                </a:lnTo>
                <a:lnTo>
                  <a:pt x="36" y="461"/>
                </a:lnTo>
                <a:lnTo>
                  <a:pt x="36" y="467"/>
                </a:lnTo>
                <a:lnTo>
                  <a:pt x="36" y="473"/>
                </a:lnTo>
                <a:lnTo>
                  <a:pt x="38" y="478"/>
                </a:lnTo>
                <a:lnTo>
                  <a:pt x="38" y="482"/>
                </a:lnTo>
                <a:lnTo>
                  <a:pt x="38" y="482"/>
                </a:lnTo>
                <a:lnTo>
                  <a:pt x="42" y="484"/>
                </a:lnTo>
                <a:lnTo>
                  <a:pt x="47" y="488"/>
                </a:lnTo>
                <a:lnTo>
                  <a:pt x="55" y="492"/>
                </a:lnTo>
                <a:lnTo>
                  <a:pt x="64" y="497"/>
                </a:lnTo>
                <a:lnTo>
                  <a:pt x="74" y="501"/>
                </a:lnTo>
                <a:lnTo>
                  <a:pt x="83" y="505"/>
                </a:lnTo>
                <a:lnTo>
                  <a:pt x="91" y="507"/>
                </a:lnTo>
                <a:lnTo>
                  <a:pt x="95" y="509"/>
                </a:lnTo>
                <a:lnTo>
                  <a:pt x="95" y="509"/>
                </a:lnTo>
                <a:lnTo>
                  <a:pt x="101" y="509"/>
                </a:lnTo>
                <a:lnTo>
                  <a:pt x="106" y="507"/>
                </a:lnTo>
                <a:lnTo>
                  <a:pt x="112" y="507"/>
                </a:lnTo>
                <a:lnTo>
                  <a:pt x="116" y="505"/>
                </a:lnTo>
                <a:lnTo>
                  <a:pt x="122" y="503"/>
                </a:lnTo>
                <a:lnTo>
                  <a:pt x="125" y="501"/>
                </a:lnTo>
                <a:lnTo>
                  <a:pt x="129" y="497"/>
                </a:lnTo>
                <a:lnTo>
                  <a:pt x="133" y="496"/>
                </a:lnTo>
                <a:lnTo>
                  <a:pt x="137" y="492"/>
                </a:lnTo>
                <a:lnTo>
                  <a:pt x="141" y="488"/>
                </a:lnTo>
                <a:lnTo>
                  <a:pt x="145" y="486"/>
                </a:lnTo>
                <a:lnTo>
                  <a:pt x="148" y="482"/>
                </a:lnTo>
                <a:lnTo>
                  <a:pt x="154" y="480"/>
                </a:lnTo>
                <a:lnTo>
                  <a:pt x="158" y="478"/>
                </a:lnTo>
                <a:lnTo>
                  <a:pt x="164" y="477"/>
                </a:lnTo>
                <a:lnTo>
                  <a:pt x="167" y="473"/>
                </a:lnTo>
                <a:lnTo>
                  <a:pt x="167" y="473"/>
                </a:lnTo>
                <a:lnTo>
                  <a:pt x="177" y="471"/>
                </a:lnTo>
                <a:lnTo>
                  <a:pt x="183" y="471"/>
                </a:lnTo>
                <a:lnTo>
                  <a:pt x="190" y="471"/>
                </a:lnTo>
                <a:lnTo>
                  <a:pt x="196" y="471"/>
                </a:lnTo>
                <a:lnTo>
                  <a:pt x="202" y="473"/>
                </a:lnTo>
                <a:lnTo>
                  <a:pt x="207" y="471"/>
                </a:lnTo>
                <a:lnTo>
                  <a:pt x="213" y="471"/>
                </a:lnTo>
                <a:lnTo>
                  <a:pt x="219" y="467"/>
                </a:lnTo>
                <a:lnTo>
                  <a:pt x="219" y="467"/>
                </a:lnTo>
                <a:lnTo>
                  <a:pt x="225" y="463"/>
                </a:lnTo>
                <a:lnTo>
                  <a:pt x="230" y="459"/>
                </a:lnTo>
                <a:lnTo>
                  <a:pt x="234" y="456"/>
                </a:lnTo>
                <a:lnTo>
                  <a:pt x="240" y="450"/>
                </a:lnTo>
                <a:lnTo>
                  <a:pt x="246" y="444"/>
                </a:lnTo>
                <a:lnTo>
                  <a:pt x="251" y="440"/>
                </a:lnTo>
                <a:lnTo>
                  <a:pt x="259" y="436"/>
                </a:lnTo>
                <a:lnTo>
                  <a:pt x="267" y="433"/>
                </a:lnTo>
                <a:lnTo>
                  <a:pt x="267" y="433"/>
                </a:lnTo>
                <a:lnTo>
                  <a:pt x="272" y="431"/>
                </a:lnTo>
                <a:lnTo>
                  <a:pt x="278" y="429"/>
                </a:lnTo>
                <a:lnTo>
                  <a:pt x="284" y="429"/>
                </a:lnTo>
                <a:lnTo>
                  <a:pt x="289" y="429"/>
                </a:lnTo>
                <a:lnTo>
                  <a:pt x="295" y="429"/>
                </a:lnTo>
                <a:lnTo>
                  <a:pt x="299" y="429"/>
                </a:lnTo>
                <a:lnTo>
                  <a:pt x="305" y="429"/>
                </a:lnTo>
                <a:lnTo>
                  <a:pt x="309" y="429"/>
                </a:lnTo>
                <a:lnTo>
                  <a:pt x="314" y="429"/>
                </a:lnTo>
                <a:lnTo>
                  <a:pt x="318" y="429"/>
                </a:lnTo>
                <a:lnTo>
                  <a:pt x="322" y="427"/>
                </a:lnTo>
                <a:lnTo>
                  <a:pt x="326" y="427"/>
                </a:lnTo>
                <a:lnTo>
                  <a:pt x="330" y="423"/>
                </a:lnTo>
                <a:lnTo>
                  <a:pt x="333" y="419"/>
                </a:lnTo>
                <a:lnTo>
                  <a:pt x="335" y="415"/>
                </a:lnTo>
                <a:lnTo>
                  <a:pt x="339" y="408"/>
                </a:lnTo>
                <a:lnTo>
                  <a:pt x="339" y="408"/>
                </a:lnTo>
                <a:lnTo>
                  <a:pt x="331" y="406"/>
                </a:lnTo>
                <a:lnTo>
                  <a:pt x="324" y="402"/>
                </a:lnTo>
                <a:lnTo>
                  <a:pt x="316" y="394"/>
                </a:lnTo>
                <a:lnTo>
                  <a:pt x="309" y="385"/>
                </a:lnTo>
                <a:lnTo>
                  <a:pt x="303" y="373"/>
                </a:lnTo>
                <a:lnTo>
                  <a:pt x="297" y="364"/>
                </a:lnTo>
                <a:lnTo>
                  <a:pt x="293" y="353"/>
                </a:lnTo>
                <a:lnTo>
                  <a:pt x="293" y="343"/>
                </a:lnTo>
                <a:lnTo>
                  <a:pt x="293" y="343"/>
                </a:lnTo>
                <a:lnTo>
                  <a:pt x="293" y="337"/>
                </a:lnTo>
                <a:lnTo>
                  <a:pt x="293" y="333"/>
                </a:lnTo>
                <a:lnTo>
                  <a:pt x="295" y="330"/>
                </a:lnTo>
                <a:lnTo>
                  <a:pt x="297" y="326"/>
                </a:lnTo>
                <a:lnTo>
                  <a:pt x="299" y="322"/>
                </a:lnTo>
                <a:lnTo>
                  <a:pt x="301" y="318"/>
                </a:lnTo>
                <a:lnTo>
                  <a:pt x="301" y="314"/>
                </a:lnTo>
                <a:lnTo>
                  <a:pt x="301" y="312"/>
                </a:lnTo>
                <a:lnTo>
                  <a:pt x="301" y="312"/>
                </a:lnTo>
                <a:lnTo>
                  <a:pt x="301" y="309"/>
                </a:lnTo>
                <a:lnTo>
                  <a:pt x="301" y="305"/>
                </a:lnTo>
                <a:lnTo>
                  <a:pt x="301" y="303"/>
                </a:lnTo>
                <a:lnTo>
                  <a:pt x="301" y="303"/>
                </a:lnTo>
                <a:lnTo>
                  <a:pt x="301" y="301"/>
                </a:lnTo>
                <a:lnTo>
                  <a:pt x="301" y="299"/>
                </a:lnTo>
                <a:lnTo>
                  <a:pt x="301" y="297"/>
                </a:lnTo>
                <a:lnTo>
                  <a:pt x="301" y="293"/>
                </a:lnTo>
                <a:lnTo>
                  <a:pt x="301" y="293"/>
                </a:lnTo>
                <a:lnTo>
                  <a:pt x="301" y="291"/>
                </a:lnTo>
                <a:lnTo>
                  <a:pt x="303" y="288"/>
                </a:lnTo>
                <a:lnTo>
                  <a:pt x="303" y="286"/>
                </a:lnTo>
                <a:lnTo>
                  <a:pt x="303" y="280"/>
                </a:lnTo>
                <a:lnTo>
                  <a:pt x="305" y="276"/>
                </a:lnTo>
                <a:lnTo>
                  <a:pt x="305" y="272"/>
                </a:lnTo>
                <a:lnTo>
                  <a:pt x="305" y="269"/>
                </a:lnTo>
                <a:lnTo>
                  <a:pt x="307" y="263"/>
                </a:lnTo>
                <a:lnTo>
                  <a:pt x="307" y="259"/>
                </a:lnTo>
                <a:lnTo>
                  <a:pt x="309" y="253"/>
                </a:lnTo>
                <a:lnTo>
                  <a:pt x="309" y="248"/>
                </a:lnTo>
                <a:lnTo>
                  <a:pt x="309" y="244"/>
                </a:lnTo>
                <a:lnTo>
                  <a:pt x="309" y="238"/>
                </a:lnTo>
                <a:lnTo>
                  <a:pt x="310" y="234"/>
                </a:lnTo>
                <a:lnTo>
                  <a:pt x="310" y="230"/>
                </a:lnTo>
                <a:lnTo>
                  <a:pt x="310" y="225"/>
                </a:lnTo>
                <a:lnTo>
                  <a:pt x="310" y="225"/>
                </a:lnTo>
                <a:lnTo>
                  <a:pt x="309" y="219"/>
                </a:lnTo>
                <a:lnTo>
                  <a:pt x="307" y="213"/>
                </a:lnTo>
                <a:lnTo>
                  <a:pt x="303" y="209"/>
                </a:lnTo>
                <a:lnTo>
                  <a:pt x="301" y="206"/>
                </a:lnTo>
                <a:lnTo>
                  <a:pt x="297" y="204"/>
                </a:lnTo>
                <a:lnTo>
                  <a:pt x="293" y="200"/>
                </a:lnTo>
                <a:lnTo>
                  <a:pt x="291" y="196"/>
                </a:lnTo>
                <a:lnTo>
                  <a:pt x="289" y="190"/>
                </a:lnTo>
                <a:lnTo>
                  <a:pt x="289" y="190"/>
                </a:lnTo>
                <a:lnTo>
                  <a:pt x="289" y="185"/>
                </a:lnTo>
                <a:lnTo>
                  <a:pt x="291" y="179"/>
                </a:lnTo>
                <a:lnTo>
                  <a:pt x="293" y="175"/>
                </a:lnTo>
                <a:lnTo>
                  <a:pt x="295" y="169"/>
                </a:lnTo>
                <a:lnTo>
                  <a:pt x="299" y="166"/>
                </a:lnTo>
                <a:lnTo>
                  <a:pt x="299" y="162"/>
                </a:lnTo>
                <a:lnTo>
                  <a:pt x="301" y="158"/>
                </a:lnTo>
                <a:lnTo>
                  <a:pt x="301" y="152"/>
                </a:lnTo>
                <a:lnTo>
                  <a:pt x="301" y="152"/>
                </a:lnTo>
                <a:lnTo>
                  <a:pt x="301" y="148"/>
                </a:lnTo>
                <a:lnTo>
                  <a:pt x="299" y="143"/>
                </a:lnTo>
                <a:lnTo>
                  <a:pt x="295" y="141"/>
                </a:lnTo>
                <a:lnTo>
                  <a:pt x="293" y="135"/>
                </a:lnTo>
                <a:lnTo>
                  <a:pt x="289" y="131"/>
                </a:lnTo>
                <a:lnTo>
                  <a:pt x="288" y="125"/>
                </a:lnTo>
                <a:lnTo>
                  <a:pt x="286" y="120"/>
                </a:lnTo>
                <a:lnTo>
                  <a:pt x="284" y="114"/>
                </a:lnTo>
                <a:lnTo>
                  <a:pt x="284" y="114"/>
                </a:lnTo>
                <a:lnTo>
                  <a:pt x="284" y="106"/>
                </a:lnTo>
                <a:lnTo>
                  <a:pt x="284" y="101"/>
                </a:lnTo>
                <a:lnTo>
                  <a:pt x="284" y="97"/>
                </a:lnTo>
                <a:lnTo>
                  <a:pt x="284" y="93"/>
                </a:lnTo>
                <a:lnTo>
                  <a:pt x="284" y="91"/>
                </a:lnTo>
                <a:lnTo>
                  <a:pt x="284" y="89"/>
                </a:lnTo>
                <a:lnTo>
                  <a:pt x="284" y="85"/>
                </a:lnTo>
                <a:lnTo>
                  <a:pt x="284" y="82"/>
                </a:lnTo>
                <a:lnTo>
                  <a:pt x="284" y="82"/>
                </a:lnTo>
                <a:lnTo>
                  <a:pt x="284" y="76"/>
                </a:lnTo>
                <a:lnTo>
                  <a:pt x="280" y="70"/>
                </a:lnTo>
                <a:lnTo>
                  <a:pt x="276" y="64"/>
                </a:lnTo>
                <a:lnTo>
                  <a:pt x="272" y="59"/>
                </a:lnTo>
                <a:lnTo>
                  <a:pt x="269" y="53"/>
                </a:lnTo>
                <a:lnTo>
                  <a:pt x="265" y="45"/>
                </a:lnTo>
                <a:lnTo>
                  <a:pt x="261" y="38"/>
                </a:lnTo>
                <a:lnTo>
                  <a:pt x="261" y="28"/>
                </a:lnTo>
                <a:lnTo>
                  <a:pt x="261" y="28"/>
                </a:lnTo>
                <a:lnTo>
                  <a:pt x="261" y="26"/>
                </a:lnTo>
                <a:lnTo>
                  <a:pt x="261" y="24"/>
                </a:lnTo>
                <a:lnTo>
                  <a:pt x="261" y="21"/>
                </a:lnTo>
                <a:lnTo>
                  <a:pt x="261" y="19"/>
                </a:lnTo>
                <a:lnTo>
                  <a:pt x="261" y="17"/>
                </a:lnTo>
                <a:lnTo>
                  <a:pt x="263" y="15"/>
                </a:lnTo>
                <a:lnTo>
                  <a:pt x="263" y="13"/>
                </a:lnTo>
                <a:lnTo>
                  <a:pt x="263" y="11"/>
                </a:lnTo>
                <a:lnTo>
                  <a:pt x="267" y="13"/>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4" name="Freeform 34"/>
          <p:cNvSpPr>
            <a:spLocks/>
          </p:cNvSpPr>
          <p:nvPr/>
        </p:nvSpPr>
        <p:spPr bwMode="auto">
          <a:xfrm>
            <a:off x="1193800" y="3165377"/>
            <a:ext cx="438150" cy="441325"/>
          </a:xfrm>
          <a:custGeom>
            <a:avLst/>
            <a:gdLst>
              <a:gd name="T0" fmla="*/ 470 w 487"/>
              <a:gd name="T1" fmla="*/ 96 h 508"/>
              <a:gd name="T2" fmla="*/ 479 w 487"/>
              <a:gd name="T3" fmla="*/ 130 h 508"/>
              <a:gd name="T4" fmla="*/ 487 w 487"/>
              <a:gd name="T5" fmla="*/ 166 h 508"/>
              <a:gd name="T6" fmla="*/ 483 w 487"/>
              <a:gd name="T7" fmla="*/ 197 h 508"/>
              <a:gd name="T8" fmla="*/ 468 w 487"/>
              <a:gd name="T9" fmla="*/ 225 h 508"/>
              <a:gd name="T10" fmla="*/ 454 w 487"/>
              <a:gd name="T11" fmla="*/ 254 h 508"/>
              <a:gd name="T12" fmla="*/ 456 w 487"/>
              <a:gd name="T13" fmla="*/ 287 h 508"/>
              <a:gd name="T14" fmla="*/ 445 w 487"/>
              <a:gd name="T15" fmla="*/ 315 h 508"/>
              <a:gd name="T16" fmla="*/ 428 w 487"/>
              <a:gd name="T17" fmla="*/ 348 h 508"/>
              <a:gd name="T18" fmla="*/ 433 w 487"/>
              <a:gd name="T19" fmla="*/ 378 h 508"/>
              <a:gd name="T20" fmla="*/ 450 w 487"/>
              <a:gd name="T21" fmla="*/ 401 h 508"/>
              <a:gd name="T22" fmla="*/ 464 w 487"/>
              <a:gd name="T23" fmla="*/ 420 h 508"/>
              <a:gd name="T24" fmla="*/ 464 w 487"/>
              <a:gd name="T25" fmla="*/ 449 h 508"/>
              <a:gd name="T26" fmla="*/ 460 w 487"/>
              <a:gd name="T27" fmla="*/ 460 h 508"/>
              <a:gd name="T28" fmla="*/ 449 w 487"/>
              <a:gd name="T29" fmla="*/ 458 h 508"/>
              <a:gd name="T30" fmla="*/ 418 w 487"/>
              <a:gd name="T31" fmla="*/ 456 h 508"/>
              <a:gd name="T32" fmla="*/ 380 w 487"/>
              <a:gd name="T33" fmla="*/ 451 h 508"/>
              <a:gd name="T34" fmla="*/ 353 w 487"/>
              <a:gd name="T35" fmla="*/ 449 h 508"/>
              <a:gd name="T36" fmla="*/ 321 w 487"/>
              <a:gd name="T37" fmla="*/ 449 h 508"/>
              <a:gd name="T38" fmla="*/ 294 w 487"/>
              <a:gd name="T39" fmla="*/ 449 h 508"/>
              <a:gd name="T40" fmla="*/ 265 w 487"/>
              <a:gd name="T41" fmla="*/ 451 h 508"/>
              <a:gd name="T42" fmla="*/ 223 w 487"/>
              <a:gd name="T43" fmla="*/ 454 h 508"/>
              <a:gd name="T44" fmla="*/ 187 w 487"/>
              <a:gd name="T45" fmla="*/ 464 h 508"/>
              <a:gd name="T46" fmla="*/ 157 w 487"/>
              <a:gd name="T47" fmla="*/ 475 h 508"/>
              <a:gd name="T48" fmla="*/ 122 w 487"/>
              <a:gd name="T49" fmla="*/ 496 h 508"/>
              <a:gd name="T50" fmla="*/ 86 w 487"/>
              <a:gd name="T51" fmla="*/ 508 h 508"/>
              <a:gd name="T52" fmla="*/ 73 w 487"/>
              <a:gd name="T53" fmla="*/ 494 h 508"/>
              <a:gd name="T54" fmla="*/ 71 w 487"/>
              <a:gd name="T55" fmla="*/ 464 h 508"/>
              <a:gd name="T56" fmla="*/ 84 w 487"/>
              <a:gd name="T57" fmla="*/ 433 h 508"/>
              <a:gd name="T58" fmla="*/ 71 w 487"/>
              <a:gd name="T59" fmla="*/ 393 h 508"/>
              <a:gd name="T60" fmla="*/ 56 w 487"/>
              <a:gd name="T61" fmla="*/ 370 h 508"/>
              <a:gd name="T62" fmla="*/ 16 w 487"/>
              <a:gd name="T63" fmla="*/ 357 h 508"/>
              <a:gd name="T64" fmla="*/ 2 w 487"/>
              <a:gd name="T65" fmla="*/ 353 h 508"/>
              <a:gd name="T66" fmla="*/ 2 w 487"/>
              <a:gd name="T67" fmla="*/ 340 h 508"/>
              <a:gd name="T68" fmla="*/ 4 w 487"/>
              <a:gd name="T69" fmla="*/ 330 h 508"/>
              <a:gd name="T70" fmla="*/ 23 w 487"/>
              <a:gd name="T71" fmla="*/ 300 h 508"/>
              <a:gd name="T72" fmla="*/ 19 w 487"/>
              <a:gd name="T73" fmla="*/ 267 h 508"/>
              <a:gd name="T74" fmla="*/ 23 w 487"/>
              <a:gd name="T75" fmla="*/ 243 h 508"/>
              <a:gd name="T76" fmla="*/ 50 w 487"/>
              <a:gd name="T77" fmla="*/ 212 h 508"/>
              <a:gd name="T78" fmla="*/ 40 w 487"/>
              <a:gd name="T79" fmla="*/ 195 h 508"/>
              <a:gd name="T80" fmla="*/ 37 w 487"/>
              <a:gd name="T81" fmla="*/ 178 h 508"/>
              <a:gd name="T82" fmla="*/ 50 w 487"/>
              <a:gd name="T83" fmla="*/ 166 h 508"/>
              <a:gd name="T84" fmla="*/ 67 w 487"/>
              <a:gd name="T85" fmla="*/ 172 h 508"/>
              <a:gd name="T86" fmla="*/ 77 w 487"/>
              <a:gd name="T87" fmla="*/ 166 h 508"/>
              <a:gd name="T88" fmla="*/ 63 w 487"/>
              <a:gd name="T89" fmla="*/ 142 h 508"/>
              <a:gd name="T90" fmla="*/ 61 w 487"/>
              <a:gd name="T91" fmla="*/ 122 h 508"/>
              <a:gd name="T92" fmla="*/ 61 w 487"/>
              <a:gd name="T93" fmla="*/ 113 h 508"/>
              <a:gd name="T94" fmla="*/ 54 w 487"/>
              <a:gd name="T95" fmla="*/ 84 h 508"/>
              <a:gd name="T96" fmla="*/ 69 w 487"/>
              <a:gd name="T97" fmla="*/ 37 h 508"/>
              <a:gd name="T98" fmla="*/ 107 w 487"/>
              <a:gd name="T99" fmla="*/ 19 h 508"/>
              <a:gd name="T100" fmla="*/ 134 w 487"/>
              <a:gd name="T101" fmla="*/ 33 h 508"/>
              <a:gd name="T102" fmla="*/ 164 w 487"/>
              <a:gd name="T103" fmla="*/ 21 h 508"/>
              <a:gd name="T104" fmla="*/ 178 w 487"/>
              <a:gd name="T105" fmla="*/ 2 h 508"/>
              <a:gd name="T106" fmla="*/ 204 w 487"/>
              <a:gd name="T107" fmla="*/ 0 h 508"/>
              <a:gd name="T108" fmla="*/ 210 w 487"/>
              <a:gd name="T109" fmla="*/ 23 h 508"/>
              <a:gd name="T110" fmla="*/ 227 w 487"/>
              <a:gd name="T111" fmla="*/ 35 h 508"/>
              <a:gd name="T112" fmla="*/ 262 w 487"/>
              <a:gd name="T113" fmla="*/ 19 h 508"/>
              <a:gd name="T114" fmla="*/ 292 w 487"/>
              <a:gd name="T115" fmla="*/ 27 h 508"/>
              <a:gd name="T116" fmla="*/ 313 w 487"/>
              <a:gd name="T117" fmla="*/ 58 h 508"/>
              <a:gd name="T118" fmla="*/ 347 w 487"/>
              <a:gd name="T119" fmla="*/ 75 h 508"/>
              <a:gd name="T120" fmla="*/ 387 w 487"/>
              <a:gd name="T121" fmla="*/ 65 h 508"/>
              <a:gd name="T122" fmla="*/ 433 w 487"/>
              <a:gd name="T123" fmla="*/ 65 h 508"/>
              <a:gd name="T124" fmla="*/ 470 w 487"/>
              <a:gd name="T125" fmla="*/ 101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7" h="508">
                <a:moveTo>
                  <a:pt x="466" y="79"/>
                </a:moveTo>
                <a:lnTo>
                  <a:pt x="466" y="79"/>
                </a:lnTo>
                <a:lnTo>
                  <a:pt x="466" y="79"/>
                </a:lnTo>
                <a:lnTo>
                  <a:pt x="468" y="84"/>
                </a:lnTo>
                <a:lnTo>
                  <a:pt x="468" y="90"/>
                </a:lnTo>
                <a:lnTo>
                  <a:pt x="470" y="96"/>
                </a:lnTo>
                <a:lnTo>
                  <a:pt x="470" y="103"/>
                </a:lnTo>
                <a:lnTo>
                  <a:pt x="471" y="109"/>
                </a:lnTo>
                <a:lnTo>
                  <a:pt x="473" y="115"/>
                </a:lnTo>
                <a:lnTo>
                  <a:pt x="475" y="119"/>
                </a:lnTo>
                <a:lnTo>
                  <a:pt x="477" y="126"/>
                </a:lnTo>
                <a:lnTo>
                  <a:pt x="479" y="130"/>
                </a:lnTo>
                <a:lnTo>
                  <a:pt x="481" y="136"/>
                </a:lnTo>
                <a:lnTo>
                  <a:pt x="483" y="142"/>
                </a:lnTo>
                <a:lnTo>
                  <a:pt x="485" y="147"/>
                </a:lnTo>
                <a:lnTo>
                  <a:pt x="485" y="153"/>
                </a:lnTo>
                <a:lnTo>
                  <a:pt x="487" y="161"/>
                </a:lnTo>
                <a:lnTo>
                  <a:pt x="487" y="166"/>
                </a:lnTo>
                <a:lnTo>
                  <a:pt x="487" y="172"/>
                </a:lnTo>
                <a:lnTo>
                  <a:pt x="487" y="172"/>
                </a:lnTo>
                <a:lnTo>
                  <a:pt x="487" y="178"/>
                </a:lnTo>
                <a:lnTo>
                  <a:pt x="487" y="185"/>
                </a:lnTo>
                <a:lnTo>
                  <a:pt x="485" y="191"/>
                </a:lnTo>
                <a:lnTo>
                  <a:pt x="483" y="197"/>
                </a:lnTo>
                <a:lnTo>
                  <a:pt x="481" y="201"/>
                </a:lnTo>
                <a:lnTo>
                  <a:pt x="479" y="206"/>
                </a:lnTo>
                <a:lnTo>
                  <a:pt x="475" y="212"/>
                </a:lnTo>
                <a:lnTo>
                  <a:pt x="473" y="216"/>
                </a:lnTo>
                <a:lnTo>
                  <a:pt x="470" y="222"/>
                </a:lnTo>
                <a:lnTo>
                  <a:pt x="468" y="225"/>
                </a:lnTo>
                <a:lnTo>
                  <a:pt x="464" y="229"/>
                </a:lnTo>
                <a:lnTo>
                  <a:pt x="462" y="235"/>
                </a:lnTo>
                <a:lnTo>
                  <a:pt x="460" y="239"/>
                </a:lnTo>
                <a:lnTo>
                  <a:pt x="458" y="245"/>
                </a:lnTo>
                <a:lnTo>
                  <a:pt x="456" y="250"/>
                </a:lnTo>
                <a:lnTo>
                  <a:pt x="454" y="254"/>
                </a:lnTo>
                <a:lnTo>
                  <a:pt x="454" y="254"/>
                </a:lnTo>
                <a:lnTo>
                  <a:pt x="454" y="260"/>
                </a:lnTo>
                <a:lnTo>
                  <a:pt x="454" y="266"/>
                </a:lnTo>
                <a:lnTo>
                  <a:pt x="454" y="273"/>
                </a:lnTo>
                <a:lnTo>
                  <a:pt x="456" y="279"/>
                </a:lnTo>
                <a:lnTo>
                  <a:pt x="456" y="287"/>
                </a:lnTo>
                <a:lnTo>
                  <a:pt x="456" y="294"/>
                </a:lnTo>
                <a:lnTo>
                  <a:pt x="454" y="300"/>
                </a:lnTo>
                <a:lnTo>
                  <a:pt x="452" y="306"/>
                </a:lnTo>
                <a:lnTo>
                  <a:pt x="452" y="306"/>
                </a:lnTo>
                <a:lnTo>
                  <a:pt x="449" y="311"/>
                </a:lnTo>
                <a:lnTo>
                  <a:pt x="445" y="315"/>
                </a:lnTo>
                <a:lnTo>
                  <a:pt x="441" y="319"/>
                </a:lnTo>
                <a:lnTo>
                  <a:pt x="437" y="321"/>
                </a:lnTo>
                <a:lnTo>
                  <a:pt x="433" y="325"/>
                </a:lnTo>
                <a:lnTo>
                  <a:pt x="431" y="330"/>
                </a:lnTo>
                <a:lnTo>
                  <a:pt x="429" y="336"/>
                </a:lnTo>
                <a:lnTo>
                  <a:pt x="428" y="348"/>
                </a:lnTo>
                <a:lnTo>
                  <a:pt x="428" y="348"/>
                </a:lnTo>
                <a:lnTo>
                  <a:pt x="429" y="353"/>
                </a:lnTo>
                <a:lnTo>
                  <a:pt x="429" y="361"/>
                </a:lnTo>
                <a:lnTo>
                  <a:pt x="431" y="367"/>
                </a:lnTo>
                <a:lnTo>
                  <a:pt x="431" y="372"/>
                </a:lnTo>
                <a:lnTo>
                  <a:pt x="433" y="378"/>
                </a:lnTo>
                <a:lnTo>
                  <a:pt x="435" y="382"/>
                </a:lnTo>
                <a:lnTo>
                  <a:pt x="439" y="386"/>
                </a:lnTo>
                <a:lnTo>
                  <a:pt x="441" y="390"/>
                </a:lnTo>
                <a:lnTo>
                  <a:pt x="445" y="393"/>
                </a:lnTo>
                <a:lnTo>
                  <a:pt x="447" y="397"/>
                </a:lnTo>
                <a:lnTo>
                  <a:pt x="450" y="401"/>
                </a:lnTo>
                <a:lnTo>
                  <a:pt x="452" y="405"/>
                </a:lnTo>
                <a:lnTo>
                  <a:pt x="456" y="409"/>
                </a:lnTo>
                <a:lnTo>
                  <a:pt x="458" y="412"/>
                </a:lnTo>
                <a:lnTo>
                  <a:pt x="462" y="416"/>
                </a:lnTo>
                <a:lnTo>
                  <a:pt x="464" y="420"/>
                </a:lnTo>
                <a:lnTo>
                  <a:pt x="464" y="420"/>
                </a:lnTo>
                <a:lnTo>
                  <a:pt x="464" y="422"/>
                </a:lnTo>
                <a:lnTo>
                  <a:pt x="464" y="426"/>
                </a:lnTo>
                <a:lnTo>
                  <a:pt x="464" y="432"/>
                </a:lnTo>
                <a:lnTo>
                  <a:pt x="464" y="437"/>
                </a:lnTo>
                <a:lnTo>
                  <a:pt x="464" y="443"/>
                </a:lnTo>
                <a:lnTo>
                  <a:pt x="464" y="449"/>
                </a:lnTo>
                <a:lnTo>
                  <a:pt x="466" y="454"/>
                </a:lnTo>
                <a:lnTo>
                  <a:pt x="466" y="458"/>
                </a:lnTo>
                <a:lnTo>
                  <a:pt x="466" y="458"/>
                </a:lnTo>
                <a:lnTo>
                  <a:pt x="464" y="460"/>
                </a:lnTo>
                <a:lnTo>
                  <a:pt x="462" y="460"/>
                </a:lnTo>
                <a:lnTo>
                  <a:pt x="460" y="460"/>
                </a:lnTo>
                <a:lnTo>
                  <a:pt x="458" y="460"/>
                </a:lnTo>
                <a:lnTo>
                  <a:pt x="456" y="460"/>
                </a:lnTo>
                <a:lnTo>
                  <a:pt x="452" y="458"/>
                </a:lnTo>
                <a:lnTo>
                  <a:pt x="450" y="458"/>
                </a:lnTo>
                <a:lnTo>
                  <a:pt x="449" y="458"/>
                </a:lnTo>
                <a:lnTo>
                  <a:pt x="449" y="458"/>
                </a:lnTo>
                <a:lnTo>
                  <a:pt x="445" y="458"/>
                </a:lnTo>
                <a:lnTo>
                  <a:pt x="441" y="458"/>
                </a:lnTo>
                <a:lnTo>
                  <a:pt x="435" y="458"/>
                </a:lnTo>
                <a:lnTo>
                  <a:pt x="429" y="458"/>
                </a:lnTo>
                <a:lnTo>
                  <a:pt x="426" y="456"/>
                </a:lnTo>
                <a:lnTo>
                  <a:pt x="418" y="456"/>
                </a:lnTo>
                <a:lnTo>
                  <a:pt x="412" y="456"/>
                </a:lnTo>
                <a:lnTo>
                  <a:pt x="407" y="454"/>
                </a:lnTo>
                <a:lnTo>
                  <a:pt x="401" y="453"/>
                </a:lnTo>
                <a:lnTo>
                  <a:pt x="393" y="453"/>
                </a:lnTo>
                <a:lnTo>
                  <a:pt x="387" y="453"/>
                </a:lnTo>
                <a:lnTo>
                  <a:pt x="380" y="451"/>
                </a:lnTo>
                <a:lnTo>
                  <a:pt x="374" y="451"/>
                </a:lnTo>
                <a:lnTo>
                  <a:pt x="368" y="451"/>
                </a:lnTo>
                <a:lnTo>
                  <a:pt x="363" y="449"/>
                </a:lnTo>
                <a:lnTo>
                  <a:pt x="357" y="449"/>
                </a:lnTo>
                <a:lnTo>
                  <a:pt x="357" y="449"/>
                </a:lnTo>
                <a:lnTo>
                  <a:pt x="353" y="449"/>
                </a:lnTo>
                <a:lnTo>
                  <a:pt x="347" y="449"/>
                </a:lnTo>
                <a:lnTo>
                  <a:pt x="342" y="449"/>
                </a:lnTo>
                <a:lnTo>
                  <a:pt x="336" y="449"/>
                </a:lnTo>
                <a:lnTo>
                  <a:pt x="332" y="449"/>
                </a:lnTo>
                <a:lnTo>
                  <a:pt x="326" y="449"/>
                </a:lnTo>
                <a:lnTo>
                  <a:pt x="321" y="449"/>
                </a:lnTo>
                <a:lnTo>
                  <a:pt x="317" y="449"/>
                </a:lnTo>
                <a:lnTo>
                  <a:pt x="311" y="449"/>
                </a:lnTo>
                <a:lnTo>
                  <a:pt x="307" y="449"/>
                </a:lnTo>
                <a:lnTo>
                  <a:pt x="304" y="449"/>
                </a:lnTo>
                <a:lnTo>
                  <a:pt x="298" y="449"/>
                </a:lnTo>
                <a:lnTo>
                  <a:pt x="294" y="449"/>
                </a:lnTo>
                <a:lnTo>
                  <a:pt x="290" y="449"/>
                </a:lnTo>
                <a:lnTo>
                  <a:pt x="284" y="449"/>
                </a:lnTo>
                <a:lnTo>
                  <a:pt x="281" y="449"/>
                </a:lnTo>
                <a:lnTo>
                  <a:pt x="281" y="449"/>
                </a:lnTo>
                <a:lnTo>
                  <a:pt x="273" y="449"/>
                </a:lnTo>
                <a:lnTo>
                  <a:pt x="265" y="451"/>
                </a:lnTo>
                <a:lnTo>
                  <a:pt x="258" y="451"/>
                </a:lnTo>
                <a:lnTo>
                  <a:pt x="250" y="451"/>
                </a:lnTo>
                <a:lnTo>
                  <a:pt x="243" y="451"/>
                </a:lnTo>
                <a:lnTo>
                  <a:pt x="237" y="453"/>
                </a:lnTo>
                <a:lnTo>
                  <a:pt x="229" y="453"/>
                </a:lnTo>
                <a:lnTo>
                  <a:pt x="223" y="454"/>
                </a:lnTo>
                <a:lnTo>
                  <a:pt x="218" y="456"/>
                </a:lnTo>
                <a:lnTo>
                  <a:pt x="210" y="456"/>
                </a:lnTo>
                <a:lnTo>
                  <a:pt x="204" y="458"/>
                </a:lnTo>
                <a:lnTo>
                  <a:pt x="199" y="460"/>
                </a:lnTo>
                <a:lnTo>
                  <a:pt x="193" y="462"/>
                </a:lnTo>
                <a:lnTo>
                  <a:pt x="187" y="464"/>
                </a:lnTo>
                <a:lnTo>
                  <a:pt x="180" y="466"/>
                </a:lnTo>
                <a:lnTo>
                  <a:pt x="174" y="468"/>
                </a:lnTo>
                <a:lnTo>
                  <a:pt x="174" y="468"/>
                </a:lnTo>
                <a:lnTo>
                  <a:pt x="168" y="470"/>
                </a:lnTo>
                <a:lnTo>
                  <a:pt x="162" y="473"/>
                </a:lnTo>
                <a:lnTo>
                  <a:pt x="157" y="475"/>
                </a:lnTo>
                <a:lnTo>
                  <a:pt x="151" y="479"/>
                </a:lnTo>
                <a:lnTo>
                  <a:pt x="145" y="483"/>
                </a:lnTo>
                <a:lnTo>
                  <a:pt x="140" y="485"/>
                </a:lnTo>
                <a:lnTo>
                  <a:pt x="134" y="489"/>
                </a:lnTo>
                <a:lnTo>
                  <a:pt x="128" y="493"/>
                </a:lnTo>
                <a:lnTo>
                  <a:pt x="122" y="496"/>
                </a:lnTo>
                <a:lnTo>
                  <a:pt x="117" y="498"/>
                </a:lnTo>
                <a:lnTo>
                  <a:pt x="111" y="502"/>
                </a:lnTo>
                <a:lnTo>
                  <a:pt x="105" y="504"/>
                </a:lnTo>
                <a:lnTo>
                  <a:pt x="99" y="506"/>
                </a:lnTo>
                <a:lnTo>
                  <a:pt x="94" y="508"/>
                </a:lnTo>
                <a:lnTo>
                  <a:pt x="86" y="508"/>
                </a:lnTo>
                <a:lnTo>
                  <a:pt x="80" y="508"/>
                </a:lnTo>
                <a:lnTo>
                  <a:pt x="80" y="508"/>
                </a:lnTo>
                <a:lnTo>
                  <a:pt x="77" y="508"/>
                </a:lnTo>
                <a:lnTo>
                  <a:pt x="75" y="504"/>
                </a:lnTo>
                <a:lnTo>
                  <a:pt x="75" y="500"/>
                </a:lnTo>
                <a:lnTo>
                  <a:pt x="73" y="494"/>
                </a:lnTo>
                <a:lnTo>
                  <a:pt x="71" y="487"/>
                </a:lnTo>
                <a:lnTo>
                  <a:pt x="71" y="481"/>
                </a:lnTo>
                <a:lnTo>
                  <a:pt x="71" y="475"/>
                </a:lnTo>
                <a:lnTo>
                  <a:pt x="71" y="472"/>
                </a:lnTo>
                <a:lnTo>
                  <a:pt x="71" y="472"/>
                </a:lnTo>
                <a:lnTo>
                  <a:pt x="71" y="464"/>
                </a:lnTo>
                <a:lnTo>
                  <a:pt x="73" y="458"/>
                </a:lnTo>
                <a:lnTo>
                  <a:pt x="75" y="453"/>
                </a:lnTo>
                <a:lnTo>
                  <a:pt x="77" y="447"/>
                </a:lnTo>
                <a:lnTo>
                  <a:pt x="78" y="441"/>
                </a:lnTo>
                <a:lnTo>
                  <a:pt x="82" y="437"/>
                </a:lnTo>
                <a:lnTo>
                  <a:pt x="84" y="433"/>
                </a:lnTo>
                <a:lnTo>
                  <a:pt x="86" y="430"/>
                </a:lnTo>
                <a:lnTo>
                  <a:pt x="86" y="403"/>
                </a:lnTo>
                <a:lnTo>
                  <a:pt x="86" y="403"/>
                </a:lnTo>
                <a:lnTo>
                  <a:pt x="80" y="399"/>
                </a:lnTo>
                <a:lnTo>
                  <a:pt x="75" y="397"/>
                </a:lnTo>
                <a:lnTo>
                  <a:pt x="71" y="393"/>
                </a:lnTo>
                <a:lnTo>
                  <a:pt x="69" y="388"/>
                </a:lnTo>
                <a:lnTo>
                  <a:pt x="67" y="384"/>
                </a:lnTo>
                <a:lnTo>
                  <a:pt x="63" y="378"/>
                </a:lnTo>
                <a:lnTo>
                  <a:pt x="61" y="374"/>
                </a:lnTo>
                <a:lnTo>
                  <a:pt x="56" y="370"/>
                </a:lnTo>
                <a:lnTo>
                  <a:pt x="56" y="370"/>
                </a:lnTo>
                <a:lnTo>
                  <a:pt x="48" y="365"/>
                </a:lnTo>
                <a:lnTo>
                  <a:pt x="40" y="361"/>
                </a:lnTo>
                <a:lnTo>
                  <a:pt x="35" y="359"/>
                </a:lnTo>
                <a:lnTo>
                  <a:pt x="29" y="357"/>
                </a:lnTo>
                <a:lnTo>
                  <a:pt x="23" y="357"/>
                </a:lnTo>
                <a:lnTo>
                  <a:pt x="16" y="357"/>
                </a:lnTo>
                <a:lnTo>
                  <a:pt x="8" y="355"/>
                </a:lnTo>
                <a:lnTo>
                  <a:pt x="0" y="353"/>
                </a:lnTo>
                <a:lnTo>
                  <a:pt x="0" y="353"/>
                </a:lnTo>
                <a:lnTo>
                  <a:pt x="2" y="353"/>
                </a:lnTo>
                <a:lnTo>
                  <a:pt x="2" y="353"/>
                </a:lnTo>
                <a:lnTo>
                  <a:pt x="2" y="353"/>
                </a:lnTo>
                <a:lnTo>
                  <a:pt x="4" y="353"/>
                </a:lnTo>
                <a:lnTo>
                  <a:pt x="4" y="353"/>
                </a:lnTo>
                <a:lnTo>
                  <a:pt x="2" y="349"/>
                </a:lnTo>
                <a:lnTo>
                  <a:pt x="2" y="346"/>
                </a:lnTo>
                <a:lnTo>
                  <a:pt x="2" y="344"/>
                </a:lnTo>
                <a:lnTo>
                  <a:pt x="2" y="340"/>
                </a:lnTo>
                <a:lnTo>
                  <a:pt x="2" y="338"/>
                </a:lnTo>
                <a:lnTo>
                  <a:pt x="4" y="338"/>
                </a:lnTo>
                <a:lnTo>
                  <a:pt x="4" y="336"/>
                </a:lnTo>
                <a:lnTo>
                  <a:pt x="4" y="334"/>
                </a:lnTo>
                <a:lnTo>
                  <a:pt x="4" y="334"/>
                </a:lnTo>
                <a:lnTo>
                  <a:pt x="4" y="330"/>
                </a:lnTo>
                <a:lnTo>
                  <a:pt x="6" y="327"/>
                </a:lnTo>
                <a:lnTo>
                  <a:pt x="10" y="321"/>
                </a:lnTo>
                <a:lnTo>
                  <a:pt x="14" y="315"/>
                </a:lnTo>
                <a:lnTo>
                  <a:pt x="17" y="309"/>
                </a:lnTo>
                <a:lnTo>
                  <a:pt x="21" y="304"/>
                </a:lnTo>
                <a:lnTo>
                  <a:pt x="23" y="300"/>
                </a:lnTo>
                <a:lnTo>
                  <a:pt x="23" y="294"/>
                </a:lnTo>
                <a:lnTo>
                  <a:pt x="23" y="294"/>
                </a:lnTo>
                <a:lnTo>
                  <a:pt x="23" y="287"/>
                </a:lnTo>
                <a:lnTo>
                  <a:pt x="21" y="281"/>
                </a:lnTo>
                <a:lnTo>
                  <a:pt x="21" y="273"/>
                </a:lnTo>
                <a:lnTo>
                  <a:pt x="19" y="267"/>
                </a:lnTo>
                <a:lnTo>
                  <a:pt x="17" y="262"/>
                </a:lnTo>
                <a:lnTo>
                  <a:pt x="17" y="256"/>
                </a:lnTo>
                <a:lnTo>
                  <a:pt x="16" y="248"/>
                </a:lnTo>
                <a:lnTo>
                  <a:pt x="16" y="243"/>
                </a:lnTo>
                <a:lnTo>
                  <a:pt x="16" y="243"/>
                </a:lnTo>
                <a:lnTo>
                  <a:pt x="23" y="243"/>
                </a:lnTo>
                <a:lnTo>
                  <a:pt x="31" y="239"/>
                </a:lnTo>
                <a:lnTo>
                  <a:pt x="37" y="235"/>
                </a:lnTo>
                <a:lnTo>
                  <a:pt x="40" y="231"/>
                </a:lnTo>
                <a:lnTo>
                  <a:pt x="44" y="225"/>
                </a:lnTo>
                <a:lnTo>
                  <a:pt x="48" y="218"/>
                </a:lnTo>
                <a:lnTo>
                  <a:pt x="50" y="212"/>
                </a:lnTo>
                <a:lnTo>
                  <a:pt x="54" y="204"/>
                </a:lnTo>
                <a:lnTo>
                  <a:pt x="54" y="204"/>
                </a:lnTo>
                <a:lnTo>
                  <a:pt x="50" y="203"/>
                </a:lnTo>
                <a:lnTo>
                  <a:pt x="46" y="201"/>
                </a:lnTo>
                <a:lnTo>
                  <a:pt x="42" y="199"/>
                </a:lnTo>
                <a:lnTo>
                  <a:pt x="40" y="195"/>
                </a:lnTo>
                <a:lnTo>
                  <a:pt x="38" y="193"/>
                </a:lnTo>
                <a:lnTo>
                  <a:pt x="37" y="189"/>
                </a:lnTo>
                <a:lnTo>
                  <a:pt x="37" y="185"/>
                </a:lnTo>
                <a:lnTo>
                  <a:pt x="35" y="182"/>
                </a:lnTo>
                <a:lnTo>
                  <a:pt x="35" y="182"/>
                </a:lnTo>
                <a:lnTo>
                  <a:pt x="37" y="178"/>
                </a:lnTo>
                <a:lnTo>
                  <a:pt x="37" y="174"/>
                </a:lnTo>
                <a:lnTo>
                  <a:pt x="38" y="172"/>
                </a:lnTo>
                <a:lnTo>
                  <a:pt x="42" y="170"/>
                </a:lnTo>
                <a:lnTo>
                  <a:pt x="44" y="168"/>
                </a:lnTo>
                <a:lnTo>
                  <a:pt x="48" y="166"/>
                </a:lnTo>
                <a:lnTo>
                  <a:pt x="50" y="166"/>
                </a:lnTo>
                <a:lnTo>
                  <a:pt x="54" y="166"/>
                </a:lnTo>
                <a:lnTo>
                  <a:pt x="54" y="166"/>
                </a:lnTo>
                <a:lnTo>
                  <a:pt x="59" y="166"/>
                </a:lnTo>
                <a:lnTo>
                  <a:pt x="63" y="168"/>
                </a:lnTo>
                <a:lnTo>
                  <a:pt x="65" y="170"/>
                </a:lnTo>
                <a:lnTo>
                  <a:pt x="67" y="172"/>
                </a:lnTo>
                <a:lnTo>
                  <a:pt x="69" y="172"/>
                </a:lnTo>
                <a:lnTo>
                  <a:pt x="71" y="172"/>
                </a:lnTo>
                <a:lnTo>
                  <a:pt x="75" y="172"/>
                </a:lnTo>
                <a:lnTo>
                  <a:pt x="80" y="170"/>
                </a:lnTo>
                <a:lnTo>
                  <a:pt x="80" y="170"/>
                </a:lnTo>
                <a:lnTo>
                  <a:pt x="77" y="166"/>
                </a:lnTo>
                <a:lnTo>
                  <a:pt x="73" y="163"/>
                </a:lnTo>
                <a:lnTo>
                  <a:pt x="71" y="159"/>
                </a:lnTo>
                <a:lnTo>
                  <a:pt x="67" y="155"/>
                </a:lnTo>
                <a:lnTo>
                  <a:pt x="65" y="151"/>
                </a:lnTo>
                <a:lnTo>
                  <a:pt x="63" y="147"/>
                </a:lnTo>
                <a:lnTo>
                  <a:pt x="63" y="142"/>
                </a:lnTo>
                <a:lnTo>
                  <a:pt x="61" y="136"/>
                </a:lnTo>
                <a:lnTo>
                  <a:pt x="61" y="136"/>
                </a:lnTo>
                <a:lnTo>
                  <a:pt x="61" y="132"/>
                </a:lnTo>
                <a:lnTo>
                  <a:pt x="61" y="130"/>
                </a:lnTo>
                <a:lnTo>
                  <a:pt x="61" y="126"/>
                </a:lnTo>
                <a:lnTo>
                  <a:pt x="61" y="122"/>
                </a:lnTo>
                <a:lnTo>
                  <a:pt x="61" y="121"/>
                </a:lnTo>
                <a:lnTo>
                  <a:pt x="61" y="119"/>
                </a:lnTo>
                <a:lnTo>
                  <a:pt x="61" y="117"/>
                </a:lnTo>
                <a:lnTo>
                  <a:pt x="61" y="117"/>
                </a:lnTo>
                <a:lnTo>
                  <a:pt x="61" y="117"/>
                </a:lnTo>
                <a:lnTo>
                  <a:pt x="61" y="113"/>
                </a:lnTo>
                <a:lnTo>
                  <a:pt x="61" y="109"/>
                </a:lnTo>
                <a:lnTo>
                  <a:pt x="59" y="103"/>
                </a:lnTo>
                <a:lnTo>
                  <a:pt x="57" y="100"/>
                </a:lnTo>
                <a:lnTo>
                  <a:pt x="56" y="94"/>
                </a:lnTo>
                <a:lnTo>
                  <a:pt x="54" y="90"/>
                </a:lnTo>
                <a:lnTo>
                  <a:pt x="54" y="84"/>
                </a:lnTo>
                <a:lnTo>
                  <a:pt x="54" y="79"/>
                </a:lnTo>
                <a:lnTo>
                  <a:pt x="54" y="79"/>
                </a:lnTo>
                <a:lnTo>
                  <a:pt x="54" y="67"/>
                </a:lnTo>
                <a:lnTo>
                  <a:pt x="57" y="56"/>
                </a:lnTo>
                <a:lnTo>
                  <a:pt x="61" y="46"/>
                </a:lnTo>
                <a:lnTo>
                  <a:pt x="69" y="37"/>
                </a:lnTo>
                <a:lnTo>
                  <a:pt x="77" y="29"/>
                </a:lnTo>
                <a:lnTo>
                  <a:pt x="84" y="23"/>
                </a:lnTo>
                <a:lnTo>
                  <a:pt x="94" y="19"/>
                </a:lnTo>
                <a:lnTo>
                  <a:pt x="103" y="19"/>
                </a:lnTo>
                <a:lnTo>
                  <a:pt x="103" y="19"/>
                </a:lnTo>
                <a:lnTo>
                  <a:pt x="107" y="19"/>
                </a:lnTo>
                <a:lnTo>
                  <a:pt x="111" y="21"/>
                </a:lnTo>
                <a:lnTo>
                  <a:pt x="115" y="23"/>
                </a:lnTo>
                <a:lnTo>
                  <a:pt x="119" y="25"/>
                </a:lnTo>
                <a:lnTo>
                  <a:pt x="122" y="29"/>
                </a:lnTo>
                <a:lnTo>
                  <a:pt x="128" y="31"/>
                </a:lnTo>
                <a:lnTo>
                  <a:pt x="134" y="33"/>
                </a:lnTo>
                <a:lnTo>
                  <a:pt x="140" y="35"/>
                </a:lnTo>
                <a:lnTo>
                  <a:pt x="140" y="35"/>
                </a:lnTo>
                <a:lnTo>
                  <a:pt x="149" y="33"/>
                </a:lnTo>
                <a:lnTo>
                  <a:pt x="155" y="31"/>
                </a:lnTo>
                <a:lnTo>
                  <a:pt x="160" y="27"/>
                </a:lnTo>
                <a:lnTo>
                  <a:pt x="164" y="21"/>
                </a:lnTo>
                <a:lnTo>
                  <a:pt x="166" y="18"/>
                </a:lnTo>
                <a:lnTo>
                  <a:pt x="168" y="12"/>
                </a:lnTo>
                <a:lnTo>
                  <a:pt x="172" y="8"/>
                </a:lnTo>
                <a:lnTo>
                  <a:pt x="174" y="4"/>
                </a:lnTo>
                <a:lnTo>
                  <a:pt x="174" y="4"/>
                </a:lnTo>
                <a:lnTo>
                  <a:pt x="178" y="2"/>
                </a:lnTo>
                <a:lnTo>
                  <a:pt x="181" y="2"/>
                </a:lnTo>
                <a:lnTo>
                  <a:pt x="187" y="0"/>
                </a:lnTo>
                <a:lnTo>
                  <a:pt x="193" y="0"/>
                </a:lnTo>
                <a:lnTo>
                  <a:pt x="197" y="0"/>
                </a:lnTo>
                <a:lnTo>
                  <a:pt x="202" y="0"/>
                </a:lnTo>
                <a:lnTo>
                  <a:pt x="204" y="0"/>
                </a:lnTo>
                <a:lnTo>
                  <a:pt x="208" y="0"/>
                </a:lnTo>
                <a:lnTo>
                  <a:pt x="208" y="0"/>
                </a:lnTo>
                <a:lnTo>
                  <a:pt x="208" y="6"/>
                </a:lnTo>
                <a:lnTo>
                  <a:pt x="210" y="12"/>
                </a:lnTo>
                <a:lnTo>
                  <a:pt x="210" y="18"/>
                </a:lnTo>
                <a:lnTo>
                  <a:pt x="210" y="23"/>
                </a:lnTo>
                <a:lnTo>
                  <a:pt x="212" y="29"/>
                </a:lnTo>
                <a:lnTo>
                  <a:pt x="214" y="33"/>
                </a:lnTo>
                <a:lnTo>
                  <a:pt x="218" y="35"/>
                </a:lnTo>
                <a:lnTo>
                  <a:pt x="222" y="37"/>
                </a:lnTo>
                <a:lnTo>
                  <a:pt x="222" y="37"/>
                </a:lnTo>
                <a:lnTo>
                  <a:pt x="227" y="35"/>
                </a:lnTo>
                <a:lnTo>
                  <a:pt x="233" y="33"/>
                </a:lnTo>
                <a:lnTo>
                  <a:pt x="239" y="31"/>
                </a:lnTo>
                <a:lnTo>
                  <a:pt x="244" y="27"/>
                </a:lnTo>
                <a:lnTo>
                  <a:pt x="250" y="25"/>
                </a:lnTo>
                <a:lnTo>
                  <a:pt x="256" y="21"/>
                </a:lnTo>
                <a:lnTo>
                  <a:pt x="262" y="19"/>
                </a:lnTo>
                <a:lnTo>
                  <a:pt x="269" y="19"/>
                </a:lnTo>
                <a:lnTo>
                  <a:pt x="269" y="19"/>
                </a:lnTo>
                <a:lnTo>
                  <a:pt x="277" y="19"/>
                </a:lnTo>
                <a:lnTo>
                  <a:pt x="283" y="21"/>
                </a:lnTo>
                <a:lnTo>
                  <a:pt x="288" y="23"/>
                </a:lnTo>
                <a:lnTo>
                  <a:pt x="292" y="27"/>
                </a:lnTo>
                <a:lnTo>
                  <a:pt x="296" y="33"/>
                </a:lnTo>
                <a:lnTo>
                  <a:pt x="300" y="37"/>
                </a:lnTo>
                <a:lnTo>
                  <a:pt x="304" y="42"/>
                </a:lnTo>
                <a:lnTo>
                  <a:pt x="307" y="46"/>
                </a:lnTo>
                <a:lnTo>
                  <a:pt x="311" y="52"/>
                </a:lnTo>
                <a:lnTo>
                  <a:pt x="313" y="58"/>
                </a:lnTo>
                <a:lnTo>
                  <a:pt x="317" y="61"/>
                </a:lnTo>
                <a:lnTo>
                  <a:pt x="323" y="67"/>
                </a:lnTo>
                <a:lnTo>
                  <a:pt x="326" y="69"/>
                </a:lnTo>
                <a:lnTo>
                  <a:pt x="332" y="73"/>
                </a:lnTo>
                <a:lnTo>
                  <a:pt x="340" y="75"/>
                </a:lnTo>
                <a:lnTo>
                  <a:pt x="347" y="75"/>
                </a:lnTo>
                <a:lnTo>
                  <a:pt x="347" y="75"/>
                </a:lnTo>
                <a:lnTo>
                  <a:pt x="359" y="75"/>
                </a:lnTo>
                <a:lnTo>
                  <a:pt x="367" y="73"/>
                </a:lnTo>
                <a:lnTo>
                  <a:pt x="374" y="71"/>
                </a:lnTo>
                <a:lnTo>
                  <a:pt x="382" y="67"/>
                </a:lnTo>
                <a:lnTo>
                  <a:pt x="387" y="65"/>
                </a:lnTo>
                <a:lnTo>
                  <a:pt x="395" y="63"/>
                </a:lnTo>
                <a:lnTo>
                  <a:pt x="403" y="61"/>
                </a:lnTo>
                <a:lnTo>
                  <a:pt x="410" y="60"/>
                </a:lnTo>
                <a:lnTo>
                  <a:pt x="410" y="60"/>
                </a:lnTo>
                <a:lnTo>
                  <a:pt x="422" y="61"/>
                </a:lnTo>
                <a:lnTo>
                  <a:pt x="433" y="65"/>
                </a:lnTo>
                <a:lnTo>
                  <a:pt x="441" y="69"/>
                </a:lnTo>
                <a:lnTo>
                  <a:pt x="447" y="75"/>
                </a:lnTo>
                <a:lnTo>
                  <a:pt x="452" y="82"/>
                </a:lnTo>
                <a:lnTo>
                  <a:pt x="458" y="88"/>
                </a:lnTo>
                <a:lnTo>
                  <a:pt x="464" y="96"/>
                </a:lnTo>
                <a:lnTo>
                  <a:pt x="470" y="101"/>
                </a:lnTo>
                <a:lnTo>
                  <a:pt x="466" y="79"/>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5" name="Freeform 35"/>
          <p:cNvSpPr>
            <a:spLocks/>
          </p:cNvSpPr>
          <p:nvPr/>
        </p:nvSpPr>
        <p:spPr bwMode="auto">
          <a:xfrm>
            <a:off x="1008063" y="3308252"/>
            <a:ext cx="263525" cy="298450"/>
          </a:xfrm>
          <a:custGeom>
            <a:avLst/>
            <a:gdLst>
              <a:gd name="T0" fmla="*/ 224 w 294"/>
              <a:gd name="T1" fmla="*/ 71 h 344"/>
              <a:gd name="T2" fmla="*/ 218 w 294"/>
              <a:gd name="T3" fmla="*/ 73 h 344"/>
              <a:gd name="T4" fmla="*/ 210 w 294"/>
              <a:gd name="T5" fmla="*/ 79 h 344"/>
              <a:gd name="T6" fmla="*/ 199 w 294"/>
              <a:gd name="T7" fmla="*/ 100 h 344"/>
              <a:gd name="T8" fmla="*/ 182 w 294"/>
              <a:gd name="T9" fmla="*/ 105 h 344"/>
              <a:gd name="T10" fmla="*/ 164 w 294"/>
              <a:gd name="T11" fmla="*/ 98 h 344"/>
              <a:gd name="T12" fmla="*/ 155 w 294"/>
              <a:gd name="T13" fmla="*/ 84 h 344"/>
              <a:gd name="T14" fmla="*/ 157 w 294"/>
              <a:gd name="T15" fmla="*/ 81 h 344"/>
              <a:gd name="T16" fmla="*/ 164 w 294"/>
              <a:gd name="T17" fmla="*/ 71 h 344"/>
              <a:gd name="T18" fmla="*/ 164 w 294"/>
              <a:gd name="T19" fmla="*/ 54 h 344"/>
              <a:gd name="T20" fmla="*/ 159 w 294"/>
              <a:gd name="T21" fmla="*/ 31 h 344"/>
              <a:gd name="T22" fmla="*/ 147 w 294"/>
              <a:gd name="T23" fmla="*/ 12 h 344"/>
              <a:gd name="T24" fmla="*/ 126 w 294"/>
              <a:gd name="T25" fmla="*/ 0 h 344"/>
              <a:gd name="T26" fmla="*/ 96 w 294"/>
              <a:gd name="T27" fmla="*/ 0 h 344"/>
              <a:gd name="T28" fmla="*/ 71 w 294"/>
              <a:gd name="T29" fmla="*/ 29 h 344"/>
              <a:gd name="T30" fmla="*/ 59 w 294"/>
              <a:gd name="T31" fmla="*/ 61 h 344"/>
              <a:gd name="T32" fmla="*/ 33 w 294"/>
              <a:gd name="T33" fmla="*/ 94 h 344"/>
              <a:gd name="T34" fmla="*/ 0 w 294"/>
              <a:gd name="T35" fmla="*/ 126 h 344"/>
              <a:gd name="T36" fmla="*/ 18 w 294"/>
              <a:gd name="T37" fmla="*/ 149 h 344"/>
              <a:gd name="T38" fmla="*/ 42 w 294"/>
              <a:gd name="T39" fmla="*/ 168 h 344"/>
              <a:gd name="T40" fmla="*/ 69 w 294"/>
              <a:gd name="T41" fmla="*/ 182 h 344"/>
              <a:gd name="T42" fmla="*/ 98 w 294"/>
              <a:gd name="T43" fmla="*/ 197 h 344"/>
              <a:gd name="T44" fmla="*/ 115 w 294"/>
              <a:gd name="T45" fmla="*/ 212 h 344"/>
              <a:gd name="T46" fmla="*/ 130 w 294"/>
              <a:gd name="T47" fmla="*/ 231 h 344"/>
              <a:gd name="T48" fmla="*/ 145 w 294"/>
              <a:gd name="T49" fmla="*/ 254 h 344"/>
              <a:gd name="T50" fmla="*/ 161 w 294"/>
              <a:gd name="T51" fmla="*/ 273 h 344"/>
              <a:gd name="T52" fmla="*/ 180 w 294"/>
              <a:gd name="T53" fmla="*/ 289 h 344"/>
              <a:gd name="T54" fmla="*/ 206 w 294"/>
              <a:gd name="T55" fmla="*/ 304 h 344"/>
              <a:gd name="T56" fmla="*/ 233 w 294"/>
              <a:gd name="T57" fmla="*/ 319 h 344"/>
              <a:gd name="T58" fmla="*/ 264 w 294"/>
              <a:gd name="T59" fmla="*/ 332 h 344"/>
              <a:gd name="T60" fmla="*/ 288 w 294"/>
              <a:gd name="T61" fmla="*/ 344 h 344"/>
              <a:gd name="T62" fmla="*/ 281 w 294"/>
              <a:gd name="T63" fmla="*/ 330 h 344"/>
              <a:gd name="T64" fmla="*/ 279 w 294"/>
              <a:gd name="T65" fmla="*/ 308 h 344"/>
              <a:gd name="T66" fmla="*/ 283 w 294"/>
              <a:gd name="T67" fmla="*/ 289 h 344"/>
              <a:gd name="T68" fmla="*/ 292 w 294"/>
              <a:gd name="T69" fmla="*/ 269 h 344"/>
              <a:gd name="T70" fmla="*/ 288 w 294"/>
              <a:gd name="T71" fmla="*/ 235 h 344"/>
              <a:gd name="T72" fmla="*/ 275 w 294"/>
              <a:gd name="T73" fmla="*/ 220 h 344"/>
              <a:gd name="T74" fmla="*/ 264 w 294"/>
              <a:gd name="T75" fmla="*/ 206 h 344"/>
              <a:gd name="T76" fmla="*/ 237 w 294"/>
              <a:gd name="T77" fmla="*/ 193 h 344"/>
              <a:gd name="T78" fmla="*/ 208 w 294"/>
              <a:gd name="T79" fmla="*/ 189 h 344"/>
              <a:gd name="T80" fmla="*/ 210 w 294"/>
              <a:gd name="T81" fmla="*/ 189 h 344"/>
              <a:gd name="T82" fmla="*/ 210 w 294"/>
              <a:gd name="T83" fmla="*/ 182 h 344"/>
              <a:gd name="T84" fmla="*/ 212 w 294"/>
              <a:gd name="T85" fmla="*/ 174 h 344"/>
              <a:gd name="T86" fmla="*/ 212 w 294"/>
              <a:gd name="T87" fmla="*/ 166 h 344"/>
              <a:gd name="T88" fmla="*/ 225 w 294"/>
              <a:gd name="T89" fmla="*/ 145 h 344"/>
              <a:gd name="T90" fmla="*/ 231 w 294"/>
              <a:gd name="T91" fmla="*/ 130 h 344"/>
              <a:gd name="T92" fmla="*/ 227 w 294"/>
              <a:gd name="T93" fmla="*/ 103 h 344"/>
              <a:gd name="T94" fmla="*/ 224 w 294"/>
              <a:gd name="T95" fmla="*/ 7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4" h="344">
                <a:moveTo>
                  <a:pt x="225" y="71"/>
                </a:moveTo>
                <a:lnTo>
                  <a:pt x="225" y="71"/>
                </a:lnTo>
                <a:lnTo>
                  <a:pt x="224" y="71"/>
                </a:lnTo>
                <a:lnTo>
                  <a:pt x="224" y="71"/>
                </a:lnTo>
                <a:lnTo>
                  <a:pt x="222" y="71"/>
                </a:lnTo>
                <a:lnTo>
                  <a:pt x="222" y="73"/>
                </a:lnTo>
                <a:lnTo>
                  <a:pt x="220" y="73"/>
                </a:lnTo>
                <a:lnTo>
                  <a:pt x="218" y="73"/>
                </a:lnTo>
                <a:lnTo>
                  <a:pt x="214" y="73"/>
                </a:lnTo>
                <a:lnTo>
                  <a:pt x="212" y="71"/>
                </a:lnTo>
                <a:lnTo>
                  <a:pt x="212" y="71"/>
                </a:lnTo>
                <a:lnTo>
                  <a:pt x="210" y="79"/>
                </a:lnTo>
                <a:lnTo>
                  <a:pt x="208" y="84"/>
                </a:lnTo>
                <a:lnTo>
                  <a:pt x="206" y="90"/>
                </a:lnTo>
                <a:lnTo>
                  <a:pt x="203" y="96"/>
                </a:lnTo>
                <a:lnTo>
                  <a:pt x="199" y="100"/>
                </a:lnTo>
                <a:lnTo>
                  <a:pt x="193" y="103"/>
                </a:lnTo>
                <a:lnTo>
                  <a:pt x="187" y="105"/>
                </a:lnTo>
                <a:lnTo>
                  <a:pt x="182" y="105"/>
                </a:lnTo>
                <a:lnTo>
                  <a:pt x="182" y="105"/>
                </a:lnTo>
                <a:lnTo>
                  <a:pt x="178" y="105"/>
                </a:lnTo>
                <a:lnTo>
                  <a:pt x="174" y="103"/>
                </a:lnTo>
                <a:lnTo>
                  <a:pt x="168" y="102"/>
                </a:lnTo>
                <a:lnTo>
                  <a:pt x="164" y="98"/>
                </a:lnTo>
                <a:lnTo>
                  <a:pt x="161" y="96"/>
                </a:lnTo>
                <a:lnTo>
                  <a:pt x="157" y="92"/>
                </a:lnTo>
                <a:lnTo>
                  <a:pt x="155" y="88"/>
                </a:lnTo>
                <a:lnTo>
                  <a:pt x="155" y="84"/>
                </a:lnTo>
                <a:lnTo>
                  <a:pt x="155" y="84"/>
                </a:lnTo>
                <a:lnTo>
                  <a:pt x="155" y="82"/>
                </a:lnTo>
                <a:lnTo>
                  <a:pt x="157" y="81"/>
                </a:lnTo>
                <a:lnTo>
                  <a:pt x="157" y="81"/>
                </a:lnTo>
                <a:lnTo>
                  <a:pt x="159" y="79"/>
                </a:lnTo>
                <a:lnTo>
                  <a:pt x="161" y="77"/>
                </a:lnTo>
                <a:lnTo>
                  <a:pt x="162" y="73"/>
                </a:lnTo>
                <a:lnTo>
                  <a:pt x="164" y="71"/>
                </a:lnTo>
                <a:lnTo>
                  <a:pt x="164" y="67"/>
                </a:lnTo>
                <a:lnTo>
                  <a:pt x="164" y="67"/>
                </a:lnTo>
                <a:lnTo>
                  <a:pt x="164" y="61"/>
                </a:lnTo>
                <a:lnTo>
                  <a:pt x="164" y="54"/>
                </a:lnTo>
                <a:lnTo>
                  <a:pt x="162" y="48"/>
                </a:lnTo>
                <a:lnTo>
                  <a:pt x="162" y="42"/>
                </a:lnTo>
                <a:lnTo>
                  <a:pt x="161" y="37"/>
                </a:lnTo>
                <a:lnTo>
                  <a:pt x="159" y="31"/>
                </a:lnTo>
                <a:lnTo>
                  <a:pt x="157" y="25"/>
                </a:lnTo>
                <a:lnTo>
                  <a:pt x="155" y="20"/>
                </a:lnTo>
                <a:lnTo>
                  <a:pt x="151" y="16"/>
                </a:lnTo>
                <a:lnTo>
                  <a:pt x="147" y="12"/>
                </a:lnTo>
                <a:lnTo>
                  <a:pt x="143" y="8"/>
                </a:lnTo>
                <a:lnTo>
                  <a:pt x="138" y="4"/>
                </a:lnTo>
                <a:lnTo>
                  <a:pt x="134" y="2"/>
                </a:lnTo>
                <a:lnTo>
                  <a:pt x="126" y="0"/>
                </a:lnTo>
                <a:lnTo>
                  <a:pt x="121" y="0"/>
                </a:lnTo>
                <a:lnTo>
                  <a:pt x="113" y="0"/>
                </a:lnTo>
                <a:lnTo>
                  <a:pt x="113" y="0"/>
                </a:lnTo>
                <a:lnTo>
                  <a:pt x="96" y="0"/>
                </a:lnTo>
                <a:lnTo>
                  <a:pt x="84" y="4"/>
                </a:lnTo>
                <a:lnTo>
                  <a:pt x="77" y="12"/>
                </a:lnTo>
                <a:lnTo>
                  <a:pt x="73" y="20"/>
                </a:lnTo>
                <a:lnTo>
                  <a:pt x="71" y="29"/>
                </a:lnTo>
                <a:lnTo>
                  <a:pt x="67" y="39"/>
                </a:lnTo>
                <a:lnTo>
                  <a:pt x="65" y="50"/>
                </a:lnTo>
                <a:lnTo>
                  <a:pt x="59" y="61"/>
                </a:lnTo>
                <a:lnTo>
                  <a:pt x="59" y="61"/>
                </a:lnTo>
                <a:lnTo>
                  <a:pt x="58" y="65"/>
                </a:lnTo>
                <a:lnTo>
                  <a:pt x="52" y="73"/>
                </a:lnTo>
                <a:lnTo>
                  <a:pt x="42" y="82"/>
                </a:lnTo>
                <a:lnTo>
                  <a:pt x="33" y="94"/>
                </a:lnTo>
                <a:lnTo>
                  <a:pt x="21" y="105"/>
                </a:lnTo>
                <a:lnTo>
                  <a:pt x="12" y="115"/>
                </a:lnTo>
                <a:lnTo>
                  <a:pt x="4" y="123"/>
                </a:lnTo>
                <a:lnTo>
                  <a:pt x="0" y="126"/>
                </a:lnTo>
                <a:lnTo>
                  <a:pt x="0" y="126"/>
                </a:lnTo>
                <a:lnTo>
                  <a:pt x="6" y="136"/>
                </a:lnTo>
                <a:lnTo>
                  <a:pt x="12" y="142"/>
                </a:lnTo>
                <a:lnTo>
                  <a:pt x="18" y="149"/>
                </a:lnTo>
                <a:lnTo>
                  <a:pt x="25" y="155"/>
                </a:lnTo>
                <a:lnTo>
                  <a:pt x="31" y="161"/>
                </a:lnTo>
                <a:lnTo>
                  <a:pt x="37" y="165"/>
                </a:lnTo>
                <a:lnTo>
                  <a:pt x="42" y="168"/>
                </a:lnTo>
                <a:lnTo>
                  <a:pt x="48" y="172"/>
                </a:lnTo>
                <a:lnTo>
                  <a:pt x="56" y="176"/>
                </a:lnTo>
                <a:lnTo>
                  <a:pt x="61" y="178"/>
                </a:lnTo>
                <a:lnTo>
                  <a:pt x="69" y="182"/>
                </a:lnTo>
                <a:lnTo>
                  <a:pt x="75" y="185"/>
                </a:lnTo>
                <a:lnTo>
                  <a:pt x="82" y="189"/>
                </a:lnTo>
                <a:lnTo>
                  <a:pt x="90" y="193"/>
                </a:lnTo>
                <a:lnTo>
                  <a:pt x="98" y="197"/>
                </a:lnTo>
                <a:lnTo>
                  <a:pt x="105" y="203"/>
                </a:lnTo>
                <a:lnTo>
                  <a:pt x="105" y="203"/>
                </a:lnTo>
                <a:lnTo>
                  <a:pt x="109" y="206"/>
                </a:lnTo>
                <a:lnTo>
                  <a:pt x="115" y="212"/>
                </a:lnTo>
                <a:lnTo>
                  <a:pt x="119" y="216"/>
                </a:lnTo>
                <a:lnTo>
                  <a:pt x="122" y="222"/>
                </a:lnTo>
                <a:lnTo>
                  <a:pt x="126" y="226"/>
                </a:lnTo>
                <a:lnTo>
                  <a:pt x="130" y="231"/>
                </a:lnTo>
                <a:lnTo>
                  <a:pt x="134" y="237"/>
                </a:lnTo>
                <a:lnTo>
                  <a:pt x="138" y="243"/>
                </a:lnTo>
                <a:lnTo>
                  <a:pt x="141" y="248"/>
                </a:lnTo>
                <a:lnTo>
                  <a:pt x="145" y="254"/>
                </a:lnTo>
                <a:lnTo>
                  <a:pt x="149" y="258"/>
                </a:lnTo>
                <a:lnTo>
                  <a:pt x="153" y="264"/>
                </a:lnTo>
                <a:lnTo>
                  <a:pt x="157" y="269"/>
                </a:lnTo>
                <a:lnTo>
                  <a:pt x="161" y="273"/>
                </a:lnTo>
                <a:lnTo>
                  <a:pt x="166" y="279"/>
                </a:lnTo>
                <a:lnTo>
                  <a:pt x="172" y="283"/>
                </a:lnTo>
                <a:lnTo>
                  <a:pt x="172" y="283"/>
                </a:lnTo>
                <a:lnTo>
                  <a:pt x="180" y="289"/>
                </a:lnTo>
                <a:lnTo>
                  <a:pt x="185" y="292"/>
                </a:lnTo>
                <a:lnTo>
                  <a:pt x="193" y="296"/>
                </a:lnTo>
                <a:lnTo>
                  <a:pt x="199" y="300"/>
                </a:lnTo>
                <a:lnTo>
                  <a:pt x="206" y="304"/>
                </a:lnTo>
                <a:lnTo>
                  <a:pt x="212" y="308"/>
                </a:lnTo>
                <a:lnTo>
                  <a:pt x="220" y="311"/>
                </a:lnTo>
                <a:lnTo>
                  <a:pt x="227" y="315"/>
                </a:lnTo>
                <a:lnTo>
                  <a:pt x="233" y="319"/>
                </a:lnTo>
                <a:lnTo>
                  <a:pt x="241" y="323"/>
                </a:lnTo>
                <a:lnTo>
                  <a:pt x="248" y="327"/>
                </a:lnTo>
                <a:lnTo>
                  <a:pt x="256" y="329"/>
                </a:lnTo>
                <a:lnTo>
                  <a:pt x="264" y="332"/>
                </a:lnTo>
                <a:lnTo>
                  <a:pt x="271" y="336"/>
                </a:lnTo>
                <a:lnTo>
                  <a:pt x="279" y="340"/>
                </a:lnTo>
                <a:lnTo>
                  <a:pt x="288" y="344"/>
                </a:lnTo>
                <a:lnTo>
                  <a:pt x="288" y="344"/>
                </a:lnTo>
                <a:lnTo>
                  <a:pt x="285" y="344"/>
                </a:lnTo>
                <a:lnTo>
                  <a:pt x="283" y="340"/>
                </a:lnTo>
                <a:lnTo>
                  <a:pt x="283" y="336"/>
                </a:lnTo>
                <a:lnTo>
                  <a:pt x="281" y="330"/>
                </a:lnTo>
                <a:lnTo>
                  <a:pt x="279" y="323"/>
                </a:lnTo>
                <a:lnTo>
                  <a:pt x="279" y="317"/>
                </a:lnTo>
                <a:lnTo>
                  <a:pt x="279" y="311"/>
                </a:lnTo>
                <a:lnTo>
                  <a:pt x="279" y="308"/>
                </a:lnTo>
                <a:lnTo>
                  <a:pt x="279" y="308"/>
                </a:lnTo>
                <a:lnTo>
                  <a:pt x="279" y="300"/>
                </a:lnTo>
                <a:lnTo>
                  <a:pt x="281" y="294"/>
                </a:lnTo>
                <a:lnTo>
                  <a:pt x="283" y="289"/>
                </a:lnTo>
                <a:lnTo>
                  <a:pt x="285" y="283"/>
                </a:lnTo>
                <a:lnTo>
                  <a:pt x="286" y="277"/>
                </a:lnTo>
                <a:lnTo>
                  <a:pt x="290" y="273"/>
                </a:lnTo>
                <a:lnTo>
                  <a:pt x="292" y="269"/>
                </a:lnTo>
                <a:lnTo>
                  <a:pt x="294" y="266"/>
                </a:lnTo>
                <a:lnTo>
                  <a:pt x="294" y="239"/>
                </a:lnTo>
                <a:lnTo>
                  <a:pt x="294" y="239"/>
                </a:lnTo>
                <a:lnTo>
                  <a:pt x="288" y="235"/>
                </a:lnTo>
                <a:lnTo>
                  <a:pt x="283" y="233"/>
                </a:lnTo>
                <a:lnTo>
                  <a:pt x="279" y="229"/>
                </a:lnTo>
                <a:lnTo>
                  <a:pt x="277" y="224"/>
                </a:lnTo>
                <a:lnTo>
                  <a:pt x="275" y="220"/>
                </a:lnTo>
                <a:lnTo>
                  <a:pt x="271" y="214"/>
                </a:lnTo>
                <a:lnTo>
                  <a:pt x="269" y="210"/>
                </a:lnTo>
                <a:lnTo>
                  <a:pt x="264" y="206"/>
                </a:lnTo>
                <a:lnTo>
                  <a:pt x="264" y="206"/>
                </a:lnTo>
                <a:lnTo>
                  <a:pt x="256" y="201"/>
                </a:lnTo>
                <a:lnTo>
                  <a:pt x="248" y="197"/>
                </a:lnTo>
                <a:lnTo>
                  <a:pt x="243" y="195"/>
                </a:lnTo>
                <a:lnTo>
                  <a:pt x="237" y="193"/>
                </a:lnTo>
                <a:lnTo>
                  <a:pt x="231" y="193"/>
                </a:lnTo>
                <a:lnTo>
                  <a:pt x="224" y="193"/>
                </a:lnTo>
                <a:lnTo>
                  <a:pt x="216" y="191"/>
                </a:lnTo>
                <a:lnTo>
                  <a:pt x="208" y="189"/>
                </a:lnTo>
                <a:lnTo>
                  <a:pt x="208" y="189"/>
                </a:lnTo>
                <a:lnTo>
                  <a:pt x="210" y="189"/>
                </a:lnTo>
                <a:lnTo>
                  <a:pt x="210" y="189"/>
                </a:lnTo>
                <a:lnTo>
                  <a:pt x="210" y="189"/>
                </a:lnTo>
                <a:lnTo>
                  <a:pt x="212" y="189"/>
                </a:lnTo>
                <a:lnTo>
                  <a:pt x="212" y="189"/>
                </a:lnTo>
                <a:lnTo>
                  <a:pt x="210" y="185"/>
                </a:lnTo>
                <a:lnTo>
                  <a:pt x="210" y="182"/>
                </a:lnTo>
                <a:lnTo>
                  <a:pt x="210" y="180"/>
                </a:lnTo>
                <a:lnTo>
                  <a:pt x="210" y="176"/>
                </a:lnTo>
                <a:lnTo>
                  <a:pt x="210" y="174"/>
                </a:lnTo>
                <a:lnTo>
                  <a:pt x="212" y="174"/>
                </a:lnTo>
                <a:lnTo>
                  <a:pt x="212" y="172"/>
                </a:lnTo>
                <a:lnTo>
                  <a:pt x="212" y="170"/>
                </a:lnTo>
                <a:lnTo>
                  <a:pt x="212" y="170"/>
                </a:lnTo>
                <a:lnTo>
                  <a:pt x="212" y="166"/>
                </a:lnTo>
                <a:lnTo>
                  <a:pt x="214" y="163"/>
                </a:lnTo>
                <a:lnTo>
                  <a:pt x="218" y="157"/>
                </a:lnTo>
                <a:lnTo>
                  <a:pt x="222" y="151"/>
                </a:lnTo>
                <a:lnTo>
                  <a:pt x="225" y="145"/>
                </a:lnTo>
                <a:lnTo>
                  <a:pt x="229" y="140"/>
                </a:lnTo>
                <a:lnTo>
                  <a:pt x="231" y="136"/>
                </a:lnTo>
                <a:lnTo>
                  <a:pt x="231" y="130"/>
                </a:lnTo>
                <a:lnTo>
                  <a:pt x="231" y="130"/>
                </a:lnTo>
                <a:lnTo>
                  <a:pt x="231" y="123"/>
                </a:lnTo>
                <a:lnTo>
                  <a:pt x="229" y="117"/>
                </a:lnTo>
                <a:lnTo>
                  <a:pt x="229" y="109"/>
                </a:lnTo>
                <a:lnTo>
                  <a:pt x="227" y="103"/>
                </a:lnTo>
                <a:lnTo>
                  <a:pt x="225" y="98"/>
                </a:lnTo>
                <a:lnTo>
                  <a:pt x="225" y="92"/>
                </a:lnTo>
                <a:lnTo>
                  <a:pt x="224" y="84"/>
                </a:lnTo>
                <a:lnTo>
                  <a:pt x="224" y="79"/>
                </a:lnTo>
                <a:lnTo>
                  <a:pt x="225" y="71"/>
                </a:lnTo>
              </a:path>
            </a:pathLst>
          </a:custGeom>
          <a:solidFill>
            <a:schemeClr val="bg1">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6" name="Freeform 36"/>
          <p:cNvSpPr>
            <a:spLocks/>
          </p:cNvSpPr>
          <p:nvPr/>
        </p:nvSpPr>
        <p:spPr bwMode="auto">
          <a:xfrm>
            <a:off x="893763" y="3197127"/>
            <a:ext cx="200025" cy="220663"/>
          </a:xfrm>
          <a:custGeom>
            <a:avLst/>
            <a:gdLst>
              <a:gd name="T0" fmla="*/ 222 w 222"/>
              <a:gd name="T1" fmla="*/ 129 h 253"/>
              <a:gd name="T2" fmla="*/ 205 w 222"/>
              <a:gd name="T3" fmla="*/ 137 h 253"/>
              <a:gd name="T4" fmla="*/ 197 w 222"/>
              <a:gd name="T5" fmla="*/ 150 h 253"/>
              <a:gd name="T6" fmla="*/ 193 w 222"/>
              <a:gd name="T7" fmla="*/ 169 h 253"/>
              <a:gd name="T8" fmla="*/ 185 w 222"/>
              <a:gd name="T9" fmla="*/ 188 h 253"/>
              <a:gd name="T10" fmla="*/ 184 w 222"/>
              <a:gd name="T11" fmla="*/ 192 h 253"/>
              <a:gd name="T12" fmla="*/ 168 w 222"/>
              <a:gd name="T13" fmla="*/ 209 h 253"/>
              <a:gd name="T14" fmla="*/ 147 w 222"/>
              <a:gd name="T15" fmla="*/ 232 h 253"/>
              <a:gd name="T16" fmla="*/ 130 w 222"/>
              <a:gd name="T17" fmla="*/ 250 h 253"/>
              <a:gd name="T18" fmla="*/ 126 w 222"/>
              <a:gd name="T19" fmla="*/ 253 h 253"/>
              <a:gd name="T20" fmla="*/ 115 w 222"/>
              <a:gd name="T21" fmla="*/ 248 h 253"/>
              <a:gd name="T22" fmla="*/ 105 w 222"/>
              <a:gd name="T23" fmla="*/ 240 h 253"/>
              <a:gd name="T24" fmla="*/ 96 w 222"/>
              <a:gd name="T25" fmla="*/ 234 h 253"/>
              <a:gd name="T26" fmla="*/ 88 w 222"/>
              <a:gd name="T27" fmla="*/ 229 h 253"/>
              <a:gd name="T28" fmla="*/ 81 w 222"/>
              <a:gd name="T29" fmla="*/ 223 h 253"/>
              <a:gd name="T30" fmla="*/ 73 w 222"/>
              <a:gd name="T31" fmla="*/ 217 h 253"/>
              <a:gd name="T32" fmla="*/ 63 w 222"/>
              <a:gd name="T33" fmla="*/ 209 h 253"/>
              <a:gd name="T34" fmla="*/ 54 w 222"/>
              <a:gd name="T35" fmla="*/ 204 h 253"/>
              <a:gd name="T36" fmla="*/ 50 w 222"/>
              <a:gd name="T37" fmla="*/ 202 h 253"/>
              <a:gd name="T38" fmla="*/ 41 w 222"/>
              <a:gd name="T39" fmla="*/ 198 h 253"/>
              <a:gd name="T40" fmla="*/ 31 w 222"/>
              <a:gd name="T41" fmla="*/ 192 h 253"/>
              <a:gd name="T42" fmla="*/ 23 w 222"/>
              <a:gd name="T43" fmla="*/ 185 h 253"/>
              <a:gd name="T44" fmla="*/ 21 w 222"/>
              <a:gd name="T45" fmla="*/ 181 h 253"/>
              <a:gd name="T46" fmla="*/ 20 w 222"/>
              <a:gd name="T47" fmla="*/ 169 h 253"/>
              <a:gd name="T48" fmla="*/ 20 w 222"/>
              <a:gd name="T49" fmla="*/ 160 h 253"/>
              <a:gd name="T50" fmla="*/ 20 w 222"/>
              <a:gd name="T51" fmla="*/ 150 h 253"/>
              <a:gd name="T52" fmla="*/ 18 w 222"/>
              <a:gd name="T53" fmla="*/ 141 h 253"/>
              <a:gd name="T54" fmla="*/ 16 w 222"/>
              <a:gd name="T55" fmla="*/ 137 h 253"/>
              <a:gd name="T56" fmla="*/ 10 w 222"/>
              <a:gd name="T57" fmla="*/ 131 h 253"/>
              <a:gd name="T58" fmla="*/ 4 w 222"/>
              <a:gd name="T59" fmla="*/ 124 h 253"/>
              <a:gd name="T60" fmla="*/ 0 w 222"/>
              <a:gd name="T61" fmla="*/ 112 h 253"/>
              <a:gd name="T62" fmla="*/ 0 w 222"/>
              <a:gd name="T63" fmla="*/ 103 h 253"/>
              <a:gd name="T64" fmla="*/ 2 w 222"/>
              <a:gd name="T65" fmla="*/ 84 h 253"/>
              <a:gd name="T66" fmla="*/ 8 w 222"/>
              <a:gd name="T67" fmla="*/ 64 h 253"/>
              <a:gd name="T68" fmla="*/ 18 w 222"/>
              <a:gd name="T69" fmla="*/ 47 h 253"/>
              <a:gd name="T70" fmla="*/ 29 w 222"/>
              <a:gd name="T71" fmla="*/ 32 h 253"/>
              <a:gd name="T72" fmla="*/ 42 w 222"/>
              <a:gd name="T73" fmla="*/ 19 h 253"/>
              <a:gd name="T74" fmla="*/ 58 w 222"/>
              <a:gd name="T75" fmla="*/ 7 h 253"/>
              <a:gd name="T76" fmla="*/ 73 w 222"/>
              <a:gd name="T77" fmla="*/ 2 h 253"/>
              <a:gd name="T78" fmla="*/ 90 w 222"/>
              <a:gd name="T79" fmla="*/ 0 h 253"/>
              <a:gd name="T80" fmla="*/ 96 w 222"/>
              <a:gd name="T81" fmla="*/ 0 h 253"/>
              <a:gd name="T82" fmla="*/ 107 w 222"/>
              <a:gd name="T83" fmla="*/ 0 h 253"/>
              <a:gd name="T84" fmla="*/ 119 w 222"/>
              <a:gd name="T85" fmla="*/ 0 h 253"/>
              <a:gd name="T86" fmla="*/ 126 w 222"/>
              <a:gd name="T87" fmla="*/ 0 h 253"/>
              <a:gd name="T88" fmla="*/ 126 w 222"/>
              <a:gd name="T89" fmla="*/ 0 h 253"/>
              <a:gd name="T90" fmla="*/ 144 w 222"/>
              <a:gd name="T91" fmla="*/ 2 h 253"/>
              <a:gd name="T92" fmla="*/ 159 w 222"/>
              <a:gd name="T93" fmla="*/ 9 h 253"/>
              <a:gd name="T94" fmla="*/ 172 w 222"/>
              <a:gd name="T95" fmla="*/ 19 h 253"/>
              <a:gd name="T96" fmla="*/ 184 w 222"/>
              <a:gd name="T97" fmla="*/ 32 h 253"/>
              <a:gd name="T98" fmla="*/ 193 w 222"/>
              <a:gd name="T99" fmla="*/ 49 h 253"/>
              <a:gd name="T100" fmla="*/ 201 w 222"/>
              <a:gd name="T101" fmla="*/ 68 h 253"/>
              <a:gd name="T102" fmla="*/ 206 w 222"/>
              <a:gd name="T103" fmla="*/ 89 h 253"/>
              <a:gd name="T104" fmla="*/ 206 w 222"/>
              <a:gd name="T105" fmla="*/ 112 h 253"/>
              <a:gd name="T106" fmla="*/ 206 w 222"/>
              <a:gd name="T107" fmla="*/ 114 h 253"/>
              <a:gd name="T108" fmla="*/ 205 w 222"/>
              <a:gd name="T109" fmla="*/ 120 h 253"/>
              <a:gd name="T110" fmla="*/ 201 w 222"/>
              <a:gd name="T111" fmla="*/ 124 h 253"/>
              <a:gd name="T112" fmla="*/ 197 w 222"/>
              <a:gd name="T113" fmla="*/ 126 h 253"/>
              <a:gd name="T114" fmla="*/ 195 w 222"/>
              <a:gd name="T115" fmla="*/ 127 h 253"/>
              <a:gd name="T116" fmla="*/ 201 w 222"/>
              <a:gd name="T117" fmla="*/ 129 h 253"/>
              <a:gd name="T118" fmla="*/ 205 w 222"/>
              <a:gd name="T119" fmla="*/ 129 h 253"/>
              <a:gd name="T120" fmla="*/ 208 w 222"/>
              <a:gd name="T121" fmla="*/ 129 h 253"/>
              <a:gd name="T122" fmla="*/ 214 w 222"/>
              <a:gd name="T123" fmla="*/ 12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2" h="253">
                <a:moveTo>
                  <a:pt x="222" y="129"/>
                </a:moveTo>
                <a:lnTo>
                  <a:pt x="222" y="129"/>
                </a:lnTo>
                <a:lnTo>
                  <a:pt x="210" y="131"/>
                </a:lnTo>
                <a:lnTo>
                  <a:pt x="205" y="137"/>
                </a:lnTo>
                <a:lnTo>
                  <a:pt x="201" y="143"/>
                </a:lnTo>
                <a:lnTo>
                  <a:pt x="197" y="150"/>
                </a:lnTo>
                <a:lnTo>
                  <a:pt x="195" y="160"/>
                </a:lnTo>
                <a:lnTo>
                  <a:pt x="193" y="169"/>
                </a:lnTo>
                <a:lnTo>
                  <a:pt x="191" y="179"/>
                </a:lnTo>
                <a:lnTo>
                  <a:pt x="185" y="188"/>
                </a:lnTo>
                <a:lnTo>
                  <a:pt x="185" y="188"/>
                </a:lnTo>
                <a:lnTo>
                  <a:pt x="184" y="192"/>
                </a:lnTo>
                <a:lnTo>
                  <a:pt x="178" y="200"/>
                </a:lnTo>
                <a:lnTo>
                  <a:pt x="168" y="209"/>
                </a:lnTo>
                <a:lnTo>
                  <a:pt x="159" y="221"/>
                </a:lnTo>
                <a:lnTo>
                  <a:pt x="147" y="232"/>
                </a:lnTo>
                <a:lnTo>
                  <a:pt x="138" y="242"/>
                </a:lnTo>
                <a:lnTo>
                  <a:pt x="130" y="250"/>
                </a:lnTo>
                <a:lnTo>
                  <a:pt x="126" y="253"/>
                </a:lnTo>
                <a:lnTo>
                  <a:pt x="126" y="253"/>
                </a:lnTo>
                <a:lnTo>
                  <a:pt x="121" y="250"/>
                </a:lnTo>
                <a:lnTo>
                  <a:pt x="115" y="248"/>
                </a:lnTo>
                <a:lnTo>
                  <a:pt x="109" y="244"/>
                </a:lnTo>
                <a:lnTo>
                  <a:pt x="105" y="240"/>
                </a:lnTo>
                <a:lnTo>
                  <a:pt x="100" y="238"/>
                </a:lnTo>
                <a:lnTo>
                  <a:pt x="96" y="234"/>
                </a:lnTo>
                <a:lnTo>
                  <a:pt x="92" y="232"/>
                </a:lnTo>
                <a:lnTo>
                  <a:pt x="88" y="229"/>
                </a:lnTo>
                <a:lnTo>
                  <a:pt x="84" y="225"/>
                </a:lnTo>
                <a:lnTo>
                  <a:pt x="81" y="223"/>
                </a:lnTo>
                <a:lnTo>
                  <a:pt x="77" y="219"/>
                </a:lnTo>
                <a:lnTo>
                  <a:pt x="73" y="217"/>
                </a:lnTo>
                <a:lnTo>
                  <a:pt x="69" y="213"/>
                </a:lnTo>
                <a:lnTo>
                  <a:pt x="63" y="209"/>
                </a:lnTo>
                <a:lnTo>
                  <a:pt x="60" y="208"/>
                </a:lnTo>
                <a:lnTo>
                  <a:pt x="54" y="204"/>
                </a:lnTo>
                <a:lnTo>
                  <a:pt x="54" y="204"/>
                </a:lnTo>
                <a:lnTo>
                  <a:pt x="50" y="202"/>
                </a:lnTo>
                <a:lnTo>
                  <a:pt x="44" y="200"/>
                </a:lnTo>
                <a:lnTo>
                  <a:pt x="41" y="198"/>
                </a:lnTo>
                <a:lnTo>
                  <a:pt x="35" y="194"/>
                </a:lnTo>
                <a:lnTo>
                  <a:pt x="31" y="192"/>
                </a:lnTo>
                <a:lnTo>
                  <a:pt x="27" y="188"/>
                </a:lnTo>
                <a:lnTo>
                  <a:pt x="23" y="185"/>
                </a:lnTo>
                <a:lnTo>
                  <a:pt x="21" y="181"/>
                </a:lnTo>
                <a:lnTo>
                  <a:pt x="21" y="181"/>
                </a:lnTo>
                <a:lnTo>
                  <a:pt x="20" y="175"/>
                </a:lnTo>
                <a:lnTo>
                  <a:pt x="20" y="169"/>
                </a:lnTo>
                <a:lnTo>
                  <a:pt x="20" y="166"/>
                </a:lnTo>
                <a:lnTo>
                  <a:pt x="20" y="160"/>
                </a:lnTo>
                <a:lnTo>
                  <a:pt x="20" y="156"/>
                </a:lnTo>
                <a:lnTo>
                  <a:pt x="20" y="150"/>
                </a:lnTo>
                <a:lnTo>
                  <a:pt x="20" y="147"/>
                </a:lnTo>
                <a:lnTo>
                  <a:pt x="18" y="141"/>
                </a:lnTo>
                <a:lnTo>
                  <a:pt x="18" y="141"/>
                </a:lnTo>
                <a:lnTo>
                  <a:pt x="16" y="137"/>
                </a:lnTo>
                <a:lnTo>
                  <a:pt x="14" y="133"/>
                </a:lnTo>
                <a:lnTo>
                  <a:pt x="10" y="131"/>
                </a:lnTo>
                <a:lnTo>
                  <a:pt x="8" y="127"/>
                </a:lnTo>
                <a:lnTo>
                  <a:pt x="4" y="124"/>
                </a:lnTo>
                <a:lnTo>
                  <a:pt x="2" y="118"/>
                </a:lnTo>
                <a:lnTo>
                  <a:pt x="0" y="112"/>
                </a:lnTo>
                <a:lnTo>
                  <a:pt x="0" y="103"/>
                </a:lnTo>
                <a:lnTo>
                  <a:pt x="0" y="103"/>
                </a:lnTo>
                <a:lnTo>
                  <a:pt x="0" y="93"/>
                </a:lnTo>
                <a:lnTo>
                  <a:pt x="2" y="84"/>
                </a:lnTo>
                <a:lnTo>
                  <a:pt x="4" y="74"/>
                </a:lnTo>
                <a:lnTo>
                  <a:pt x="8" y="64"/>
                </a:lnTo>
                <a:lnTo>
                  <a:pt x="12" y="57"/>
                </a:lnTo>
                <a:lnTo>
                  <a:pt x="18" y="47"/>
                </a:lnTo>
                <a:lnTo>
                  <a:pt x="23" y="40"/>
                </a:lnTo>
                <a:lnTo>
                  <a:pt x="29" y="32"/>
                </a:lnTo>
                <a:lnTo>
                  <a:pt x="35" y="24"/>
                </a:lnTo>
                <a:lnTo>
                  <a:pt x="42" y="19"/>
                </a:lnTo>
                <a:lnTo>
                  <a:pt x="50" y="13"/>
                </a:lnTo>
                <a:lnTo>
                  <a:pt x="58" y="7"/>
                </a:lnTo>
                <a:lnTo>
                  <a:pt x="65" y="3"/>
                </a:lnTo>
                <a:lnTo>
                  <a:pt x="73" y="2"/>
                </a:lnTo>
                <a:lnTo>
                  <a:pt x="82" y="0"/>
                </a:lnTo>
                <a:lnTo>
                  <a:pt x="90" y="0"/>
                </a:lnTo>
                <a:lnTo>
                  <a:pt x="90" y="0"/>
                </a:lnTo>
                <a:lnTo>
                  <a:pt x="96" y="0"/>
                </a:lnTo>
                <a:lnTo>
                  <a:pt x="102" y="0"/>
                </a:lnTo>
                <a:lnTo>
                  <a:pt x="107" y="0"/>
                </a:lnTo>
                <a:lnTo>
                  <a:pt x="113" y="0"/>
                </a:lnTo>
                <a:lnTo>
                  <a:pt x="119" y="0"/>
                </a:lnTo>
                <a:lnTo>
                  <a:pt x="123" y="0"/>
                </a:lnTo>
                <a:lnTo>
                  <a:pt x="126" y="0"/>
                </a:lnTo>
                <a:lnTo>
                  <a:pt x="126" y="0"/>
                </a:lnTo>
                <a:lnTo>
                  <a:pt x="126" y="0"/>
                </a:lnTo>
                <a:lnTo>
                  <a:pt x="136" y="0"/>
                </a:lnTo>
                <a:lnTo>
                  <a:pt x="144" y="2"/>
                </a:lnTo>
                <a:lnTo>
                  <a:pt x="151" y="3"/>
                </a:lnTo>
                <a:lnTo>
                  <a:pt x="159" y="9"/>
                </a:lnTo>
                <a:lnTo>
                  <a:pt x="166" y="13"/>
                </a:lnTo>
                <a:lnTo>
                  <a:pt x="172" y="19"/>
                </a:lnTo>
                <a:lnTo>
                  <a:pt x="178" y="26"/>
                </a:lnTo>
                <a:lnTo>
                  <a:pt x="184" y="32"/>
                </a:lnTo>
                <a:lnTo>
                  <a:pt x="189" y="42"/>
                </a:lnTo>
                <a:lnTo>
                  <a:pt x="193" y="49"/>
                </a:lnTo>
                <a:lnTo>
                  <a:pt x="197" y="59"/>
                </a:lnTo>
                <a:lnTo>
                  <a:pt x="201" y="68"/>
                </a:lnTo>
                <a:lnTo>
                  <a:pt x="203" y="80"/>
                </a:lnTo>
                <a:lnTo>
                  <a:pt x="206" y="89"/>
                </a:lnTo>
                <a:lnTo>
                  <a:pt x="206" y="101"/>
                </a:lnTo>
                <a:lnTo>
                  <a:pt x="206" y="112"/>
                </a:lnTo>
                <a:lnTo>
                  <a:pt x="206" y="112"/>
                </a:lnTo>
                <a:lnTo>
                  <a:pt x="206" y="114"/>
                </a:lnTo>
                <a:lnTo>
                  <a:pt x="206" y="118"/>
                </a:lnTo>
                <a:lnTo>
                  <a:pt x="205" y="120"/>
                </a:lnTo>
                <a:lnTo>
                  <a:pt x="203" y="122"/>
                </a:lnTo>
                <a:lnTo>
                  <a:pt x="201" y="124"/>
                </a:lnTo>
                <a:lnTo>
                  <a:pt x="199" y="126"/>
                </a:lnTo>
                <a:lnTo>
                  <a:pt x="197" y="126"/>
                </a:lnTo>
                <a:lnTo>
                  <a:pt x="195" y="127"/>
                </a:lnTo>
                <a:lnTo>
                  <a:pt x="195" y="127"/>
                </a:lnTo>
                <a:lnTo>
                  <a:pt x="197" y="127"/>
                </a:lnTo>
                <a:lnTo>
                  <a:pt x="201" y="129"/>
                </a:lnTo>
                <a:lnTo>
                  <a:pt x="203" y="129"/>
                </a:lnTo>
                <a:lnTo>
                  <a:pt x="205" y="129"/>
                </a:lnTo>
                <a:lnTo>
                  <a:pt x="206" y="129"/>
                </a:lnTo>
                <a:lnTo>
                  <a:pt x="208" y="129"/>
                </a:lnTo>
                <a:lnTo>
                  <a:pt x="212" y="127"/>
                </a:lnTo>
                <a:lnTo>
                  <a:pt x="214" y="127"/>
                </a:lnTo>
                <a:lnTo>
                  <a:pt x="222" y="129"/>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7" name="Freeform 37"/>
          <p:cNvSpPr>
            <a:spLocks/>
          </p:cNvSpPr>
          <p:nvPr/>
        </p:nvSpPr>
        <p:spPr bwMode="auto">
          <a:xfrm>
            <a:off x="790575" y="2992339"/>
            <a:ext cx="476250" cy="406400"/>
          </a:xfrm>
          <a:custGeom>
            <a:avLst/>
            <a:gdLst>
              <a:gd name="T0" fmla="*/ 380 w 530"/>
              <a:gd name="T1" fmla="*/ 364 h 465"/>
              <a:gd name="T2" fmla="*/ 401 w 530"/>
              <a:gd name="T3" fmla="*/ 391 h 465"/>
              <a:gd name="T4" fmla="*/ 406 w 530"/>
              <a:gd name="T5" fmla="*/ 427 h 465"/>
              <a:gd name="T6" fmla="*/ 399 w 530"/>
              <a:gd name="T7" fmla="*/ 441 h 465"/>
              <a:gd name="T8" fmla="*/ 399 w 530"/>
              <a:gd name="T9" fmla="*/ 452 h 465"/>
              <a:gd name="T10" fmla="*/ 424 w 530"/>
              <a:gd name="T11" fmla="*/ 465 h 465"/>
              <a:gd name="T12" fmla="*/ 448 w 530"/>
              <a:gd name="T13" fmla="*/ 450 h 465"/>
              <a:gd name="T14" fmla="*/ 460 w 530"/>
              <a:gd name="T15" fmla="*/ 433 h 465"/>
              <a:gd name="T16" fmla="*/ 467 w 530"/>
              <a:gd name="T17" fmla="*/ 431 h 465"/>
              <a:gd name="T18" fmla="*/ 490 w 530"/>
              <a:gd name="T19" fmla="*/ 427 h 465"/>
              <a:gd name="T20" fmla="*/ 500 w 530"/>
              <a:gd name="T21" fmla="*/ 399 h 465"/>
              <a:gd name="T22" fmla="*/ 487 w 530"/>
              <a:gd name="T23" fmla="*/ 381 h 465"/>
              <a:gd name="T24" fmla="*/ 492 w 530"/>
              <a:gd name="T25" fmla="*/ 366 h 465"/>
              <a:gd name="T26" fmla="*/ 509 w 530"/>
              <a:gd name="T27" fmla="*/ 362 h 465"/>
              <a:gd name="T28" fmla="*/ 525 w 530"/>
              <a:gd name="T29" fmla="*/ 368 h 465"/>
              <a:gd name="T30" fmla="*/ 517 w 530"/>
              <a:gd name="T31" fmla="*/ 351 h 465"/>
              <a:gd name="T32" fmla="*/ 511 w 530"/>
              <a:gd name="T33" fmla="*/ 328 h 465"/>
              <a:gd name="T34" fmla="*/ 511 w 530"/>
              <a:gd name="T35" fmla="*/ 313 h 465"/>
              <a:gd name="T36" fmla="*/ 507 w 530"/>
              <a:gd name="T37" fmla="*/ 296 h 465"/>
              <a:gd name="T38" fmla="*/ 504 w 530"/>
              <a:gd name="T39" fmla="*/ 267 h 465"/>
              <a:gd name="T40" fmla="*/ 519 w 530"/>
              <a:gd name="T41" fmla="*/ 231 h 465"/>
              <a:gd name="T42" fmla="*/ 515 w 530"/>
              <a:gd name="T43" fmla="*/ 210 h 465"/>
              <a:gd name="T44" fmla="*/ 504 w 530"/>
              <a:gd name="T45" fmla="*/ 181 h 465"/>
              <a:gd name="T46" fmla="*/ 479 w 530"/>
              <a:gd name="T47" fmla="*/ 158 h 465"/>
              <a:gd name="T48" fmla="*/ 492 w 530"/>
              <a:gd name="T49" fmla="*/ 151 h 465"/>
              <a:gd name="T50" fmla="*/ 492 w 530"/>
              <a:gd name="T51" fmla="*/ 137 h 465"/>
              <a:gd name="T52" fmla="*/ 471 w 530"/>
              <a:gd name="T53" fmla="*/ 90 h 465"/>
              <a:gd name="T54" fmla="*/ 448 w 530"/>
              <a:gd name="T55" fmla="*/ 42 h 465"/>
              <a:gd name="T56" fmla="*/ 427 w 530"/>
              <a:gd name="T57" fmla="*/ 48 h 465"/>
              <a:gd name="T58" fmla="*/ 395 w 530"/>
              <a:gd name="T59" fmla="*/ 72 h 465"/>
              <a:gd name="T60" fmla="*/ 370 w 530"/>
              <a:gd name="T61" fmla="*/ 61 h 465"/>
              <a:gd name="T62" fmla="*/ 351 w 530"/>
              <a:gd name="T63" fmla="*/ 65 h 465"/>
              <a:gd name="T64" fmla="*/ 336 w 530"/>
              <a:gd name="T65" fmla="*/ 76 h 465"/>
              <a:gd name="T66" fmla="*/ 313 w 530"/>
              <a:gd name="T67" fmla="*/ 63 h 465"/>
              <a:gd name="T68" fmla="*/ 300 w 530"/>
              <a:gd name="T69" fmla="*/ 59 h 465"/>
              <a:gd name="T70" fmla="*/ 284 w 530"/>
              <a:gd name="T71" fmla="*/ 65 h 465"/>
              <a:gd name="T72" fmla="*/ 271 w 530"/>
              <a:gd name="T73" fmla="*/ 53 h 465"/>
              <a:gd name="T74" fmla="*/ 269 w 530"/>
              <a:gd name="T75" fmla="*/ 46 h 465"/>
              <a:gd name="T76" fmla="*/ 271 w 530"/>
              <a:gd name="T77" fmla="*/ 36 h 465"/>
              <a:gd name="T78" fmla="*/ 225 w 530"/>
              <a:gd name="T79" fmla="*/ 38 h 465"/>
              <a:gd name="T80" fmla="*/ 183 w 530"/>
              <a:gd name="T81" fmla="*/ 32 h 465"/>
              <a:gd name="T82" fmla="*/ 155 w 530"/>
              <a:gd name="T83" fmla="*/ 21 h 465"/>
              <a:gd name="T84" fmla="*/ 128 w 530"/>
              <a:gd name="T85" fmla="*/ 0 h 465"/>
              <a:gd name="T86" fmla="*/ 105 w 530"/>
              <a:gd name="T87" fmla="*/ 11 h 465"/>
              <a:gd name="T88" fmla="*/ 82 w 530"/>
              <a:gd name="T89" fmla="*/ 34 h 465"/>
              <a:gd name="T90" fmla="*/ 95 w 530"/>
              <a:gd name="T91" fmla="*/ 61 h 465"/>
              <a:gd name="T92" fmla="*/ 86 w 530"/>
              <a:gd name="T93" fmla="*/ 84 h 465"/>
              <a:gd name="T94" fmla="*/ 42 w 530"/>
              <a:gd name="T95" fmla="*/ 84 h 465"/>
              <a:gd name="T96" fmla="*/ 6 w 530"/>
              <a:gd name="T97" fmla="*/ 111 h 465"/>
              <a:gd name="T98" fmla="*/ 10 w 530"/>
              <a:gd name="T99" fmla="*/ 162 h 465"/>
              <a:gd name="T100" fmla="*/ 61 w 530"/>
              <a:gd name="T101" fmla="*/ 225 h 465"/>
              <a:gd name="T102" fmla="*/ 118 w 530"/>
              <a:gd name="T103" fmla="*/ 286 h 465"/>
              <a:gd name="T104" fmla="*/ 139 w 530"/>
              <a:gd name="T105" fmla="*/ 271 h 465"/>
              <a:gd name="T106" fmla="*/ 170 w 530"/>
              <a:gd name="T107" fmla="*/ 244 h 465"/>
              <a:gd name="T108" fmla="*/ 206 w 530"/>
              <a:gd name="T109" fmla="*/ 233 h 465"/>
              <a:gd name="T110" fmla="*/ 235 w 530"/>
              <a:gd name="T111" fmla="*/ 233 h 465"/>
              <a:gd name="T112" fmla="*/ 260 w 530"/>
              <a:gd name="T113" fmla="*/ 235 h 465"/>
              <a:gd name="T114" fmla="*/ 300 w 530"/>
              <a:gd name="T115" fmla="*/ 265 h 465"/>
              <a:gd name="T116" fmla="*/ 322 w 530"/>
              <a:gd name="T117" fmla="*/ 322 h 465"/>
              <a:gd name="T118" fmla="*/ 321 w 530"/>
              <a:gd name="T119" fmla="*/ 351 h 465"/>
              <a:gd name="T120" fmla="*/ 355 w 530"/>
              <a:gd name="T121" fmla="*/ 36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0" h="465">
                <a:moveTo>
                  <a:pt x="355" y="360"/>
                </a:moveTo>
                <a:lnTo>
                  <a:pt x="355" y="360"/>
                </a:lnTo>
                <a:lnTo>
                  <a:pt x="363" y="360"/>
                </a:lnTo>
                <a:lnTo>
                  <a:pt x="368" y="360"/>
                </a:lnTo>
                <a:lnTo>
                  <a:pt x="376" y="362"/>
                </a:lnTo>
                <a:lnTo>
                  <a:pt x="380" y="364"/>
                </a:lnTo>
                <a:lnTo>
                  <a:pt x="385" y="368"/>
                </a:lnTo>
                <a:lnTo>
                  <a:pt x="389" y="372"/>
                </a:lnTo>
                <a:lnTo>
                  <a:pt x="393" y="376"/>
                </a:lnTo>
                <a:lnTo>
                  <a:pt x="397" y="380"/>
                </a:lnTo>
                <a:lnTo>
                  <a:pt x="399" y="385"/>
                </a:lnTo>
                <a:lnTo>
                  <a:pt x="401" y="391"/>
                </a:lnTo>
                <a:lnTo>
                  <a:pt x="403" y="397"/>
                </a:lnTo>
                <a:lnTo>
                  <a:pt x="404" y="402"/>
                </a:lnTo>
                <a:lnTo>
                  <a:pt x="404" y="408"/>
                </a:lnTo>
                <a:lnTo>
                  <a:pt x="406" y="414"/>
                </a:lnTo>
                <a:lnTo>
                  <a:pt x="406" y="421"/>
                </a:lnTo>
                <a:lnTo>
                  <a:pt x="406" y="427"/>
                </a:lnTo>
                <a:lnTo>
                  <a:pt x="406" y="427"/>
                </a:lnTo>
                <a:lnTo>
                  <a:pt x="406" y="431"/>
                </a:lnTo>
                <a:lnTo>
                  <a:pt x="404" y="433"/>
                </a:lnTo>
                <a:lnTo>
                  <a:pt x="403" y="437"/>
                </a:lnTo>
                <a:lnTo>
                  <a:pt x="401" y="439"/>
                </a:lnTo>
                <a:lnTo>
                  <a:pt x="399" y="441"/>
                </a:lnTo>
                <a:lnTo>
                  <a:pt x="399" y="441"/>
                </a:lnTo>
                <a:lnTo>
                  <a:pt x="397" y="442"/>
                </a:lnTo>
                <a:lnTo>
                  <a:pt x="397" y="444"/>
                </a:lnTo>
                <a:lnTo>
                  <a:pt x="397" y="444"/>
                </a:lnTo>
                <a:lnTo>
                  <a:pt x="397" y="448"/>
                </a:lnTo>
                <a:lnTo>
                  <a:pt x="399" y="452"/>
                </a:lnTo>
                <a:lnTo>
                  <a:pt x="403" y="456"/>
                </a:lnTo>
                <a:lnTo>
                  <a:pt x="406" y="458"/>
                </a:lnTo>
                <a:lnTo>
                  <a:pt x="410" y="462"/>
                </a:lnTo>
                <a:lnTo>
                  <a:pt x="416" y="463"/>
                </a:lnTo>
                <a:lnTo>
                  <a:pt x="420" y="465"/>
                </a:lnTo>
                <a:lnTo>
                  <a:pt x="424" y="465"/>
                </a:lnTo>
                <a:lnTo>
                  <a:pt x="424" y="465"/>
                </a:lnTo>
                <a:lnTo>
                  <a:pt x="429" y="465"/>
                </a:lnTo>
                <a:lnTo>
                  <a:pt x="435" y="463"/>
                </a:lnTo>
                <a:lnTo>
                  <a:pt x="441" y="460"/>
                </a:lnTo>
                <a:lnTo>
                  <a:pt x="445" y="456"/>
                </a:lnTo>
                <a:lnTo>
                  <a:pt x="448" y="450"/>
                </a:lnTo>
                <a:lnTo>
                  <a:pt x="450" y="444"/>
                </a:lnTo>
                <a:lnTo>
                  <a:pt x="452" y="439"/>
                </a:lnTo>
                <a:lnTo>
                  <a:pt x="454" y="431"/>
                </a:lnTo>
                <a:lnTo>
                  <a:pt x="454" y="431"/>
                </a:lnTo>
                <a:lnTo>
                  <a:pt x="456" y="433"/>
                </a:lnTo>
                <a:lnTo>
                  <a:pt x="460" y="433"/>
                </a:lnTo>
                <a:lnTo>
                  <a:pt x="462" y="433"/>
                </a:lnTo>
                <a:lnTo>
                  <a:pt x="464" y="433"/>
                </a:lnTo>
                <a:lnTo>
                  <a:pt x="464" y="431"/>
                </a:lnTo>
                <a:lnTo>
                  <a:pt x="466" y="431"/>
                </a:lnTo>
                <a:lnTo>
                  <a:pt x="466" y="431"/>
                </a:lnTo>
                <a:lnTo>
                  <a:pt x="467" y="431"/>
                </a:lnTo>
                <a:lnTo>
                  <a:pt x="466" y="439"/>
                </a:lnTo>
                <a:lnTo>
                  <a:pt x="466" y="439"/>
                </a:lnTo>
                <a:lnTo>
                  <a:pt x="473" y="439"/>
                </a:lnTo>
                <a:lnTo>
                  <a:pt x="481" y="435"/>
                </a:lnTo>
                <a:lnTo>
                  <a:pt x="487" y="431"/>
                </a:lnTo>
                <a:lnTo>
                  <a:pt x="490" y="427"/>
                </a:lnTo>
                <a:lnTo>
                  <a:pt x="494" y="421"/>
                </a:lnTo>
                <a:lnTo>
                  <a:pt x="498" y="414"/>
                </a:lnTo>
                <a:lnTo>
                  <a:pt x="500" y="408"/>
                </a:lnTo>
                <a:lnTo>
                  <a:pt x="504" y="400"/>
                </a:lnTo>
                <a:lnTo>
                  <a:pt x="504" y="400"/>
                </a:lnTo>
                <a:lnTo>
                  <a:pt x="500" y="399"/>
                </a:lnTo>
                <a:lnTo>
                  <a:pt x="496" y="397"/>
                </a:lnTo>
                <a:lnTo>
                  <a:pt x="492" y="395"/>
                </a:lnTo>
                <a:lnTo>
                  <a:pt x="490" y="391"/>
                </a:lnTo>
                <a:lnTo>
                  <a:pt x="488" y="389"/>
                </a:lnTo>
                <a:lnTo>
                  <a:pt x="487" y="385"/>
                </a:lnTo>
                <a:lnTo>
                  <a:pt x="487" y="381"/>
                </a:lnTo>
                <a:lnTo>
                  <a:pt x="485" y="378"/>
                </a:lnTo>
                <a:lnTo>
                  <a:pt x="485" y="378"/>
                </a:lnTo>
                <a:lnTo>
                  <a:pt x="487" y="374"/>
                </a:lnTo>
                <a:lnTo>
                  <a:pt x="487" y="370"/>
                </a:lnTo>
                <a:lnTo>
                  <a:pt x="488" y="368"/>
                </a:lnTo>
                <a:lnTo>
                  <a:pt x="492" y="366"/>
                </a:lnTo>
                <a:lnTo>
                  <a:pt x="494" y="364"/>
                </a:lnTo>
                <a:lnTo>
                  <a:pt x="498" y="362"/>
                </a:lnTo>
                <a:lnTo>
                  <a:pt x="500" y="362"/>
                </a:lnTo>
                <a:lnTo>
                  <a:pt x="504" y="362"/>
                </a:lnTo>
                <a:lnTo>
                  <a:pt x="504" y="362"/>
                </a:lnTo>
                <a:lnTo>
                  <a:pt x="509" y="362"/>
                </a:lnTo>
                <a:lnTo>
                  <a:pt x="513" y="364"/>
                </a:lnTo>
                <a:lnTo>
                  <a:pt x="515" y="366"/>
                </a:lnTo>
                <a:lnTo>
                  <a:pt x="517" y="368"/>
                </a:lnTo>
                <a:lnTo>
                  <a:pt x="519" y="368"/>
                </a:lnTo>
                <a:lnTo>
                  <a:pt x="521" y="368"/>
                </a:lnTo>
                <a:lnTo>
                  <a:pt x="525" y="368"/>
                </a:lnTo>
                <a:lnTo>
                  <a:pt x="530" y="366"/>
                </a:lnTo>
                <a:lnTo>
                  <a:pt x="530" y="366"/>
                </a:lnTo>
                <a:lnTo>
                  <a:pt x="527" y="362"/>
                </a:lnTo>
                <a:lnTo>
                  <a:pt x="523" y="359"/>
                </a:lnTo>
                <a:lnTo>
                  <a:pt x="521" y="355"/>
                </a:lnTo>
                <a:lnTo>
                  <a:pt x="517" y="351"/>
                </a:lnTo>
                <a:lnTo>
                  <a:pt x="515" y="347"/>
                </a:lnTo>
                <a:lnTo>
                  <a:pt x="513" y="343"/>
                </a:lnTo>
                <a:lnTo>
                  <a:pt x="513" y="338"/>
                </a:lnTo>
                <a:lnTo>
                  <a:pt x="511" y="332"/>
                </a:lnTo>
                <a:lnTo>
                  <a:pt x="511" y="332"/>
                </a:lnTo>
                <a:lnTo>
                  <a:pt x="511" y="328"/>
                </a:lnTo>
                <a:lnTo>
                  <a:pt x="511" y="326"/>
                </a:lnTo>
                <a:lnTo>
                  <a:pt x="511" y="322"/>
                </a:lnTo>
                <a:lnTo>
                  <a:pt x="511" y="318"/>
                </a:lnTo>
                <a:lnTo>
                  <a:pt x="511" y="317"/>
                </a:lnTo>
                <a:lnTo>
                  <a:pt x="511" y="315"/>
                </a:lnTo>
                <a:lnTo>
                  <a:pt x="511" y="313"/>
                </a:lnTo>
                <a:lnTo>
                  <a:pt x="511" y="313"/>
                </a:lnTo>
                <a:lnTo>
                  <a:pt x="511" y="313"/>
                </a:lnTo>
                <a:lnTo>
                  <a:pt x="511" y="309"/>
                </a:lnTo>
                <a:lnTo>
                  <a:pt x="511" y="305"/>
                </a:lnTo>
                <a:lnTo>
                  <a:pt x="509" y="299"/>
                </a:lnTo>
                <a:lnTo>
                  <a:pt x="507" y="296"/>
                </a:lnTo>
                <a:lnTo>
                  <a:pt x="506" y="290"/>
                </a:lnTo>
                <a:lnTo>
                  <a:pt x="504" y="286"/>
                </a:lnTo>
                <a:lnTo>
                  <a:pt x="504" y="280"/>
                </a:lnTo>
                <a:lnTo>
                  <a:pt x="504" y="275"/>
                </a:lnTo>
                <a:lnTo>
                  <a:pt x="504" y="275"/>
                </a:lnTo>
                <a:lnTo>
                  <a:pt x="504" y="267"/>
                </a:lnTo>
                <a:lnTo>
                  <a:pt x="506" y="261"/>
                </a:lnTo>
                <a:lnTo>
                  <a:pt x="506" y="254"/>
                </a:lnTo>
                <a:lnTo>
                  <a:pt x="509" y="248"/>
                </a:lnTo>
                <a:lnTo>
                  <a:pt x="511" y="242"/>
                </a:lnTo>
                <a:lnTo>
                  <a:pt x="515" y="236"/>
                </a:lnTo>
                <a:lnTo>
                  <a:pt x="519" y="231"/>
                </a:lnTo>
                <a:lnTo>
                  <a:pt x="525" y="227"/>
                </a:lnTo>
                <a:lnTo>
                  <a:pt x="525" y="227"/>
                </a:lnTo>
                <a:lnTo>
                  <a:pt x="521" y="223"/>
                </a:lnTo>
                <a:lnTo>
                  <a:pt x="519" y="219"/>
                </a:lnTo>
                <a:lnTo>
                  <a:pt x="517" y="214"/>
                </a:lnTo>
                <a:lnTo>
                  <a:pt x="515" y="210"/>
                </a:lnTo>
                <a:lnTo>
                  <a:pt x="513" y="204"/>
                </a:lnTo>
                <a:lnTo>
                  <a:pt x="511" y="200"/>
                </a:lnTo>
                <a:lnTo>
                  <a:pt x="509" y="194"/>
                </a:lnTo>
                <a:lnTo>
                  <a:pt x="507" y="191"/>
                </a:lnTo>
                <a:lnTo>
                  <a:pt x="506" y="185"/>
                </a:lnTo>
                <a:lnTo>
                  <a:pt x="504" y="181"/>
                </a:lnTo>
                <a:lnTo>
                  <a:pt x="500" y="175"/>
                </a:lnTo>
                <a:lnTo>
                  <a:pt x="498" y="172"/>
                </a:lnTo>
                <a:lnTo>
                  <a:pt x="494" y="168"/>
                </a:lnTo>
                <a:lnTo>
                  <a:pt x="490" y="164"/>
                </a:lnTo>
                <a:lnTo>
                  <a:pt x="485" y="160"/>
                </a:lnTo>
                <a:lnTo>
                  <a:pt x="479" y="158"/>
                </a:lnTo>
                <a:lnTo>
                  <a:pt x="479" y="158"/>
                </a:lnTo>
                <a:lnTo>
                  <a:pt x="481" y="156"/>
                </a:lnTo>
                <a:lnTo>
                  <a:pt x="485" y="154"/>
                </a:lnTo>
                <a:lnTo>
                  <a:pt x="487" y="152"/>
                </a:lnTo>
                <a:lnTo>
                  <a:pt x="490" y="152"/>
                </a:lnTo>
                <a:lnTo>
                  <a:pt x="492" y="151"/>
                </a:lnTo>
                <a:lnTo>
                  <a:pt x="492" y="149"/>
                </a:lnTo>
                <a:lnTo>
                  <a:pt x="494" y="145"/>
                </a:lnTo>
                <a:lnTo>
                  <a:pt x="494" y="141"/>
                </a:lnTo>
                <a:lnTo>
                  <a:pt x="494" y="141"/>
                </a:lnTo>
                <a:lnTo>
                  <a:pt x="494" y="141"/>
                </a:lnTo>
                <a:lnTo>
                  <a:pt x="492" y="137"/>
                </a:lnTo>
                <a:lnTo>
                  <a:pt x="490" y="132"/>
                </a:lnTo>
                <a:lnTo>
                  <a:pt x="488" y="126"/>
                </a:lnTo>
                <a:lnTo>
                  <a:pt x="485" y="118"/>
                </a:lnTo>
                <a:lnTo>
                  <a:pt x="481" y="109"/>
                </a:lnTo>
                <a:lnTo>
                  <a:pt x="477" y="99"/>
                </a:lnTo>
                <a:lnTo>
                  <a:pt x="471" y="90"/>
                </a:lnTo>
                <a:lnTo>
                  <a:pt x="467" y="80"/>
                </a:lnTo>
                <a:lnTo>
                  <a:pt x="464" y="70"/>
                </a:lnTo>
                <a:lnTo>
                  <a:pt x="460" y="61"/>
                </a:lnTo>
                <a:lnTo>
                  <a:pt x="454" y="53"/>
                </a:lnTo>
                <a:lnTo>
                  <a:pt x="452" y="48"/>
                </a:lnTo>
                <a:lnTo>
                  <a:pt x="448" y="42"/>
                </a:lnTo>
                <a:lnTo>
                  <a:pt x="446" y="38"/>
                </a:lnTo>
                <a:lnTo>
                  <a:pt x="445" y="38"/>
                </a:lnTo>
                <a:lnTo>
                  <a:pt x="445" y="38"/>
                </a:lnTo>
                <a:lnTo>
                  <a:pt x="439" y="38"/>
                </a:lnTo>
                <a:lnTo>
                  <a:pt x="433" y="42"/>
                </a:lnTo>
                <a:lnTo>
                  <a:pt x="427" y="48"/>
                </a:lnTo>
                <a:lnTo>
                  <a:pt x="424" y="55"/>
                </a:lnTo>
                <a:lnTo>
                  <a:pt x="418" y="61"/>
                </a:lnTo>
                <a:lnTo>
                  <a:pt x="410" y="67"/>
                </a:lnTo>
                <a:lnTo>
                  <a:pt x="403" y="70"/>
                </a:lnTo>
                <a:lnTo>
                  <a:pt x="395" y="72"/>
                </a:lnTo>
                <a:lnTo>
                  <a:pt x="395" y="72"/>
                </a:lnTo>
                <a:lnTo>
                  <a:pt x="389" y="72"/>
                </a:lnTo>
                <a:lnTo>
                  <a:pt x="385" y="70"/>
                </a:lnTo>
                <a:lnTo>
                  <a:pt x="382" y="69"/>
                </a:lnTo>
                <a:lnTo>
                  <a:pt x="378" y="67"/>
                </a:lnTo>
                <a:lnTo>
                  <a:pt x="374" y="63"/>
                </a:lnTo>
                <a:lnTo>
                  <a:pt x="370" y="61"/>
                </a:lnTo>
                <a:lnTo>
                  <a:pt x="366" y="59"/>
                </a:lnTo>
                <a:lnTo>
                  <a:pt x="361" y="59"/>
                </a:lnTo>
                <a:lnTo>
                  <a:pt x="361" y="59"/>
                </a:lnTo>
                <a:lnTo>
                  <a:pt x="357" y="59"/>
                </a:lnTo>
                <a:lnTo>
                  <a:pt x="355" y="61"/>
                </a:lnTo>
                <a:lnTo>
                  <a:pt x="351" y="65"/>
                </a:lnTo>
                <a:lnTo>
                  <a:pt x="349" y="67"/>
                </a:lnTo>
                <a:lnTo>
                  <a:pt x="347" y="70"/>
                </a:lnTo>
                <a:lnTo>
                  <a:pt x="343" y="72"/>
                </a:lnTo>
                <a:lnTo>
                  <a:pt x="340" y="76"/>
                </a:lnTo>
                <a:lnTo>
                  <a:pt x="336" y="76"/>
                </a:lnTo>
                <a:lnTo>
                  <a:pt x="336" y="76"/>
                </a:lnTo>
                <a:lnTo>
                  <a:pt x="332" y="76"/>
                </a:lnTo>
                <a:lnTo>
                  <a:pt x="328" y="74"/>
                </a:lnTo>
                <a:lnTo>
                  <a:pt x="322" y="72"/>
                </a:lnTo>
                <a:lnTo>
                  <a:pt x="321" y="69"/>
                </a:lnTo>
                <a:lnTo>
                  <a:pt x="317" y="67"/>
                </a:lnTo>
                <a:lnTo>
                  <a:pt x="313" y="63"/>
                </a:lnTo>
                <a:lnTo>
                  <a:pt x="311" y="59"/>
                </a:lnTo>
                <a:lnTo>
                  <a:pt x="307" y="55"/>
                </a:lnTo>
                <a:lnTo>
                  <a:pt x="307" y="55"/>
                </a:lnTo>
                <a:lnTo>
                  <a:pt x="305" y="57"/>
                </a:lnTo>
                <a:lnTo>
                  <a:pt x="301" y="59"/>
                </a:lnTo>
                <a:lnTo>
                  <a:pt x="300" y="59"/>
                </a:lnTo>
                <a:lnTo>
                  <a:pt x="298" y="61"/>
                </a:lnTo>
                <a:lnTo>
                  <a:pt x="294" y="63"/>
                </a:lnTo>
                <a:lnTo>
                  <a:pt x="292" y="63"/>
                </a:lnTo>
                <a:lnTo>
                  <a:pt x="288" y="65"/>
                </a:lnTo>
                <a:lnTo>
                  <a:pt x="284" y="65"/>
                </a:lnTo>
                <a:lnTo>
                  <a:pt x="284" y="65"/>
                </a:lnTo>
                <a:lnTo>
                  <a:pt x="280" y="65"/>
                </a:lnTo>
                <a:lnTo>
                  <a:pt x="277" y="63"/>
                </a:lnTo>
                <a:lnTo>
                  <a:pt x="275" y="61"/>
                </a:lnTo>
                <a:lnTo>
                  <a:pt x="273" y="57"/>
                </a:lnTo>
                <a:lnTo>
                  <a:pt x="271" y="55"/>
                </a:lnTo>
                <a:lnTo>
                  <a:pt x="271" y="53"/>
                </a:lnTo>
                <a:lnTo>
                  <a:pt x="271" y="51"/>
                </a:lnTo>
                <a:lnTo>
                  <a:pt x="271" y="49"/>
                </a:lnTo>
                <a:lnTo>
                  <a:pt x="271" y="49"/>
                </a:lnTo>
                <a:lnTo>
                  <a:pt x="269" y="48"/>
                </a:lnTo>
                <a:lnTo>
                  <a:pt x="269" y="48"/>
                </a:lnTo>
                <a:lnTo>
                  <a:pt x="269" y="46"/>
                </a:lnTo>
                <a:lnTo>
                  <a:pt x="267" y="44"/>
                </a:lnTo>
                <a:lnTo>
                  <a:pt x="267" y="44"/>
                </a:lnTo>
                <a:lnTo>
                  <a:pt x="267" y="42"/>
                </a:lnTo>
                <a:lnTo>
                  <a:pt x="269" y="40"/>
                </a:lnTo>
                <a:lnTo>
                  <a:pt x="271" y="36"/>
                </a:lnTo>
                <a:lnTo>
                  <a:pt x="271" y="36"/>
                </a:lnTo>
                <a:lnTo>
                  <a:pt x="263" y="36"/>
                </a:lnTo>
                <a:lnTo>
                  <a:pt x="256" y="38"/>
                </a:lnTo>
                <a:lnTo>
                  <a:pt x="248" y="38"/>
                </a:lnTo>
                <a:lnTo>
                  <a:pt x="240" y="38"/>
                </a:lnTo>
                <a:lnTo>
                  <a:pt x="233" y="38"/>
                </a:lnTo>
                <a:lnTo>
                  <a:pt x="225" y="38"/>
                </a:lnTo>
                <a:lnTo>
                  <a:pt x="219" y="38"/>
                </a:lnTo>
                <a:lnTo>
                  <a:pt x="212" y="38"/>
                </a:lnTo>
                <a:lnTo>
                  <a:pt x="204" y="36"/>
                </a:lnTo>
                <a:lnTo>
                  <a:pt x="197" y="36"/>
                </a:lnTo>
                <a:lnTo>
                  <a:pt x="189" y="34"/>
                </a:lnTo>
                <a:lnTo>
                  <a:pt x="183" y="32"/>
                </a:lnTo>
                <a:lnTo>
                  <a:pt x="176" y="30"/>
                </a:lnTo>
                <a:lnTo>
                  <a:pt x="170" y="28"/>
                </a:lnTo>
                <a:lnTo>
                  <a:pt x="164" y="27"/>
                </a:lnTo>
                <a:lnTo>
                  <a:pt x="158" y="23"/>
                </a:lnTo>
                <a:lnTo>
                  <a:pt x="158" y="23"/>
                </a:lnTo>
                <a:lnTo>
                  <a:pt x="155" y="21"/>
                </a:lnTo>
                <a:lnTo>
                  <a:pt x="151" y="17"/>
                </a:lnTo>
                <a:lnTo>
                  <a:pt x="147" y="13"/>
                </a:lnTo>
                <a:lnTo>
                  <a:pt x="143" y="9"/>
                </a:lnTo>
                <a:lnTo>
                  <a:pt x="139" y="6"/>
                </a:lnTo>
                <a:lnTo>
                  <a:pt x="136" y="2"/>
                </a:lnTo>
                <a:lnTo>
                  <a:pt x="128" y="0"/>
                </a:lnTo>
                <a:lnTo>
                  <a:pt x="118" y="0"/>
                </a:lnTo>
                <a:lnTo>
                  <a:pt x="118" y="0"/>
                </a:lnTo>
                <a:lnTo>
                  <a:pt x="115" y="0"/>
                </a:lnTo>
                <a:lnTo>
                  <a:pt x="111" y="4"/>
                </a:lnTo>
                <a:lnTo>
                  <a:pt x="107" y="8"/>
                </a:lnTo>
                <a:lnTo>
                  <a:pt x="105" y="11"/>
                </a:lnTo>
                <a:lnTo>
                  <a:pt x="103" y="17"/>
                </a:lnTo>
                <a:lnTo>
                  <a:pt x="101" y="23"/>
                </a:lnTo>
                <a:lnTo>
                  <a:pt x="99" y="28"/>
                </a:lnTo>
                <a:lnTo>
                  <a:pt x="99" y="34"/>
                </a:lnTo>
                <a:lnTo>
                  <a:pt x="82" y="34"/>
                </a:lnTo>
                <a:lnTo>
                  <a:pt x="82" y="34"/>
                </a:lnTo>
                <a:lnTo>
                  <a:pt x="82" y="40"/>
                </a:lnTo>
                <a:lnTo>
                  <a:pt x="84" y="44"/>
                </a:lnTo>
                <a:lnTo>
                  <a:pt x="88" y="49"/>
                </a:lnTo>
                <a:lnTo>
                  <a:pt x="90" y="53"/>
                </a:lnTo>
                <a:lnTo>
                  <a:pt x="94" y="57"/>
                </a:lnTo>
                <a:lnTo>
                  <a:pt x="95" y="61"/>
                </a:lnTo>
                <a:lnTo>
                  <a:pt x="99" y="65"/>
                </a:lnTo>
                <a:lnTo>
                  <a:pt x="99" y="70"/>
                </a:lnTo>
                <a:lnTo>
                  <a:pt x="99" y="70"/>
                </a:lnTo>
                <a:lnTo>
                  <a:pt x="97" y="78"/>
                </a:lnTo>
                <a:lnTo>
                  <a:pt x="94" y="82"/>
                </a:lnTo>
                <a:lnTo>
                  <a:pt x="86" y="84"/>
                </a:lnTo>
                <a:lnTo>
                  <a:pt x="78" y="84"/>
                </a:lnTo>
                <a:lnTo>
                  <a:pt x="71" y="84"/>
                </a:lnTo>
                <a:lnTo>
                  <a:pt x="61" y="82"/>
                </a:lnTo>
                <a:lnTo>
                  <a:pt x="52" y="82"/>
                </a:lnTo>
                <a:lnTo>
                  <a:pt x="42" y="84"/>
                </a:lnTo>
                <a:lnTo>
                  <a:pt x="42" y="84"/>
                </a:lnTo>
                <a:lnTo>
                  <a:pt x="36" y="86"/>
                </a:lnTo>
                <a:lnTo>
                  <a:pt x="31" y="90"/>
                </a:lnTo>
                <a:lnTo>
                  <a:pt x="23" y="93"/>
                </a:lnTo>
                <a:lnTo>
                  <a:pt x="17" y="99"/>
                </a:lnTo>
                <a:lnTo>
                  <a:pt x="12" y="105"/>
                </a:lnTo>
                <a:lnTo>
                  <a:pt x="6" y="111"/>
                </a:lnTo>
                <a:lnTo>
                  <a:pt x="2" y="116"/>
                </a:lnTo>
                <a:lnTo>
                  <a:pt x="0" y="124"/>
                </a:lnTo>
                <a:lnTo>
                  <a:pt x="0" y="124"/>
                </a:lnTo>
                <a:lnTo>
                  <a:pt x="2" y="137"/>
                </a:lnTo>
                <a:lnTo>
                  <a:pt x="6" y="151"/>
                </a:lnTo>
                <a:lnTo>
                  <a:pt x="10" y="162"/>
                </a:lnTo>
                <a:lnTo>
                  <a:pt x="15" y="173"/>
                </a:lnTo>
                <a:lnTo>
                  <a:pt x="23" y="185"/>
                </a:lnTo>
                <a:lnTo>
                  <a:pt x="33" y="196"/>
                </a:lnTo>
                <a:lnTo>
                  <a:pt x="40" y="206"/>
                </a:lnTo>
                <a:lnTo>
                  <a:pt x="52" y="215"/>
                </a:lnTo>
                <a:lnTo>
                  <a:pt x="61" y="225"/>
                </a:lnTo>
                <a:lnTo>
                  <a:pt x="71" y="235"/>
                </a:lnTo>
                <a:lnTo>
                  <a:pt x="82" y="244"/>
                </a:lnTo>
                <a:lnTo>
                  <a:pt x="92" y="254"/>
                </a:lnTo>
                <a:lnTo>
                  <a:pt x="101" y="265"/>
                </a:lnTo>
                <a:lnTo>
                  <a:pt x="111" y="275"/>
                </a:lnTo>
                <a:lnTo>
                  <a:pt x="118" y="286"/>
                </a:lnTo>
                <a:lnTo>
                  <a:pt x="124" y="297"/>
                </a:lnTo>
                <a:lnTo>
                  <a:pt x="124" y="297"/>
                </a:lnTo>
                <a:lnTo>
                  <a:pt x="128" y="290"/>
                </a:lnTo>
                <a:lnTo>
                  <a:pt x="132" y="284"/>
                </a:lnTo>
                <a:lnTo>
                  <a:pt x="136" y="278"/>
                </a:lnTo>
                <a:lnTo>
                  <a:pt x="139" y="271"/>
                </a:lnTo>
                <a:lnTo>
                  <a:pt x="143" y="267"/>
                </a:lnTo>
                <a:lnTo>
                  <a:pt x="149" y="261"/>
                </a:lnTo>
                <a:lnTo>
                  <a:pt x="155" y="256"/>
                </a:lnTo>
                <a:lnTo>
                  <a:pt x="158" y="252"/>
                </a:lnTo>
                <a:lnTo>
                  <a:pt x="164" y="246"/>
                </a:lnTo>
                <a:lnTo>
                  <a:pt x="170" y="244"/>
                </a:lnTo>
                <a:lnTo>
                  <a:pt x="176" y="240"/>
                </a:lnTo>
                <a:lnTo>
                  <a:pt x="181" y="236"/>
                </a:lnTo>
                <a:lnTo>
                  <a:pt x="187" y="235"/>
                </a:lnTo>
                <a:lnTo>
                  <a:pt x="193" y="235"/>
                </a:lnTo>
                <a:lnTo>
                  <a:pt x="200" y="233"/>
                </a:lnTo>
                <a:lnTo>
                  <a:pt x="206" y="233"/>
                </a:lnTo>
                <a:lnTo>
                  <a:pt x="206" y="233"/>
                </a:lnTo>
                <a:lnTo>
                  <a:pt x="212" y="233"/>
                </a:lnTo>
                <a:lnTo>
                  <a:pt x="218" y="233"/>
                </a:lnTo>
                <a:lnTo>
                  <a:pt x="223" y="233"/>
                </a:lnTo>
                <a:lnTo>
                  <a:pt x="229" y="233"/>
                </a:lnTo>
                <a:lnTo>
                  <a:pt x="235" y="233"/>
                </a:lnTo>
                <a:lnTo>
                  <a:pt x="239" y="233"/>
                </a:lnTo>
                <a:lnTo>
                  <a:pt x="242" y="233"/>
                </a:lnTo>
                <a:lnTo>
                  <a:pt x="242" y="233"/>
                </a:lnTo>
                <a:lnTo>
                  <a:pt x="242" y="233"/>
                </a:lnTo>
                <a:lnTo>
                  <a:pt x="252" y="233"/>
                </a:lnTo>
                <a:lnTo>
                  <a:pt x="260" y="235"/>
                </a:lnTo>
                <a:lnTo>
                  <a:pt x="267" y="236"/>
                </a:lnTo>
                <a:lnTo>
                  <a:pt x="275" y="242"/>
                </a:lnTo>
                <a:lnTo>
                  <a:pt x="282" y="246"/>
                </a:lnTo>
                <a:lnTo>
                  <a:pt x="288" y="252"/>
                </a:lnTo>
                <a:lnTo>
                  <a:pt x="294" y="259"/>
                </a:lnTo>
                <a:lnTo>
                  <a:pt x="300" y="265"/>
                </a:lnTo>
                <a:lnTo>
                  <a:pt x="305" y="275"/>
                </a:lnTo>
                <a:lnTo>
                  <a:pt x="309" y="282"/>
                </a:lnTo>
                <a:lnTo>
                  <a:pt x="313" y="292"/>
                </a:lnTo>
                <a:lnTo>
                  <a:pt x="317" y="301"/>
                </a:lnTo>
                <a:lnTo>
                  <a:pt x="319" y="313"/>
                </a:lnTo>
                <a:lnTo>
                  <a:pt x="322" y="322"/>
                </a:lnTo>
                <a:lnTo>
                  <a:pt x="322" y="334"/>
                </a:lnTo>
                <a:lnTo>
                  <a:pt x="322" y="345"/>
                </a:lnTo>
                <a:lnTo>
                  <a:pt x="322" y="345"/>
                </a:lnTo>
                <a:lnTo>
                  <a:pt x="322" y="347"/>
                </a:lnTo>
                <a:lnTo>
                  <a:pt x="322" y="349"/>
                </a:lnTo>
                <a:lnTo>
                  <a:pt x="321" y="351"/>
                </a:lnTo>
                <a:lnTo>
                  <a:pt x="319" y="355"/>
                </a:lnTo>
                <a:lnTo>
                  <a:pt x="317" y="357"/>
                </a:lnTo>
                <a:lnTo>
                  <a:pt x="315" y="359"/>
                </a:lnTo>
                <a:lnTo>
                  <a:pt x="313" y="360"/>
                </a:lnTo>
                <a:lnTo>
                  <a:pt x="311" y="362"/>
                </a:lnTo>
                <a:lnTo>
                  <a:pt x="355" y="36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8" name="Freeform 38"/>
          <p:cNvSpPr>
            <a:spLocks/>
          </p:cNvSpPr>
          <p:nvPr/>
        </p:nvSpPr>
        <p:spPr bwMode="auto">
          <a:xfrm>
            <a:off x="696913" y="2989164"/>
            <a:ext cx="198438" cy="111125"/>
          </a:xfrm>
          <a:custGeom>
            <a:avLst/>
            <a:gdLst>
              <a:gd name="T0" fmla="*/ 223 w 223"/>
              <a:gd name="T1" fmla="*/ 6 h 130"/>
              <a:gd name="T2" fmla="*/ 216 w 223"/>
              <a:gd name="T3" fmla="*/ 10 h 130"/>
              <a:gd name="T4" fmla="*/ 210 w 223"/>
              <a:gd name="T5" fmla="*/ 17 h 130"/>
              <a:gd name="T6" fmla="*/ 206 w 223"/>
              <a:gd name="T7" fmla="*/ 29 h 130"/>
              <a:gd name="T8" fmla="*/ 204 w 223"/>
              <a:gd name="T9" fmla="*/ 40 h 130"/>
              <a:gd name="T10" fmla="*/ 187 w 223"/>
              <a:gd name="T11" fmla="*/ 40 h 130"/>
              <a:gd name="T12" fmla="*/ 189 w 223"/>
              <a:gd name="T13" fmla="*/ 50 h 130"/>
              <a:gd name="T14" fmla="*/ 195 w 223"/>
              <a:gd name="T15" fmla="*/ 59 h 130"/>
              <a:gd name="T16" fmla="*/ 200 w 223"/>
              <a:gd name="T17" fmla="*/ 67 h 130"/>
              <a:gd name="T18" fmla="*/ 204 w 223"/>
              <a:gd name="T19" fmla="*/ 76 h 130"/>
              <a:gd name="T20" fmla="*/ 202 w 223"/>
              <a:gd name="T21" fmla="*/ 84 h 130"/>
              <a:gd name="T22" fmla="*/ 191 w 223"/>
              <a:gd name="T23" fmla="*/ 90 h 130"/>
              <a:gd name="T24" fmla="*/ 176 w 223"/>
              <a:gd name="T25" fmla="*/ 90 h 130"/>
              <a:gd name="T26" fmla="*/ 157 w 223"/>
              <a:gd name="T27" fmla="*/ 88 h 130"/>
              <a:gd name="T28" fmla="*/ 147 w 223"/>
              <a:gd name="T29" fmla="*/ 90 h 130"/>
              <a:gd name="T30" fmla="*/ 136 w 223"/>
              <a:gd name="T31" fmla="*/ 96 h 130"/>
              <a:gd name="T32" fmla="*/ 122 w 223"/>
              <a:gd name="T33" fmla="*/ 105 h 130"/>
              <a:gd name="T34" fmla="*/ 111 w 223"/>
              <a:gd name="T35" fmla="*/ 117 h 130"/>
              <a:gd name="T36" fmla="*/ 105 w 223"/>
              <a:gd name="T37" fmla="*/ 130 h 130"/>
              <a:gd name="T38" fmla="*/ 99 w 223"/>
              <a:gd name="T39" fmla="*/ 128 h 130"/>
              <a:gd name="T40" fmla="*/ 88 w 223"/>
              <a:gd name="T41" fmla="*/ 124 h 130"/>
              <a:gd name="T42" fmla="*/ 76 w 223"/>
              <a:gd name="T43" fmla="*/ 118 h 130"/>
              <a:gd name="T44" fmla="*/ 71 w 223"/>
              <a:gd name="T45" fmla="*/ 109 h 130"/>
              <a:gd name="T46" fmla="*/ 71 w 223"/>
              <a:gd name="T47" fmla="*/ 103 h 130"/>
              <a:gd name="T48" fmla="*/ 71 w 223"/>
              <a:gd name="T49" fmla="*/ 94 h 130"/>
              <a:gd name="T50" fmla="*/ 69 w 223"/>
              <a:gd name="T51" fmla="*/ 84 h 130"/>
              <a:gd name="T52" fmla="*/ 69 w 223"/>
              <a:gd name="T53" fmla="*/ 75 h 130"/>
              <a:gd name="T54" fmla="*/ 71 w 223"/>
              <a:gd name="T55" fmla="*/ 61 h 130"/>
              <a:gd name="T56" fmla="*/ 67 w 223"/>
              <a:gd name="T57" fmla="*/ 61 h 130"/>
              <a:gd name="T58" fmla="*/ 57 w 223"/>
              <a:gd name="T59" fmla="*/ 61 h 130"/>
              <a:gd name="T60" fmla="*/ 52 w 223"/>
              <a:gd name="T61" fmla="*/ 61 h 130"/>
              <a:gd name="T62" fmla="*/ 42 w 223"/>
              <a:gd name="T63" fmla="*/ 61 h 130"/>
              <a:gd name="T64" fmla="*/ 38 w 223"/>
              <a:gd name="T65" fmla="*/ 61 h 130"/>
              <a:gd name="T66" fmla="*/ 23 w 223"/>
              <a:gd name="T67" fmla="*/ 57 h 130"/>
              <a:gd name="T68" fmla="*/ 12 w 223"/>
              <a:gd name="T69" fmla="*/ 46 h 130"/>
              <a:gd name="T70" fmla="*/ 4 w 223"/>
              <a:gd name="T71" fmla="*/ 33 h 130"/>
              <a:gd name="T72" fmla="*/ 0 w 223"/>
              <a:gd name="T73" fmla="*/ 23 h 130"/>
              <a:gd name="T74" fmla="*/ 8 w 223"/>
              <a:gd name="T75" fmla="*/ 19 h 130"/>
              <a:gd name="T76" fmla="*/ 21 w 223"/>
              <a:gd name="T77" fmla="*/ 15 h 130"/>
              <a:gd name="T78" fmla="*/ 36 w 223"/>
              <a:gd name="T79" fmla="*/ 12 h 130"/>
              <a:gd name="T80" fmla="*/ 50 w 223"/>
              <a:gd name="T81" fmla="*/ 8 h 130"/>
              <a:gd name="T82" fmla="*/ 63 w 223"/>
              <a:gd name="T83" fmla="*/ 6 h 130"/>
              <a:gd name="T84" fmla="*/ 78 w 223"/>
              <a:gd name="T85" fmla="*/ 2 h 130"/>
              <a:gd name="T86" fmla="*/ 92 w 223"/>
              <a:gd name="T87" fmla="*/ 0 h 130"/>
              <a:gd name="T88" fmla="*/ 107 w 223"/>
              <a:gd name="T89" fmla="*/ 0 h 130"/>
              <a:gd name="T90" fmla="*/ 218 w 223"/>
              <a:gd name="T91" fmla="*/ 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 h="130">
                <a:moveTo>
                  <a:pt x="223" y="6"/>
                </a:moveTo>
                <a:lnTo>
                  <a:pt x="223" y="6"/>
                </a:lnTo>
                <a:lnTo>
                  <a:pt x="220" y="6"/>
                </a:lnTo>
                <a:lnTo>
                  <a:pt x="216" y="10"/>
                </a:lnTo>
                <a:lnTo>
                  <a:pt x="212" y="14"/>
                </a:lnTo>
                <a:lnTo>
                  <a:pt x="210" y="17"/>
                </a:lnTo>
                <a:lnTo>
                  <a:pt x="208" y="23"/>
                </a:lnTo>
                <a:lnTo>
                  <a:pt x="206" y="29"/>
                </a:lnTo>
                <a:lnTo>
                  <a:pt x="204" y="34"/>
                </a:lnTo>
                <a:lnTo>
                  <a:pt x="204" y="40"/>
                </a:lnTo>
                <a:lnTo>
                  <a:pt x="187" y="40"/>
                </a:lnTo>
                <a:lnTo>
                  <a:pt x="187" y="40"/>
                </a:lnTo>
                <a:lnTo>
                  <a:pt x="187" y="46"/>
                </a:lnTo>
                <a:lnTo>
                  <a:pt x="189" y="50"/>
                </a:lnTo>
                <a:lnTo>
                  <a:pt x="193" y="55"/>
                </a:lnTo>
                <a:lnTo>
                  <a:pt x="195" y="59"/>
                </a:lnTo>
                <a:lnTo>
                  <a:pt x="199" y="63"/>
                </a:lnTo>
                <a:lnTo>
                  <a:pt x="200" y="67"/>
                </a:lnTo>
                <a:lnTo>
                  <a:pt x="204" y="71"/>
                </a:lnTo>
                <a:lnTo>
                  <a:pt x="204" y="76"/>
                </a:lnTo>
                <a:lnTo>
                  <a:pt x="204" y="76"/>
                </a:lnTo>
                <a:lnTo>
                  <a:pt x="202" y="84"/>
                </a:lnTo>
                <a:lnTo>
                  <a:pt x="199" y="88"/>
                </a:lnTo>
                <a:lnTo>
                  <a:pt x="191" y="90"/>
                </a:lnTo>
                <a:lnTo>
                  <a:pt x="183" y="90"/>
                </a:lnTo>
                <a:lnTo>
                  <a:pt x="176" y="90"/>
                </a:lnTo>
                <a:lnTo>
                  <a:pt x="166" y="88"/>
                </a:lnTo>
                <a:lnTo>
                  <a:pt x="157" y="88"/>
                </a:lnTo>
                <a:lnTo>
                  <a:pt x="147" y="90"/>
                </a:lnTo>
                <a:lnTo>
                  <a:pt x="147" y="90"/>
                </a:lnTo>
                <a:lnTo>
                  <a:pt x="141" y="92"/>
                </a:lnTo>
                <a:lnTo>
                  <a:pt x="136" y="96"/>
                </a:lnTo>
                <a:lnTo>
                  <a:pt x="128" y="99"/>
                </a:lnTo>
                <a:lnTo>
                  <a:pt x="122" y="105"/>
                </a:lnTo>
                <a:lnTo>
                  <a:pt x="117" y="111"/>
                </a:lnTo>
                <a:lnTo>
                  <a:pt x="111" y="117"/>
                </a:lnTo>
                <a:lnTo>
                  <a:pt x="107" y="122"/>
                </a:lnTo>
                <a:lnTo>
                  <a:pt x="105" y="130"/>
                </a:lnTo>
                <a:lnTo>
                  <a:pt x="105" y="130"/>
                </a:lnTo>
                <a:lnTo>
                  <a:pt x="99" y="128"/>
                </a:lnTo>
                <a:lnTo>
                  <a:pt x="94" y="128"/>
                </a:lnTo>
                <a:lnTo>
                  <a:pt x="88" y="124"/>
                </a:lnTo>
                <a:lnTo>
                  <a:pt x="82" y="122"/>
                </a:lnTo>
                <a:lnTo>
                  <a:pt x="76" y="118"/>
                </a:lnTo>
                <a:lnTo>
                  <a:pt x="75" y="113"/>
                </a:lnTo>
                <a:lnTo>
                  <a:pt x="71" y="109"/>
                </a:lnTo>
                <a:lnTo>
                  <a:pt x="71" y="103"/>
                </a:lnTo>
                <a:lnTo>
                  <a:pt x="71" y="103"/>
                </a:lnTo>
                <a:lnTo>
                  <a:pt x="71" y="97"/>
                </a:lnTo>
                <a:lnTo>
                  <a:pt x="71" y="94"/>
                </a:lnTo>
                <a:lnTo>
                  <a:pt x="69" y="90"/>
                </a:lnTo>
                <a:lnTo>
                  <a:pt x="69" y="84"/>
                </a:lnTo>
                <a:lnTo>
                  <a:pt x="69" y="78"/>
                </a:lnTo>
                <a:lnTo>
                  <a:pt x="69" y="75"/>
                </a:lnTo>
                <a:lnTo>
                  <a:pt x="69" y="67"/>
                </a:lnTo>
                <a:lnTo>
                  <a:pt x="71" y="61"/>
                </a:lnTo>
                <a:lnTo>
                  <a:pt x="71" y="61"/>
                </a:lnTo>
                <a:lnTo>
                  <a:pt x="67" y="61"/>
                </a:lnTo>
                <a:lnTo>
                  <a:pt x="63" y="61"/>
                </a:lnTo>
                <a:lnTo>
                  <a:pt x="57" y="61"/>
                </a:lnTo>
                <a:lnTo>
                  <a:pt x="54" y="61"/>
                </a:lnTo>
                <a:lnTo>
                  <a:pt x="52" y="61"/>
                </a:lnTo>
                <a:lnTo>
                  <a:pt x="48" y="61"/>
                </a:lnTo>
                <a:lnTo>
                  <a:pt x="42" y="61"/>
                </a:lnTo>
                <a:lnTo>
                  <a:pt x="38" y="61"/>
                </a:lnTo>
                <a:lnTo>
                  <a:pt x="38" y="61"/>
                </a:lnTo>
                <a:lnTo>
                  <a:pt x="31" y="59"/>
                </a:lnTo>
                <a:lnTo>
                  <a:pt x="23" y="57"/>
                </a:lnTo>
                <a:lnTo>
                  <a:pt x="17" y="52"/>
                </a:lnTo>
                <a:lnTo>
                  <a:pt x="12" y="46"/>
                </a:lnTo>
                <a:lnTo>
                  <a:pt x="8" y="40"/>
                </a:lnTo>
                <a:lnTo>
                  <a:pt x="4" y="33"/>
                </a:lnTo>
                <a:lnTo>
                  <a:pt x="2" y="27"/>
                </a:lnTo>
                <a:lnTo>
                  <a:pt x="0" y="23"/>
                </a:lnTo>
                <a:lnTo>
                  <a:pt x="0" y="23"/>
                </a:lnTo>
                <a:lnTo>
                  <a:pt x="8" y="19"/>
                </a:lnTo>
                <a:lnTo>
                  <a:pt x="14" y="17"/>
                </a:lnTo>
                <a:lnTo>
                  <a:pt x="21" y="15"/>
                </a:lnTo>
                <a:lnTo>
                  <a:pt x="29" y="14"/>
                </a:lnTo>
                <a:lnTo>
                  <a:pt x="36" y="12"/>
                </a:lnTo>
                <a:lnTo>
                  <a:pt x="42" y="10"/>
                </a:lnTo>
                <a:lnTo>
                  <a:pt x="50" y="8"/>
                </a:lnTo>
                <a:lnTo>
                  <a:pt x="57" y="6"/>
                </a:lnTo>
                <a:lnTo>
                  <a:pt x="63" y="6"/>
                </a:lnTo>
                <a:lnTo>
                  <a:pt x="71" y="4"/>
                </a:lnTo>
                <a:lnTo>
                  <a:pt x="78" y="2"/>
                </a:lnTo>
                <a:lnTo>
                  <a:pt x="84" y="2"/>
                </a:lnTo>
                <a:lnTo>
                  <a:pt x="92" y="0"/>
                </a:lnTo>
                <a:lnTo>
                  <a:pt x="99" y="0"/>
                </a:lnTo>
                <a:lnTo>
                  <a:pt x="107" y="0"/>
                </a:lnTo>
                <a:lnTo>
                  <a:pt x="115" y="0"/>
                </a:lnTo>
                <a:lnTo>
                  <a:pt x="218" y="8"/>
                </a:lnTo>
                <a:lnTo>
                  <a:pt x="223" y="6"/>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39" name="Freeform 39"/>
          <p:cNvSpPr>
            <a:spLocks/>
          </p:cNvSpPr>
          <p:nvPr/>
        </p:nvSpPr>
        <p:spPr bwMode="auto">
          <a:xfrm>
            <a:off x="658813" y="2700239"/>
            <a:ext cx="381000" cy="327025"/>
          </a:xfrm>
          <a:custGeom>
            <a:avLst/>
            <a:gdLst>
              <a:gd name="T0" fmla="*/ 386 w 426"/>
              <a:gd name="T1" fmla="*/ 374 h 374"/>
              <a:gd name="T2" fmla="*/ 342 w 426"/>
              <a:gd name="T3" fmla="*/ 370 h 374"/>
              <a:gd name="T4" fmla="*/ 305 w 426"/>
              <a:gd name="T5" fmla="*/ 359 h 374"/>
              <a:gd name="T6" fmla="*/ 286 w 426"/>
              <a:gd name="T7" fmla="*/ 342 h 374"/>
              <a:gd name="T8" fmla="*/ 149 w 426"/>
              <a:gd name="T9" fmla="*/ 330 h 374"/>
              <a:gd name="T10" fmla="*/ 105 w 426"/>
              <a:gd name="T11" fmla="*/ 336 h 374"/>
              <a:gd name="T12" fmla="*/ 63 w 426"/>
              <a:gd name="T13" fmla="*/ 345 h 374"/>
              <a:gd name="T14" fmla="*/ 36 w 426"/>
              <a:gd name="T15" fmla="*/ 347 h 374"/>
              <a:gd name="T16" fmla="*/ 27 w 426"/>
              <a:gd name="T17" fmla="*/ 330 h 374"/>
              <a:gd name="T18" fmla="*/ 29 w 426"/>
              <a:gd name="T19" fmla="*/ 300 h 374"/>
              <a:gd name="T20" fmla="*/ 56 w 426"/>
              <a:gd name="T21" fmla="*/ 284 h 374"/>
              <a:gd name="T22" fmla="*/ 75 w 426"/>
              <a:gd name="T23" fmla="*/ 290 h 374"/>
              <a:gd name="T24" fmla="*/ 96 w 426"/>
              <a:gd name="T25" fmla="*/ 286 h 374"/>
              <a:gd name="T26" fmla="*/ 122 w 426"/>
              <a:gd name="T27" fmla="*/ 273 h 374"/>
              <a:gd name="T28" fmla="*/ 151 w 426"/>
              <a:gd name="T29" fmla="*/ 265 h 374"/>
              <a:gd name="T30" fmla="*/ 187 w 426"/>
              <a:gd name="T31" fmla="*/ 282 h 374"/>
              <a:gd name="T32" fmla="*/ 225 w 426"/>
              <a:gd name="T33" fmla="*/ 290 h 374"/>
              <a:gd name="T34" fmla="*/ 248 w 426"/>
              <a:gd name="T35" fmla="*/ 290 h 374"/>
              <a:gd name="T36" fmla="*/ 239 w 426"/>
              <a:gd name="T37" fmla="*/ 265 h 374"/>
              <a:gd name="T38" fmla="*/ 227 w 426"/>
              <a:gd name="T39" fmla="*/ 261 h 374"/>
              <a:gd name="T40" fmla="*/ 210 w 426"/>
              <a:gd name="T41" fmla="*/ 261 h 374"/>
              <a:gd name="T42" fmla="*/ 185 w 426"/>
              <a:gd name="T43" fmla="*/ 248 h 374"/>
              <a:gd name="T44" fmla="*/ 145 w 426"/>
              <a:gd name="T45" fmla="*/ 235 h 374"/>
              <a:gd name="T46" fmla="*/ 113 w 426"/>
              <a:gd name="T47" fmla="*/ 242 h 374"/>
              <a:gd name="T48" fmla="*/ 80 w 426"/>
              <a:gd name="T49" fmla="*/ 254 h 374"/>
              <a:gd name="T50" fmla="*/ 56 w 426"/>
              <a:gd name="T51" fmla="*/ 256 h 374"/>
              <a:gd name="T52" fmla="*/ 36 w 426"/>
              <a:gd name="T53" fmla="*/ 256 h 374"/>
              <a:gd name="T54" fmla="*/ 40 w 426"/>
              <a:gd name="T55" fmla="*/ 242 h 374"/>
              <a:gd name="T56" fmla="*/ 27 w 426"/>
              <a:gd name="T57" fmla="*/ 200 h 374"/>
              <a:gd name="T58" fmla="*/ 6 w 426"/>
              <a:gd name="T59" fmla="*/ 160 h 374"/>
              <a:gd name="T60" fmla="*/ 2 w 426"/>
              <a:gd name="T61" fmla="*/ 141 h 374"/>
              <a:gd name="T62" fmla="*/ 31 w 426"/>
              <a:gd name="T63" fmla="*/ 116 h 374"/>
              <a:gd name="T64" fmla="*/ 52 w 426"/>
              <a:gd name="T65" fmla="*/ 92 h 374"/>
              <a:gd name="T66" fmla="*/ 69 w 426"/>
              <a:gd name="T67" fmla="*/ 61 h 374"/>
              <a:gd name="T68" fmla="*/ 96 w 426"/>
              <a:gd name="T69" fmla="*/ 12 h 374"/>
              <a:gd name="T70" fmla="*/ 118 w 426"/>
              <a:gd name="T71" fmla="*/ 10 h 374"/>
              <a:gd name="T72" fmla="*/ 136 w 426"/>
              <a:gd name="T73" fmla="*/ 10 h 374"/>
              <a:gd name="T74" fmla="*/ 181 w 426"/>
              <a:gd name="T75" fmla="*/ 2 h 374"/>
              <a:gd name="T76" fmla="*/ 216 w 426"/>
              <a:gd name="T77" fmla="*/ 6 h 374"/>
              <a:gd name="T78" fmla="*/ 239 w 426"/>
              <a:gd name="T79" fmla="*/ 23 h 374"/>
              <a:gd name="T80" fmla="*/ 258 w 426"/>
              <a:gd name="T81" fmla="*/ 46 h 374"/>
              <a:gd name="T82" fmla="*/ 283 w 426"/>
              <a:gd name="T83" fmla="*/ 57 h 374"/>
              <a:gd name="T84" fmla="*/ 305 w 426"/>
              <a:gd name="T85" fmla="*/ 71 h 374"/>
              <a:gd name="T86" fmla="*/ 307 w 426"/>
              <a:gd name="T87" fmla="*/ 95 h 374"/>
              <a:gd name="T88" fmla="*/ 330 w 426"/>
              <a:gd name="T89" fmla="*/ 128 h 374"/>
              <a:gd name="T90" fmla="*/ 355 w 426"/>
              <a:gd name="T91" fmla="*/ 166 h 374"/>
              <a:gd name="T92" fmla="*/ 372 w 426"/>
              <a:gd name="T93" fmla="*/ 208 h 374"/>
              <a:gd name="T94" fmla="*/ 386 w 426"/>
              <a:gd name="T95" fmla="*/ 227 h 374"/>
              <a:gd name="T96" fmla="*/ 386 w 426"/>
              <a:gd name="T97" fmla="*/ 248 h 374"/>
              <a:gd name="T98" fmla="*/ 378 w 426"/>
              <a:gd name="T99" fmla="*/ 267 h 374"/>
              <a:gd name="T100" fmla="*/ 393 w 426"/>
              <a:gd name="T101" fmla="*/ 292 h 374"/>
              <a:gd name="T102" fmla="*/ 418 w 426"/>
              <a:gd name="T103" fmla="*/ 315 h 374"/>
              <a:gd name="T104" fmla="*/ 426 w 426"/>
              <a:gd name="T105" fmla="*/ 344 h 374"/>
              <a:gd name="T106" fmla="*/ 416 w 426"/>
              <a:gd name="T107" fmla="*/ 36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6" h="374">
                <a:moveTo>
                  <a:pt x="414" y="372"/>
                </a:moveTo>
                <a:lnTo>
                  <a:pt x="414" y="372"/>
                </a:lnTo>
                <a:lnTo>
                  <a:pt x="407" y="372"/>
                </a:lnTo>
                <a:lnTo>
                  <a:pt x="401" y="374"/>
                </a:lnTo>
                <a:lnTo>
                  <a:pt x="393" y="374"/>
                </a:lnTo>
                <a:lnTo>
                  <a:pt x="386" y="374"/>
                </a:lnTo>
                <a:lnTo>
                  <a:pt x="378" y="374"/>
                </a:lnTo>
                <a:lnTo>
                  <a:pt x="370" y="374"/>
                </a:lnTo>
                <a:lnTo>
                  <a:pt x="363" y="374"/>
                </a:lnTo>
                <a:lnTo>
                  <a:pt x="357" y="372"/>
                </a:lnTo>
                <a:lnTo>
                  <a:pt x="349" y="372"/>
                </a:lnTo>
                <a:lnTo>
                  <a:pt x="342" y="370"/>
                </a:lnTo>
                <a:lnTo>
                  <a:pt x="336" y="370"/>
                </a:lnTo>
                <a:lnTo>
                  <a:pt x="328" y="368"/>
                </a:lnTo>
                <a:lnTo>
                  <a:pt x="323" y="366"/>
                </a:lnTo>
                <a:lnTo>
                  <a:pt x="317" y="364"/>
                </a:lnTo>
                <a:lnTo>
                  <a:pt x="311" y="363"/>
                </a:lnTo>
                <a:lnTo>
                  <a:pt x="305" y="359"/>
                </a:lnTo>
                <a:lnTo>
                  <a:pt x="305" y="359"/>
                </a:lnTo>
                <a:lnTo>
                  <a:pt x="302" y="357"/>
                </a:lnTo>
                <a:lnTo>
                  <a:pt x="298" y="353"/>
                </a:lnTo>
                <a:lnTo>
                  <a:pt x="294" y="349"/>
                </a:lnTo>
                <a:lnTo>
                  <a:pt x="290" y="345"/>
                </a:lnTo>
                <a:lnTo>
                  <a:pt x="286" y="342"/>
                </a:lnTo>
                <a:lnTo>
                  <a:pt x="283" y="338"/>
                </a:lnTo>
                <a:lnTo>
                  <a:pt x="275" y="336"/>
                </a:lnTo>
                <a:lnTo>
                  <a:pt x="265" y="336"/>
                </a:lnTo>
                <a:lnTo>
                  <a:pt x="157" y="330"/>
                </a:lnTo>
                <a:lnTo>
                  <a:pt x="157" y="330"/>
                </a:lnTo>
                <a:lnTo>
                  <a:pt x="149" y="330"/>
                </a:lnTo>
                <a:lnTo>
                  <a:pt x="141" y="330"/>
                </a:lnTo>
                <a:lnTo>
                  <a:pt x="134" y="330"/>
                </a:lnTo>
                <a:lnTo>
                  <a:pt x="126" y="332"/>
                </a:lnTo>
                <a:lnTo>
                  <a:pt x="120" y="332"/>
                </a:lnTo>
                <a:lnTo>
                  <a:pt x="113" y="334"/>
                </a:lnTo>
                <a:lnTo>
                  <a:pt x="105" y="336"/>
                </a:lnTo>
                <a:lnTo>
                  <a:pt x="99" y="336"/>
                </a:lnTo>
                <a:lnTo>
                  <a:pt x="92" y="338"/>
                </a:lnTo>
                <a:lnTo>
                  <a:pt x="84" y="340"/>
                </a:lnTo>
                <a:lnTo>
                  <a:pt x="78" y="342"/>
                </a:lnTo>
                <a:lnTo>
                  <a:pt x="71" y="344"/>
                </a:lnTo>
                <a:lnTo>
                  <a:pt x="63" y="345"/>
                </a:lnTo>
                <a:lnTo>
                  <a:pt x="56" y="347"/>
                </a:lnTo>
                <a:lnTo>
                  <a:pt x="50" y="349"/>
                </a:lnTo>
                <a:lnTo>
                  <a:pt x="42" y="353"/>
                </a:lnTo>
                <a:lnTo>
                  <a:pt x="42" y="353"/>
                </a:lnTo>
                <a:lnTo>
                  <a:pt x="38" y="349"/>
                </a:lnTo>
                <a:lnTo>
                  <a:pt x="36" y="347"/>
                </a:lnTo>
                <a:lnTo>
                  <a:pt x="35" y="345"/>
                </a:lnTo>
                <a:lnTo>
                  <a:pt x="33" y="344"/>
                </a:lnTo>
                <a:lnTo>
                  <a:pt x="31" y="340"/>
                </a:lnTo>
                <a:lnTo>
                  <a:pt x="29" y="336"/>
                </a:lnTo>
                <a:lnTo>
                  <a:pt x="29" y="332"/>
                </a:lnTo>
                <a:lnTo>
                  <a:pt x="27" y="330"/>
                </a:lnTo>
                <a:lnTo>
                  <a:pt x="27" y="330"/>
                </a:lnTo>
                <a:lnTo>
                  <a:pt x="27" y="323"/>
                </a:lnTo>
                <a:lnTo>
                  <a:pt x="29" y="317"/>
                </a:lnTo>
                <a:lnTo>
                  <a:pt x="29" y="311"/>
                </a:lnTo>
                <a:lnTo>
                  <a:pt x="29" y="305"/>
                </a:lnTo>
                <a:lnTo>
                  <a:pt x="29" y="300"/>
                </a:lnTo>
                <a:lnTo>
                  <a:pt x="29" y="294"/>
                </a:lnTo>
                <a:lnTo>
                  <a:pt x="29" y="288"/>
                </a:lnTo>
                <a:lnTo>
                  <a:pt x="27" y="282"/>
                </a:lnTo>
                <a:lnTo>
                  <a:pt x="54" y="282"/>
                </a:lnTo>
                <a:lnTo>
                  <a:pt x="54" y="282"/>
                </a:lnTo>
                <a:lnTo>
                  <a:pt x="56" y="284"/>
                </a:lnTo>
                <a:lnTo>
                  <a:pt x="59" y="286"/>
                </a:lnTo>
                <a:lnTo>
                  <a:pt x="61" y="288"/>
                </a:lnTo>
                <a:lnTo>
                  <a:pt x="65" y="288"/>
                </a:lnTo>
                <a:lnTo>
                  <a:pt x="67" y="290"/>
                </a:lnTo>
                <a:lnTo>
                  <a:pt x="71" y="290"/>
                </a:lnTo>
                <a:lnTo>
                  <a:pt x="75" y="290"/>
                </a:lnTo>
                <a:lnTo>
                  <a:pt x="77" y="290"/>
                </a:lnTo>
                <a:lnTo>
                  <a:pt x="77" y="290"/>
                </a:lnTo>
                <a:lnTo>
                  <a:pt x="82" y="290"/>
                </a:lnTo>
                <a:lnTo>
                  <a:pt x="86" y="290"/>
                </a:lnTo>
                <a:lnTo>
                  <a:pt x="92" y="288"/>
                </a:lnTo>
                <a:lnTo>
                  <a:pt x="96" y="286"/>
                </a:lnTo>
                <a:lnTo>
                  <a:pt x="101" y="284"/>
                </a:lnTo>
                <a:lnTo>
                  <a:pt x="105" y="282"/>
                </a:lnTo>
                <a:lnTo>
                  <a:pt x="109" y="281"/>
                </a:lnTo>
                <a:lnTo>
                  <a:pt x="115" y="277"/>
                </a:lnTo>
                <a:lnTo>
                  <a:pt x="118" y="275"/>
                </a:lnTo>
                <a:lnTo>
                  <a:pt x="122" y="273"/>
                </a:lnTo>
                <a:lnTo>
                  <a:pt x="128" y="271"/>
                </a:lnTo>
                <a:lnTo>
                  <a:pt x="132" y="269"/>
                </a:lnTo>
                <a:lnTo>
                  <a:pt x="136" y="267"/>
                </a:lnTo>
                <a:lnTo>
                  <a:pt x="141" y="265"/>
                </a:lnTo>
                <a:lnTo>
                  <a:pt x="145" y="265"/>
                </a:lnTo>
                <a:lnTo>
                  <a:pt x="151" y="265"/>
                </a:lnTo>
                <a:lnTo>
                  <a:pt x="151" y="265"/>
                </a:lnTo>
                <a:lnTo>
                  <a:pt x="159" y="265"/>
                </a:lnTo>
                <a:lnTo>
                  <a:pt x="166" y="269"/>
                </a:lnTo>
                <a:lnTo>
                  <a:pt x="174" y="273"/>
                </a:lnTo>
                <a:lnTo>
                  <a:pt x="180" y="277"/>
                </a:lnTo>
                <a:lnTo>
                  <a:pt x="187" y="282"/>
                </a:lnTo>
                <a:lnTo>
                  <a:pt x="197" y="286"/>
                </a:lnTo>
                <a:lnTo>
                  <a:pt x="204" y="290"/>
                </a:lnTo>
                <a:lnTo>
                  <a:pt x="214" y="290"/>
                </a:lnTo>
                <a:lnTo>
                  <a:pt x="214" y="290"/>
                </a:lnTo>
                <a:lnTo>
                  <a:pt x="220" y="290"/>
                </a:lnTo>
                <a:lnTo>
                  <a:pt x="225" y="290"/>
                </a:lnTo>
                <a:lnTo>
                  <a:pt x="229" y="290"/>
                </a:lnTo>
                <a:lnTo>
                  <a:pt x="235" y="290"/>
                </a:lnTo>
                <a:lnTo>
                  <a:pt x="239" y="288"/>
                </a:lnTo>
                <a:lnTo>
                  <a:pt x="241" y="290"/>
                </a:lnTo>
                <a:lnTo>
                  <a:pt x="244" y="290"/>
                </a:lnTo>
                <a:lnTo>
                  <a:pt x="248" y="290"/>
                </a:lnTo>
                <a:lnTo>
                  <a:pt x="248" y="271"/>
                </a:lnTo>
                <a:lnTo>
                  <a:pt x="248" y="271"/>
                </a:lnTo>
                <a:lnTo>
                  <a:pt x="246" y="269"/>
                </a:lnTo>
                <a:lnTo>
                  <a:pt x="244" y="267"/>
                </a:lnTo>
                <a:lnTo>
                  <a:pt x="242" y="265"/>
                </a:lnTo>
                <a:lnTo>
                  <a:pt x="239" y="265"/>
                </a:lnTo>
                <a:lnTo>
                  <a:pt x="237" y="263"/>
                </a:lnTo>
                <a:lnTo>
                  <a:pt x="235" y="261"/>
                </a:lnTo>
                <a:lnTo>
                  <a:pt x="233" y="261"/>
                </a:lnTo>
                <a:lnTo>
                  <a:pt x="231" y="261"/>
                </a:lnTo>
                <a:lnTo>
                  <a:pt x="231" y="261"/>
                </a:lnTo>
                <a:lnTo>
                  <a:pt x="227" y="261"/>
                </a:lnTo>
                <a:lnTo>
                  <a:pt x="223" y="261"/>
                </a:lnTo>
                <a:lnTo>
                  <a:pt x="221" y="261"/>
                </a:lnTo>
                <a:lnTo>
                  <a:pt x="220" y="261"/>
                </a:lnTo>
                <a:lnTo>
                  <a:pt x="216" y="261"/>
                </a:lnTo>
                <a:lnTo>
                  <a:pt x="214" y="261"/>
                </a:lnTo>
                <a:lnTo>
                  <a:pt x="210" y="261"/>
                </a:lnTo>
                <a:lnTo>
                  <a:pt x="206" y="261"/>
                </a:lnTo>
                <a:lnTo>
                  <a:pt x="206" y="261"/>
                </a:lnTo>
                <a:lnTo>
                  <a:pt x="202" y="260"/>
                </a:lnTo>
                <a:lnTo>
                  <a:pt x="197" y="258"/>
                </a:lnTo>
                <a:lnTo>
                  <a:pt x="191" y="252"/>
                </a:lnTo>
                <a:lnTo>
                  <a:pt x="185" y="248"/>
                </a:lnTo>
                <a:lnTo>
                  <a:pt x="178" y="242"/>
                </a:lnTo>
                <a:lnTo>
                  <a:pt x="170" y="239"/>
                </a:lnTo>
                <a:lnTo>
                  <a:pt x="160" y="237"/>
                </a:lnTo>
                <a:lnTo>
                  <a:pt x="151" y="235"/>
                </a:lnTo>
                <a:lnTo>
                  <a:pt x="151" y="235"/>
                </a:lnTo>
                <a:lnTo>
                  <a:pt x="145" y="235"/>
                </a:lnTo>
                <a:lnTo>
                  <a:pt x="139" y="237"/>
                </a:lnTo>
                <a:lnTo>
                  <a:pt x="134" y="237"/>
                </a:lnTo>
                <a:lnTo>
                  <a:pt x="130" y="239"/>
                </a:lnTo>
                <a:lnTo>
                  <a:pt x="124" y="240"/>
                </a:lnTo>
                <a:lnTo>
                  <a:pt x="118" y="240"/>
                </a:lnTo>
                <a:lnTo>
                  <a:pt x="113" y="242"/>
                </a:lnTo>
                <a:lnTo>
                  <a:pt x="107" y="244"/>
                </a:lnTo>
                <a:lnTo>
                  <a:pt x="103" y="246"/>
                </a:lnTo>
                <a:lnTo>
                  <a:pt x="97" y="248"/>
                </a:lnTo>
                <a:lnTo>
                  <a:pt x="92" y="250"/>
                </a:lnTo>
                <a:lnTo>
                  <a:pt x="86" y="252"/>
                </a:lnTo>
                <a:lnTo>
                  <a:pt x="80" y="254"/>
                </a:lnTo>
                <a:lnTo>
                  <a:pt x="75" y="254"/>
                </a:lnTo>
                <a:lnTo>
                  <a:pt x="69" y="254"/>
                </a:lnTo>
                <a:lnTo>
                  <a:pt x="63" y="256"/>
                </a:lnTo>
                <a:lnTo>
                  <a:pt x="63" y="256"/>
                </a:lnTo>
                <a:lnTo>
                  <a:pt x="59" y="256"/>
                </a:lnTo>
                <a:lnTo>
                  <a:pt x="56" y="256"/>
                </a:lnTo>
                <a:lnTo>
                  <a:pt x="52" y="254"/>
                </a:lnTo>
                <a:lnTo>
                  <a:pt x="48" y="254"/>
                </a:lnTo>
                <a:lnTo>
                  <a:pt x="44" y="254"/>
                </a:lnTo>
                <a:lnTo>
                  <a:pt x="42" y="254"/>
                </a:lnTo>
                <a:lnTo>
                  <a:pt x="38" y="254"/>
                </a:lnTo>
                <a:lnTo>
                  <a:pt x="36" y="256"/>
                </a:lnTo>
                <a:lnTo>
                  <a:pt x="36" y="256"/>
                </a:lnTo>
                <a:lnTo>
                  <a:pt x="36" y="252"/>
                </a:lnTo>
                <a:lnTo>
                  <a:pt x="38" y="250"/>
                </a:lnTo>
                <a:lnTo>
                  <a:pt x="38" y="246"/>
                </a:lnTo>
                <a:lnTo>
                  <a:pt x="40" y="242"/>
                </a:lnTo>
                <a:lnTo>
                  <a:pt x="40" y="242"/>
                </a:lnTo>
                <a:lnTo>
                  <a:pt x="38" y="237"/>
                </a:lnTo>
                <a:lnTo>
                  <a:pt x="38" y="229"/>
                </a:lnTo>
                <a:lnTo>
                  <a:pt x="36" y="223"/>
                </a:lnTo>
                <a:lnTo>
                  <a:pt x="33" y="216"/>
                </a:lnTo>
                <a:lnTo>
                  <a:pt x="31" y="208"/>
                </a:lnTo>
                <a:lnTo>
                  <a:pt x="27" y="200"/>
                </a:lnTo>
                <a:lnTo>
                  <a:pt x="23" y="195"/>
                </a:lnTo>
                <a:lnTo>
                  <a:pt x="19" y="187"/>
                </a:lnTo>
                <a:lnTo>
                  <a:pt x="15" y="179"/>
                </a:lnTo>
                <a:lnTo>
                  <a:pt x="12" y="174"/>
                </a:lnTo>
                <a:lnTo>
                  <a:pt x="10" y="168"/>
                </a:lnTo>
                <a:lnTo>
                  <a:pt x="6" y="160"/>
                </a:lnTo>
                <a:lnTo>
                  <a:pt x="4" y="157"/>
                </a:lnTo>
                <a:lnTo>
                  <a:pt x="2" y="151"/>
                </a:lnTo>
                <a:lnTo>
                  <a:pt x="0" y="147"/>
                </a:lnTo>
                <a:lnTo>
                  <a:pt x="0" y="143"/>
                </a:lnTo>
                <a:lnTo>
                  <a:pt x="0" y="143"/>
                </a:lnTo>
                <a:lnTo>
                  <a:pt x="2" y="141"/>
                </a:lnTo>
                <a:lnTo>
                  <a:pt x="4" y="137"/>
                </a:lnTo>
                <a:lnTo>
                  <a:pt x="10" y="134"/>
                </a:lnTo>
                <a:lnTo>
                  <a:pt x="15" y="128"/>
                </a:lnTo>
                <a:lnTo>
                  <a:pt x="21" y="124"/>
                </a:lnTo>
                <a:lnTo>
                  <a:pt x="27" y="120"/>
                </a:lnTo>
                <a:lnTo>
                  <a:pt x="31" y="116"/>
                </a:lnTo>
                <a:lnTo>
                  <a:pt x="33" y="113"/>
                </a:lnTo>
                <a:lnTo>
                  <a:pt x="33" y="113"/>
                </a:lnTo>
                <a:lnTo>
                  <a:pt x="36" y="109"/>
                </a:lnTo>
                <a:lnTo>
                  <a:pt x="42" y="103"/>
                </a:lnTo>
                <a:lnTo>
                  <a:pt x="46" y="97"/>
                </a:lnTo>
                <a:lnTo>
                  <a:pt x="52" y="92"/>
                </a:lnTo>
                <a:lnTo>
                  <a:pt x="56" y="88"/>
                </a:lnTo>
                <a:lnTo>
                  <a:pt x="59" y="82"/>
                </a:lnTo>
                <a:lnTo>
                  <a:pt x="63" y="76"/>
                </a:lnTo>
                <a:lnTo>
                  <a:pt x="65" y="73"/>
                </a:lnTo>
                <a:lnTo>
                  <a:pt x="65" y="73"/>
                </a:lnTo>
                <a:lnTo>
                  <a:pt x="69" y="61"/>
                </a:lnTo>
                <a:lnTo>
                  <a:pt x="71" y="50"/>
                </a:lnTo>
                <a:lnTo>
                  <a:pt x="75" y="38"/>
                </a:lnTo>
                <a:lnTo>
                  <a:pt x="78" y="29"/>
                </a:lnTo>
                <a:lnTo>
                  <a:pt x="82" y="21"/>
                </a:lnTo>
                <a:lnTo>
                  <a:pt x="90" y="15"/>
                </a:lnTo>
                <a:lnTo>
                  <a:pt x="96" y="12"/>
                </a:lnTo>
                <a:lnTo>
                  <a:pt x="107" y="10"/>
                </a:lnTo>
                <a:lnTo>
                  <a:pt x="107" y="10"/>
                </a:lnTo>
                <a:lnTo>
                  <a:pt x="111" y="10"/>
                </a:lnTo>
                <a:lnTo>
                  <a:pt x="115" y="10"/>
                </a:lnTo>
                <a:lnTo>
                  <a:pt x="117" y="10"/>
                </a:lnTo>
                <a:lnTo>
                  <a:pt x="118" y="10"/>
                </a:lnTo>
                <a:lnTo>
                  <a:pt x="122" y="10"/>
                </a:lnTo>
                <a:lnTo>
                  <a:pt x="124" y="10"/>
                </a:lnTo>
                <a:lnTo>
                  <a:pt x="128" y="10"/>
                </a:lnTo>
                <a:lnTo>
                  <a:pt x="130" y="10"/>
                </a:lnTo>
                <a:lnTo>
                  <a:pt x="130" y="10"/>
                </a:lnTo>
                <a:lnTo>
                  <a:pt x="136" y="10"/>
                </a:lnTo>
                <a:lnTo>
                  <a:pt x="143" y="10"/>
                </a:lnTo>
                <a:lnTo>
                  <a:pt x="149" y="8"/>
                </a:lnTo>
                <a:lnTo>
                  <a:pt x="159" y="6"/>
                </a:lnTo>
                <a:lnTo>
                  <a:pt x="166" y="4"/>
                </a:lnTo>
                <a:lnTo>
                  <a:pt x="174" y="2"/>
                </a:lnTo>
                <a:lnTo>
                  <a:pt x="181" y="2"/>
                </a:lnTo>
                <a:lnTo>
                  <a:pt x="189" y="0"/>
                </a:lnTo>
                <a:lnTo>
                  <a:pt x="189" y="0"/>
                </a:lnTo>
                <a:lnTo>
                  <a:pt x="197" y="2"/>
                </a:lnTo>
                <a:lnTo>
                  <a:pt x="204" y="2"/>
                </a:lnTo>
                <a:lnTo>
                  <a:pt x="210" y="4"/>
                </a:lnTo>
                <a:lnTo>
                  <a:pt x="216" y="6"/>
                </a:lnTo>
                <a:lnTo>
                  <a:pt x="221" y="8"/>
                </a:lnTo>
                <a:lnTo>
                  <a:pt x="225" y="10"/>
                </a:lnTo>
                <a:lnTo>
                  <a:pt x="229" y="13"/>
                </a:lnTo>
                <a:lnTo>
                  <a:pt x="233" y="15"/>
                </a:lnTo>
                <a:lnTo>
                  <a:pt x="237" y="19"/>
                </a:lnTo>
                <a:lnTo>
                  <a:pt x="239" y="23"/>
                </a:lnTo>
                <a:lnTo>
                  <a:pt x="242" y="27"/>
                </a:lnTo>
                <a:lnTo>
                  <a:pt x="244" y="31"/>
                </a:lnTo>
                <a:lnTo>
                  <a:pt x="248" y="34"/>
                </a:lnTo>
                <a:lnTo>
                  <a:pt x="252" y="38"/>
                </a:lnTo>
                <a:lnTo>
                  <a:pt x="254" y="42"/>
                </a:lnTo>
                <a:lnTo>
                  <a:pt x="258" y="46"/>
                </a:lnTo>
                <a:lnTo>
                  <a:pt x="258" y="46"/>
                </a:lnTo>
                <a:lnTo>
                  <a:pt x="263" y="50"/>
                </a:lnTo>
                <a:lnTo>
                  <a:pt x="267" y="54"/>
                </a:lnTo>
                <a:lnTo>
                  <a:pt x="273" y="55"/>
                </a:lnTo>
                <a:lnTo>
                  <a:pt x="277" y="55"/>
                </a:lnTo>
                <a:lnTo>
                  <a:pt x="283" y="57"/>
                </a:lnTo>
                <a:lnTo>
                  <a:pt x="288" y="59"/>
                </a:lnTo>
                <a:lnTo>
                  <a:pt x="294" y="61"/>
                </a:lnTo>
                <a:lnTo>
                  <a:pt x="300" y="63"/>
                </a:lnTo>
                <a:lnTo>
                  <a:pt x="300" y="63"/>
                </a:lnTo>
                <a:lnTo>
                  <a:pt x="302" y="67"/>
                </a:lnTo>
                <a:lnTo>
                  <a:pt x="305" y="71"/>
                </a:lnTo>
                <a:lnTo>
                  <a:pt x="305" y="75"/>
                </a:lnTo>
                <a:lnTo>
                  <a:pt x="305" y="78"/>
                </a:lnTo>
                <a:lnTo>
                  <a:pt x="305" y="82"/>
                </a:lnTo>
                <a:lnTo>
                  <a:pt x="305" y="86"/>
                </a:lnTo>
                <a:lnTo>
                  <a:pt x="305" y="92"/>
                </a:lnTo>
                <a:lnTo>
                  <a:pt x="307" y="95"/>
                </a:lnTo>
                <a:lnTo>
                  <a:pt x="307" y="95"/>
                </a:lnTo>
                <a:lnTo>
                  <a:pt x="311" y="103"/>
                </a:lnTo>
                <a:lnTo>
                  <a:pt x="317" y="109"/>
                </a:lnTo>
                <a:lnTo>
                  <a:pt x="321" y="116"/>
                </a:lnTo>
                <a:lnTo>
                  <a:pt x="324" y="122"/>
                </a:lnTo>
                <a:lnTo>
                  <a:pt x="330" y="128"/>
                </a:lnTo>
                <a:lnTo>
                  <a:pt x="334" y="134"/>
                </a:lnTo>
                <a:lnTo>
                  <a:pt x="338" y="141"/>
                </a:lnTo>
                <a:lnTo>
                  <a:pt x="344" y="147"/>
                </a:lnTo>
                <a:lnTo>
                  <a:pt x="347" y="153"/>
                </a:lnTo>
                <a:lnTo>
                  <a:pt x="351" y="158"/>
                </a:lnTo>
                <a:lnTo>
                  <a:pt x="355" y="166"/>
                </a:lnTo>
                <a:lnTo>
                  <a:pt x="359" y="174"/>
                </a:lnTo>
                <a:lnTo>
                  <a:pt x="363" y="181"/>
                </a:lnTo>
                <a:lnTo>
                  <a:pt x="366" y="189"/>
                </a:lnTo>
                <a:lnTo>
                  <a:pt x="370" y="199"/>
                </a:lnTo>
                <a:lnTo>
                  <a:pt x="372" y="208"/>
                </a:lnTo>
                <a:lnTo>
                  <a:pt x="372" y="208"/>
                </a:lnTo>
                <a:lnTo>
                  <a:pt x="374" y="212"/>
                </a:lnTo>
                <a:lnTo>
                  <a:pt x="376" y="216"/>
                </a:lnTo>
                <a:lnTo>
                  <a:pt x="378" y="218"/>
                </a:lnTo>
                <a:lnTo>
                  <a:pt x="382" y="221"/>
                </a:lnTo>
                <a:lnTo>
                  <a:pt x="384" y="225"/>
                </a:lnTo>
                <a:lnTo>
                  <a:pt x="386" y="227"/>
                </a:lnTo>
                <a:lnTo>
                  <a:pt x="387" y="231"/>
                </a:lnTo>
                <a:lnTo>
                  <a:pt x="387" y="235"/>
                </a:lnTo>
                <a:lnTo>
                  <a:pt x="387" y="235"/>
                </a:lnTo>
                <a:lnTo>
                  <a:pt x="387" y="239"/>
                </a:lnTo>
                <a:lnTo>
                  <a:pt x="386" y="242"/>
                </a:lnTo>
                <a:lnTo>
                  <a:pt x="386" y="248"/>
                </a:lnTo>
                <a:lnTo>
                  <a:pt x="384" y="252"/>
                </a:lnTo>
                <a:lnTo>
                  <a:pt x="382" y="258"/>
                </a:lnTo>
                <a:lnTo>
                  <a:pt x="380" y="261"/>
                </a:lnTo>
                <a:lnTo>
                  <a:pt x="380" y="265"/>
                </a:lnTo>
                <a:lnTo>
                  <a:pt x="378" y="267"/>
                </a:lnTo>
                <a:lnTo>
                  <a:pt x="378" y="267"/>
                </a:lnTo>
                <a:lnTo>
                  <a:pt x="380" y="271"/>
                </a:lnTo>
                <a:lnTo>
                  <a:pt x="380" y="275"/>
                </a:lnTo>
                <a:lnTo>
                  <a:pt x="384" y="281"/>
                </a:lnTo>
                <a:lnTo>
                  <a:pt x="386" y="284"/>
                </a:lnTo>
                <a:lnTo>
                  <a:pt x="389" y="288"/>
                </a:lnTo>
                <a:lnTo>
                  <a:pt x="393" y="292"/>
                </a:lnTo>
                <a:lnTo>
                  <a:pt x="397" y="296"/>
                </a:lnTo>
                <a:lnTo>
                  <a:pt x="403" y="300"/>
                </a:lnTo>
                <a:lnTo>
                  <a:pt x="407" y="303"/>
                </a:lnTo>
                <a:lnTo>
                  <a:pt x="410" y="307"/>
                </a:lnTo>
                <a:lnTo>
                  <a:pt x="414" y="311"/>
                </a:lnTo>
                <a:lnTo>
                  <a:pt x="418" y="315"/>
                </a:lnTo>
                <a:lnTo>
                  <a:pt x="422" y="321"/>
                </a:lnTo>
                <a:lnTo>
                  <a:pt x="424" y="326"/>
                </a:lnTo>
                <a:lnTo>
                  <a:pt x="426" y="332"/>
                </a:lnTo>
                <a:lnTo>
                  <a:pt x="426" y="338"/>
                </a:lnTo>
                <a:lnTo>
                  <a:pt x="426" y="338"/>
                </a:lnTo>
                <a:lnTo>
                  <a:pt x="426" y="344"/>
                </a:lnTo>
                <a:lnTo>
                  <a:pt x="424" y="347"/>
                </a:lnTo>
                <a:lnTo>
                  <a:pt x="422" y="353"/>
                </a:lnTo>
                <a:lnTo>
                  <a:pt x="420" y="357"/>
                </a:lnTo>
                <a:lnTo>
                  <a:pt x="416" y="361"/>
                </a:lnTo>
                <a:lnTo>
                  <a:pt x="416" y="364"/>
                </a:lnTo>
                <a:lnTo>
                  <a:pt x="416" y="368"/>
                </a:lnTo>
                <a:lnTo>
                  <a:pt x="418" y="374"/>
                </a:lnTo>
                <a:lnTo>
                  <a:pt x="420" y="374"/>
                </a:lnTo>
                <a:lnTo>
                  <a:pt x="414" y="372"/>
                </a:lnTo>
              </a:path>
            </a:pathLst>
          </a:custGeom>
          <a:solidFill>
            <a:schemeClr val="bg2"/>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0" name="Freeform 40"/>
          <p:cNvSpPr>
            <a:spLocks/>
          </p:cNvSpPr>
          <p:nvPr/>
        </p:nvSpPr>
        <p:spPr bwMode="auto">
          <a:xfrm>
            <a:off x="682625" y="2905027"/>
            <a:ext cx="198438" cy="49213"/>
          </a:xfrm>
          <a:custGeom>
            <a:avLst/>
            <a:gdLst>
              <a:gd name="T0" fmla="*/ 9 w 221"/>
              <a:gd name="T1" fmla="*/ 17 h 55"/>
              <a:gd name="T2" fmla="*/ 6 w 221"/>
              <a:gd name="T3" fmla="*/ 25 h 55"/>
              <a:gd name="T4" fmla="*/ 4 w 221"/>
              <a:gd name="T5" fmla="*/ 32 h 55"/>
              <a:gd name="T6" fmla="*/ 2 w 221"/>
              <a:gd name="T7" fmla="*/ 40 h 55"/>
              <a:gd name="T8" fmla="*/ 0 w 221"/>
              <a:gd name="T9" fmla="*/ 47 h 55"/>
              <a:gd name="T10" fmla="*/ 27 w 221"/>
              <a:gd name="T11" fmla="*/ 47 h 55"/>
              <a:gd name="T12" fmla="*/ 29 w 221"/>
              <a:gd name="T13" fmla="*/ 49 h 55"/>
              <a:gd name="T14" fmla="*/ 34 w 221"/>
              <a:gd name="T15" fmla="*/ 53 h 55"/>
              <a:gd name="T16" fmla="*/ 40 w 221"/>
              <a:gd name="T17" fmla="*/ 55 h 55"/>
              <a:gd name="T18" fmla="*/ 48 w 221"/>
              <a:gd name="T19" fmla="*/ 55 h 55"/>
              <a:gd name="T20" fmla="*/ 50 w 221"/>
              <a:gd name="T21" fmla="*/ 55 h 55"/>
              <a:gd name="T22" fmla="*/ 59 w 221"/>
              <a:gd name="T23" fmla="*/ 55 h 55"/>
              <a:gd name="T24" fmla="*/ 69 w 221"/>
              <a:gd name="T25" fmla="*/ 51 h 55"/>
              <a:gd name="T26" fmla="*/ 78 w 221"/>
              <a:gd name="T27" fmla="*/ 47 h 55"/>
              <a:gd name="T28" fmla="*/ 88 w 221"/>
              <a:gd name="T29" fmla="*/ 42 h 55"/>
              <a:gd name="T30" fmla="*/ 95 w 221"/>
              <a:gd name="T31" fmla="*/ 38 h 55"/>
              <a:gd name="T32" fmla="*/ 105 w 221"/>
              <a:gd name="T33" fmla="*/ 34 h 55"/>
              <a:gd name="T34" fmla="*/ 114 w 221"/>
              <a:gd name="T35" fmla="*/ 30 h 55"/>
              <a:gd name="T36" fmla="*/ 124 w 221"/>
              <a:gd name="T37" fmla="*/ 30 h 55"/>
              <a:gd name="T38" fmla="*/ 132 w 221"/>
              <a:gd name="T39" fmla="*/ 30 h 55"/>
              <a:gd name="T40" fmla="*/ 147 w 221"/>
              <a:gd name="T41" fmla="*/ 38 h 55"/>
              <a:gd name="T42" fmla="*/ 160 w 221"/>
              <a:gd name="T43" fmla="*/ 47 h 55"/>
              <a:gd name="T44" fmla="*/ 177 w 221"/>
              <a:gd name="T45" fmla="*/ 55 h 55"/>
              <a:gd name="T46" fmla="*/ 187 w 221"/>
              <a:gd name="T47" fmla="*/ 55 h 55"/>
              <a:gd name="T48" fmla="*/ 198 w 221"/>
              <a:gd name="T49" fmla="*/ 55 h 55"/>
              <a:gd name="T50" fmla="*/ 208 w 221"/>
              <a:gd name="T51" fmla="*/ 55 h 55"/>
              <a:gd name="T52" fmla="*/ 214 w 221"/>
              <a:gd name="T53" fmla="*/ 55 h 55"/>
              <a:gd name="T54" fmla="*/ 221 w 221"/>
              <a:gd name="T55" fmla="*/ 55 h 55"/>
              <a:gd name="T56" fmla="*/ 221 w 221"/>
              <a:gd name="T57" fmla="*/ 36 h 55"/>
              <a:gd name="T58" fmla="*/ 217 w 221"/>
              <a:gd name="T59" fmla="*/ 32 h 55"/>
              <a:gd name="T60" fmla="*/ 212 w 221"/>
              <a:gd name="T61" fmla="*/ 30 h 55"/>
              <a:gd name="T62" fmla="*/ 208 w 221"/>
              <a:gd name="T63" fmla="*/ 26 h 55"/>
              <a:gd name="T64" fmla="*/ 204 w 221"/>
              <a:gd name="T65" fmla="*/ 26 h 55"/>
              <a:gd name="T66" fmla="*/ 200 w 221"/>
              <a:gd name="T67" fmla="*/ 26 h 55"/>
              <a:gd name="T68" fmla="*/ 194 w 221"/>
              <a:gd name="T69" fmla="*/ 26 h 55"/>
              <a:gd name="T70" fmla="*/ 189 w 221"/>
              <a:gd name="T71" fmla="*/ 26 h 55"/>
              <a:gd name="T72" fmla="*/ 183 w 221"/>
              <a:gd name="T73" fmla="*/ 26 h 55"/>
              <a:gd name="T74" fmla="*/ 179 w 221"/>
              <a:gd name="T75" fmla="*/ 26 h 55"/>
              <a:gd name="T76" fmla="*/ 170 w 221"/>
              <a:gd name="T77" fmla="*/ 23 h 55"/>
              <a:gd name="T78" fmla="*/ 158 w 221"/>
              <a:gd name="T79" fmla="*/ 13 h 55"/>
              <a:gd name="T80" fmla="*/ 143 w 221"/>
              <a:gd name="T81" fmla="*/ 4 h 55"/>
              <a:gd name="T82" fmla="*/ 124 w 221"/>
              <a:gd name="T83" fmla="*/ 0 h 55"/>
              <a:gd name="T84" fmla="*/ 118 w 221"/>
              <a:gd name="T85" fmla="*/ 0 h 55"/>
              <a:gd name="T86" fmla="*/ 107 w 221"/>
              <a:gd name="T87" fmla="*/ 2 h 55"/>
              <a:gd name="T88" fmla="*/ 97 w 221"/>
              <a:gd name="T89" fmla="*/ 5 h 55"/>
              <a:gd name="T90" fmla="*/ 86 w 221"/>
              <a:gd name="T91" fmla="*/ 7 h 55"/>
              <a:gd name="T92" fmla="*/ 76 w 221"/>
              <a:gd name="T93" fmla="*/ 11 h 55"/>
              <a:gd name="T94" fmla="*/ 65 w 221"/>
              <a:gd name="T95" fmla="*/ 15 h 55"/>
              <a:gd name="T96" fmla="*/ 53 w 221"/>
              <a:gd name="T97" fmla="*/ 19 h 55"/>
              <a:gd name="T98" fmla="*/ 42 w 221"/>
              <a:gd name="T99" fmla="*/ 19 h 55"/>
              <a:gd name="T100" fmla="*/ 36 w 221"/>
              <a:gd name="T101" fmla="*/ 21 h 55"/>
              <a:gd name="T102" fmla="*/ 29 w 221"/>
              <a:gd name="T103" fmla="*/ 21 h 55"/>
              <a:gd name="T104" fmla="*/ 21 w 221"/>
              <a:gd name="T105" fmla="*/ 19 h 55"/>
              <a:gd name="T106" fmla="*/ 15 w 221"/>
              <a:gd name="T107" fmla="*/ 19 h 55"/>
              <a:gd name="T108" fmla="*/ 9 w 221"/>
              <a:gd name="T109" fmla="*/ 2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1" h="55">
                <a:moveTo>
                  <a:pt x="9" y="17"/>
                </a:moveTo>
                <a:lnTo>
                  <a:pt x="9" y="17"/>
                </a:lnTo>
                <a:lnTo>
                  <a:pt x="8" y="21"/>
                </a:lnTo>
                <a:lnTo>
                  <a:pt x="6" y="25"/>
                </a:lnTo>
                <a:lnTo>
                  <a:pt x="4" y="28"/>
                </a:lnTo>
                <a:lnTo>
                  <a:pt x="4" y="32"/>
                </a:lnTo>
                <a:lnTo>
                  <a:pt x="2" y="36"/>
                </a:lnTo>
                <a:lnTo>
                  <a:pt x="2" y="40"/>
                </a:lnTo>
                <a:lnTo>
                  <a:pt x="0" y="44"/>
                </a:lnTo>
                <a:lnTo>
                  <a:pt x="0" y="47"/>
                </a:lnTo>
                <a:lnTo>
                  <a:pt x="0" y="47"/>
                </a:lnTo>
                <a:lnTo>
                  <a:pt x="27" y="47"/>
                </a:lnTo>
                <a:lnTo>
                  <a:pt x="27" y="47"/>
                </a:lnTo>
                <a:lnTo>
                  <a:pt x="29" y="49"/>
                </a:lnTo>
                <a:lnTo>
                  <a:pt x="32" y="51"/>
                </a:lnTo>
                <a:lnTo>
                  <a:pt x="34" y="53"/>
                </a:lnTo>
                <a:lnTo>
                  <a:pt x="38" y="53"/>
                </a:lnTo>
                <a:lnTo>
                  <a:pt x="40" y="55"/>
                </a:lnTo>
                <a:lnTo>
                  <a:pt x="44" y="55"/>
                </a:lnTo>
                <a:lnTo>
                  <a:pt x="48" y="55"/>
                </a:lnTo>
                <a:lnTo>
                  <a:pt x="50" y="55"/>
                </a:lnTo>
                <a:lnTo>
                  <a:pt x="50" y="55"/>
                </a:lnTo>
                <a:lnTo>
                  <a:pt x="55" y="55"/>
                </a:lnTo>
                <a:lnTo>
                  <a:pt x="59" y="55"/>
                </a:lnTo>
                <a:lnTo>
                  <a:pt x="65" y="53"/>
                </a:lnTo>
                <a:lnTo>
                  <a:pt x="69" y="51"/>
                </a:lnTo>
                <a:lnTo>
                  <a:pt x="74" y="49"/>
                </a:lnTo>
                <a:lnTo>
                  <a:pt x="78" y="47"/>
                </a:lnTo>
                <a:lnTo>
                  <a:pt x="82" y="46"/>
                </a:lnTo>
                <a:lnTo>
                  <a:pt x="88" y="42"/>
                </a:lnTo>
                <a:lnTo>
                  <a:pt x="91" y="40"/>
                </a:lnTo>
                <a:lnTo>
                  <a:pt x="95" y="38"/>
                </a:lnTo>
                <a:lnTo>
                  <a:pt x="101" y="36"/>
                </a:lnTo>
                <a:lnTo>
                  <a:pt x="105" y="34"/>
                </a:lnTo>
                <a:lnTo>
                  <a:pt x="109" y="32"/>
                </a:lnTo>
                <a:lnTo>
                  <a:pt x="114" y="30"/>
                </a:lnTo>
                <a:lnTo>
                  <a:pt x="118" y="30"/>
                </a:lnTo>
                <a:lnTo>
                  <a:pt x="124" y="30"/>
                </a:lnTo>
                <a:lnTo>
                  <a:pt x="124" y="30"/>
                </a:lnTo>
                <a:lnTo>
                  <a:pt x="132" y="30"/>
                </a:lnTo>
                <a:lnTo>
                  <a:pt x="139" y="34"/>
                </a:lnTo>
                <a:lnTo>
                  <a:pt x="147" y="38"/>
                </a:lnTo>
                <a:lnTo>
                  <a:pt x="153" y="42"/>
                </a:lnTo>
                <a:lnTo>
                  <a:pt x="160" y="47"/>
                </a:lnTo>
                <a:lnTo>
                  <a:pt x="170" y="51"/>
                </a:lnTo>
                <a:lnTo>
                  <a:pt x="177" y="55"/>
                </a:lnTo>
                <a:lnTo>
                  <a:pt x="187" y="55"/>
                </a:lnTo>
                <a:lnTo>
                  <a:pt x="187" y="55"/>
                </a:lnTo>
                <a:lnTo>
                  <a:pt x="193" y="55"/>
                </a:lnTo>
                <a:lnTo>
                  <a:pt x="198" y="55"/>
                </a:lnTo>
                <a:lnTo>
                  <a:pt x="202" y="55"/>
                </a:lnTo>
                <a:lnTo>
                  <a:pt x="208" y="55"/>
                </a:lnTo>
                <a:lnTo>
                  <a:pt x="212" y="53"/>
                </a:lnTo>
                <a:lnTo>
                  <a:pt x="214" y="55"/>
                </a:lnTo>
                <a:lnTo>
                  <a:pt x="217" y="55"/>
                </a:lnTo>
                <a:lnTo>
                  <a:pt x="221" y="55"/>
                </a:lnTo>
                <a:lnTo>
                  <a:pt x="221" y="36"/>
                </a:lnTo>
                <a:lnTo>
                  <a:pt x="221" y="36"/>
                </a:lnTo>
                <a:lnTo>
                  <a:pt x="219" y="34"/>
                </a:lnTo>
                <a:lnTo>
                  <a:pt x="217" y="32"/>
                </a:lnTo>
                <a:lnTo>
                  <a:pt x="215" y="30"/>
                </a:lnTo>
                <a:lnTo>
                  <a:pt x="212" y="30"/>
                </a:lnTo>
                <a:lnTo>
                  <a:pt x="210" y="28"/>
                </a:lnTo>
                <a:lnTo>
                  <a:pt x="208" y="26"/>
                </a:lnTo>
                <a:lnTo>
                  <a:pt x="206" y="26"/>
                </a:lnTo>
                <a:lnTo>
                  <a:pt x="204" y="26"/>
                </a:lnTo>
                <a:lnTo>
                  <a:pt x="204" y="26"/>
                </a:lnTo>
                <a:lnTo>
                  <a:pt x="200" y="26"/>
                </a:lnTo>
                <a:lnTo>
                  <a:pt x="196" y="26"/>
                </a:lnTo>
                <a:lnTo>
                  <a:pt x="194" y="26"/>
                </a:lnTo>
                <a:lnTo>
                  <a:pt x="193" y="26"/>
                </a:lnTo>
                <a:lnTo>
                  <a:pt x="189" y="26"/>
                </a:lnTo>
                <a:lnTo>
                  <a:pt x="187" y="26"/>
                </a:lnTo>
                <a:lnTo>
                  <a:pt x="183" y="26"/>
                </a:lnTo>
                <a:lnTo>
                  <a:pt x="179" y="26"/>
                </a:lnTo>
                <a:lnTo>
                  <a:pt x="179" y="26"/>
                </a:lnTo>
                <a:lnTo>
                  <a:pt x="175" y="25"/>
                </a:lnTo>
                <a:lnTo>
                  <a:pt x="170" y="23"/>
                </a:lnTo>
                <a:lnTo>
                  <a:pt x="164" y="17"/>
                </a:lnTo>
                <a:lnTo>
                  <a:pt x="158" y="13"/>
                </a:lnTo>
                <a:lnTo>
                  <a:pt x="151" y="7"/>
                </a:lnTo>
                <a:lnTo>
                  <a:pt x="143" y="4"/>
                </a:lnTo>
                <a:lnTo>
                  <a:pt x="133" y="2"/>
                </a:lnTo>
                <a:lnTo>
                  <a:pt x="124" y="0"/>
                </a:lnTo>
                <a:lnTo>
                  <a:pt x="124" y="0"/>
                </a:lnTo>
                <a:lnTo>
                  <a:pt x="118" y="0"/>
                </a:lnTo>
                <a:lnTo>
                  <a:pt x="112" y="2"/>
                </a:lnTo>
                <a:lnTo>
                  <a:pt x="107" y="2"/>
                </a:lnTo>
                <a:lnTo>
                  <a:pt x="103" y="4"/>
                </a:lnTo>
                <a:lnTo>
                  <a:pt x="97" y="5"/>
                </a:lnTo>
                <a:lnTo>
                  <a:pt x="91" y="5"/>
                </a:lnTo>
                <a:lnTo>
                  <a:pt x="86" y="7"/>
                </a:lnTo>
                <a:lnTo>
                  <a:pt x="80" y="9"/>
                </a:lnTo>
                <a:lnTo>
                  <a:pt x="76" y="11"/>
                </a:lnTo>
                <a:lnTo>
                  <a:pt x="70" y="13"/>
                </a:lnTo>
                <a:lnTo>
                  <a:pt x="65" y="15"/>
                </a:lnTo>
                <a:lnTo>
                  <a:pt x="59" y="17"/>
                </a:lnTo>
                <a:lnTo>
                  <a:pt x="53" y="19"/>
                </a:lnTo>
                <a:lnTo>
                  <a:pt x="48" y="19"/>
                </a:lnTo>
                <a:lnTo>
                  <a:pt x="42" y="19"/>
                </a:lnTo>
                <a:lnTo>
                  <a:pt x="36" y="21"/>
                </a:lnTo>
                <a:lnTo>
                  <a:pt x="36" y="21"/>
                </a:lnTo>
                <a:lnTo>
                  <a:pt x="32" y="21"/>
                </a:lnTo>
                <a:lnTo>
                  <a:pt x="29" y="21"/>
                </a:lnTo>
                <a:lnTo>
                  <a:pt x="25" y="19"/>
                </a:lnTo>
                <a:lnTo>
                  <a:pt x="21" y="19"/>
                </a:lnTo>
                <a:lnTo>
                  <a:pt x="17" y="19"/>
                </a:lnTo>
                <a:lnTo>
                  <a:pt x="15" y="19"/>
                </a:lnTo>
                <a:lnTo>
                  <a:pt x="11" y="19"/>
                </a:lnTo>
                <a:lnTo>
                  <a:pt x="9" y="21"/>
                </a:lnTo>
                <a:lnTo>
                  <a:pt x="9" y="17"/>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1" name="Freeform 41"/>
          <p:cNvSpPr>
            <a:spLocks/>
          </p:cNvSpPr>
          <p:nvPr/>
        </p:nvSpPr>
        <p:spPr bwMode="auto">
          <a:xfrm>
            <a:off x="730250" y="1981102"/>
            <a:ext cx="849313" cy="873125"/>
          </a:xfrm>
          <a:custGeom>
            <a:avLst/>
            <a:gdLst>
              <a:gd name="T0" fmla="*/ 300 w 945"/>
              <a:gd name="T1" fmla="*/ 998 h 1000"/>
              <a:gd name="T2" fmla="*/ 328 w 945"/>
              <a:gd name="T3" fmla="*/ 980 h 1000"/>
              <a:gd name="T4" fmla="*/ 336 w 945"/>
              <a:gd name="T5" fmla="*/ 946 h 1000"/>
              <a:gd name="T6" fmla="*/ 361 w 945"/>
              <a:gd name="T7" fmla="*/ 929 h 1000"/>
              <a:gd name="T8" fmla="*/ 388 w 945"/>
              <a:gd name="T9" fmla="*/ 952 h 1000"/>
              <a:gd name="T10" fmla="*/ 405 w 945"/>
              <a:gd name="T11" fmla="*/ 965 h 1000"/>
              <a:gd name="T12" fmla="*/ 420 w 945"/>
              <a:gd name="T13" fmla="*/ 952 h 1000"/>
              <a:gd name="T14" fmla="*/ 441 w 945"/>
              <a:gd name="T15" fmla="*/ 952 h 1000"/>
              <a:gd name="T16" fmla="*/ 468 w 945"/>
              <a:gd name="T17" fmla="*/ 959 h 1000"/>
              <a:gd name="T18" fmla="*/ 496 w 945"/>
              <a:gd name="T19" fmla="*/ 959 h 1000"/>
              <a:gd name="T20" fmla="*/ 517 w 945"/>
              <a:gd name="T21" fmla="*/ 938 h 1000"/>
              <a:gd name="T22" fmla="*/ 523 w 945"/>
              <a:gd name="T23" fmla="*/ 944 h 1000"/>
              <a:gd name="T24" fmla="*/ 809 w 945"/>
              <a:gd name="T25" fmla="*/ 965 h 1000"/>
              <a:gd name="T26" fmla="*/ 702 w 945"/>
              <a:gd name="T27" fmla="*/ 0 h 1000"/>
              <a:gd name="T28" fmla="*/ 405 w 945"/>
              <a:gd name="T29" fmla="*/ 294 h 1000"/>
              <a:gd name="T30" fmla="*/ 376 w 945"/>
              <a:gd name="T31" fmla="*/ 305 h 1000"/>
              <a:gd name="T32" fmla="*/ 351 w 945"/>
              <a:gd name="T33" fmla="*/ 318 h 1000"/>
              <a:gd name="T34" fmla="*/ 328 w 945"/>
              <a:gd name="T35" fmla="*/ 334 h 1000"/>
              <a:gd name="T36" fmla="*/ 21 w 945"/>
              <a:gd name="T37" fmla="*/ 442 h 1000"/>
              <a:gd name="T38" fmla="*/ 10 w 945"/>
              <a:gd name="T39" fmla="*/ 458 h 1000"/>
              <a:gd name="T40" fmla="*/ 16 w 945"/>
              <a:gd name="T41" fmla="*/ 456 h 1000"/>
              <a:gd name="T42" fmla="*/ 31 w 945"/>
              <a:gd name="T43" fmla="*/ 448 h 1000"/>
              <a:gd name="T44" fmla="*/ 52 w 945"/>
              <a:gd name="T45" fmla="*/ 479 h 1000"/>
              <a:gd name="T46" fmla="*/ 67 w 945"/>
              <a:gd name="T47" fmla="*/ 509 h 1000"/>
              <a:gd name="T48" fmla="*/ 59 w 945"/>
              <a:gd name="T49" fmla="*/ 536 h 1000"/>
              <a:gd name="T50" fmla="*/ 46 w 945"/>
              <a:gd name="T51" fmla="*/ 559 h 1000"/>
              <a:gd name="T52" fmla="*/ 37 w 945"/>
              <a:gd name="T53" fmla="*/ 584 h 1000"/>
              <a:gd name="T54" fmla="*/ 40 w 945"/>
              <a:gd name="T55" fmla="*/ 607 h 1000"/>
              <a:gd name="T56" fmla="*/ 50 w 945"/>
              <a:gd name="T57" fmla="*/ 631 h 1000"/>
              <a:gd name="T58" fmla="*/ 50 w 945"/>
              <a:gd name="T59" fmla="*/ 650 h 1000"/>
              <a:gd name="T60" fmla="*/ 50 w 945"/>
              <a:gd name="T61" fmla="*/ 673 h 1000"/>
              <a:gd name="T62" fmla="*/ 50 w 945"/>
              <a:gd name="T63" fmla="*/ 706 h 1000"/>
              <a:gd name="T64" fmla="*/ 44 w 945"/>
              <a:gd name="T65" fmla="*/ 734 h 1000"/>
              <a:gd name="T66" fmla="*/ 23 w 945"/>
              <a:gd name="T67" fmla="*/ 769 h 1000"/>
              <a:gd name="T68" fmla="*/ 8 w 945"/>
              <a:gd name="T69" fmla="*/ 807 h 1000"/>
              <a:gd name="T70" fmla="*/ 2 w 945"/>
              <a:gd name="T71" fmla="*/ 830 h 1000"/>
              <a:gd name="T72" fmla="*/ 2 w 945"/>
              <a:gd name="T73" fmla="*/ 841 h 1000"/>
              <a:gd name="T74" fmla="*/ 2 w 945"/>
              <a:gd name="T75" fmla="*/ 845 h 1000"/>
              <a:gd name="T76" fmla="*/ 17 w 945"/>
              <a:gd name="T77" fmla="*/ 834 h 1000"/>
              <a:gd name="T78" fmla="*/ 35 w 945"/>
              <a:gd name="T79" fmla="*/ 832 h 1000"/>
              <a:gd name="T80" fmla="*/ 48 w 945"/>
              <a:gd name="T81" fmla="*/ 832 h 1000"/>
              <a:gd name="T82" fmla="*/ 69 w 945"/>
              <a:gd name="T83" fmla="*/ 830 h 1000"/>
              <a:gd name="T84" fmla="*/ 109 w 945"/>
              <a:gd name="T85" fmla="*/ 822 h 1000"/>
              <a:gd name="T86" fmla="*/ 136 w 945"/>
              <a:gd name="T87" fmla="*/ 828 h 1000"/>
              <a:gd name="T88" fmla="*/ 157 w 945"/>
              <a:gd name="T89" fmla="*/ 841 h 1000"/>
              <a:gd name="T90" fmla="*/ 172 w 945"/>
              <a:gd name="T91" fmla="*/ 860 h 1000"/>
              <a:gd name="T92" fmla="*/ 187 w 945"/>
              <a:gd name="T93" fmla="*/ 876 h 1000"/>
              <a:gd name="T94" fmla="*/ 214 w 945"/>
              <a:gd name="T95" fmla="*/ 883 h 1000"/>
              <a:gd name="T96" fmla="*/ 225 w 945"/>
              <a:gd name="T97" fmla="*/ 897 h 1000"/>
              <a:gd name="T98" fmla="*/ 227 w 945"/>
              <a:gd name="T99" fmla="*/ 917 h 1000"/>
              <a:gd name="T100" fmla="*/ 241 w 945"/>
              <a:gd name="T101" fmla="*/ 938 h 1000"/>
              <a:gd name="T102" fmla="*/ 260 w 945"/>
              <a:gd name="T103" fmla="*/ 963 h 1000"/>
              <a:gd name="T104" fmla="*/ 275 w 945"/>
              <a:gd name="T105" fmla="*/ 988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5" h="1000">
                <a:moveTo>
                  <a:pt x="281" y="1000"/>
                </a:moveTo>
                <a:lnTo>
                  <a:pt x="281" y="1000"/>
                </a:lnTo>
                <a:lnTo>
                  <a:pt x="286" y="1000"/>
                </a:lnTo>
                <a:lnTo>
                  <a:pt x="292" y="1000"/>
                </a:lnTo>
                <a:lnTo>
                  <a:pt x="300" y="998"/>
                </a:lnTo>
                <a:lnTo>
                  <a:pt x="307" y="996"/>
                </a:lnTo>
                <a:lnTo>
                  <a:pt x="315" y="994"/>
                </a:lnTo>
                <a:lnTo>
                  <a:pt x="321" y="990"/>
                </a:lnTo>
                <a:lnTo>
                  <a:pt x="325" y="986"/>
                </a:lnTo>
                <a:lnTo>
                  <a:pt x="328" y="980"/>
                </a:lnTo>
                <a:lnTo>
                  <a:pt x="328" y="980"/>
                </a:lnTo>
                <a:lnTo>
                  <a:pt x="330" y="973"/>
                </a:lnTo>
                <a:lnTo>
                  <a:pt x="330" y="963"/>
                </a:lnTo>
                <a:lnTo>
                  <a:pt x="332" y="956"/>
                </a:lnTo>
                <a:lnTo>
                  <a:pt x="336" y="946"/>
                </a:lnTo>
                <a:lnTo>
                  <a:pt x="338" y="940"/>
                </a:lnTo>
                <a:lnTo>
                  <a:pt x="344" y="935"/>
                </a:lnTo>
                <a:lnTo>
                  <a:pt x="351" y="931"/>
                </a:lnTo>
                <a:lnTo>
                  <a:pt x="361" y="929"/>
                </a:lnTo>
                <a:lnTo>
                  <a:pt x="361" y="929"/>
                </a:lnTo>
                <a:lnTo>
                  <a:pt x="368" y="931"/>
                </a:lnTo>
                <a:lnTo>
                  <a:pt x="374" y="935"/>
                </a:lnTo>
                <a:lnTo>
                  <a:pt x="378" y="938"/>
                </a:lnTo>
                <a:lnTo>
                  <a:pt x="384" y="946"/>
                </a:lnTo>
                <a:lnTo>
                  <a:pt x="388" y="952"/>
                </a:lnTo>
                <a:lnTo>
                  <a:pt x="391" y="958"/>
                </a:lnTo>
                <a:lnTo>
                  <a:pt x="397" y="963"/>
                </a:lnTo>
                <a:lnTo>
                  <a:pt x="403" y="969"/>
                </a:lnTo>
                <a:lnTo>
                  <a:pt x="403" y="969"/>
                </a:lnTo>
                <a:lnTo>
                  <a:pt x="405" y="965"/>
                </a:lnTo>
                <a:lnTo>
                  <a:pt x="407" y="963"/>
                </a:lnTo>
                <a:lnTo>
                  <a:pt x="410" y="959"/>
                </a:lnTo>
                <a:lnTo>
                  <a:pt x="412" y="958"/>
                </a:lnTo>
                <a:lnTo>
                  <a:pt x="416" y="954"/>
                </a:lnTo>
                <a:lnTo>
                  <a:pt x="420" y="952"/>
                </a:lnTo>
                <a:lnTo>
                  <a:pt x="424" y="952"/>
                </a:lnTo>
                <a:lnTo>
                  <a:pt x="428" y="950"/>
                </a:lnTo>
                <a:lnTo>
                  <a:pt x="428" y="950"/>
                </a:lnTo>
                <a:lnTo>
                  <a:pt x="435" y="952"/>
                </a:lnTo>
                <a:lnTo>
                  <a:pt x="441" y="952"/>
                </a:lnTo>
                <a:lnTo>
                  <a:pt x="445" y="954"/>
                </a:lnTo>
                <a:lnTo>
                  <a:pt x="450" y="956"/>
                </a:lnTo>
                <a:lnTo>
                  <a:pt x="456" y="956"/>
                </a:lnTo>
                <a:lnTo>
                  <a:pt x="462" y="958"/>
                </a:lnTo>
                <a:lnTo>
                  <a:pt x="468" y="959"/>
                </a:lnTo>
                <a:lnTo>
                  <a:pt x="475" y="959"/>
                </a:lnTo>
                <a:lnTo>
                  <a:pt x="475" y="959"/>
                </a:lnTo>
                <a:lnTo>
                  <a:pt x="483" y="959"/>
                </a:lnTo>
                <a:lnTo>
                  <a:pt x="491" y="959"/>
                </a:lnTo>
                <a:lnTo>
                  <a:pt x="496" y="959"/>
                </a:lnTo>
                <a:lnTo>
                  <a:pt x="502" y="958"/>
                </a:lnTo>
                <a:lnTo>
                  <a:pt x="508" y="956"/>
                </a:lnTo>
                <a:lnTo>
                  <a:pt x="512" y="952"/>
                </a:lnTo>
                <a:lnTo>
                  <a:pt x="515" y="946"/>
                </a:lnTo>
                <a:lnTo>
                  <a:pt x="517" y="938"/>
                </a:lnTo>
                <a:lnTo>
                  <a:pt x="517" y="938"/>
                </a:lnTo>
                <a:lnTo>
                  <a:pt x="519" y="938"/>
                </a:lnTo>
                <a:lnTo>
                  <a:pt x="519" y="940"/>
                </a:lnTo>
                <a:lnTo>
                  <a:pt x="521" y="942"/>
                </a:lnTo>
                <a:lnTo>
                  <a:pt x="523" y="944"/>
                </a:lnTo>
                <a:lnTo>
                  <a:pt x="525" y="946"/>
                </a:lnTo>
                <a:lnTo>
                  <a:pt x="527" y="946"/>
                </a:lnTo>
                <a:lnTo>
                  <a:pt x="527" y="950"/>
                </a:lnTo>
                <a:lnTo>
                  <a:pt x="529" y="950"/>
                </a:lnTo>
                <a:lnTo>
                  <a:pt x="809" y="965"/>
                </a:lnTo>
                <a:lnTo>
                  <a:pt x="828" y="900"/>
                </a:lnTo>
                <a:lnTo>
                  <a:pt x="805" y="879"/>
                </a:lnTo>
                <a:lnTo>
                  <a:pt x="815" y="200"/>
                </a:lnTo>
                <a:lnTo>
                  <a:pt x="945" y="200"/>
                </a:lnTo>
                <a:lnTo>
                  <a:pt x="702" y="0"/>
                </a:lnTo>
                <a:lnTo>
                  <a:pt x="681" y="109"/>
                </a:lnTo>
                <a:lnTo>
                  <a:pt x="449" y="93"/>
                </a:lnTo>
                <a:lnTo>
                  <a:pt x="410" y="292"/>
                </a:lnTo>
                <a:lnTo>
                  <a:pt x="410" y="292"/>
                </a:lnTo>
                <a:lnTo>
                  <a:pt x="405" y="294"/>
                </a:lnTo>
                <a:lnTo>
                  <a:pt x="399" y="296"/>
                </a:lnTo>
                <a:lnTo>
                  <a:pt x="391" y="297"/>
                </a:lnTo>
                <a:lnTo>
                  <a:pt x="388" y="301"/>
                </a:lnTo>
                <a:lnTo>
                  <a:pt x="382" y="303"/>
                </a:lnTo>
                <a:lnTo>
                  <a:pt x="376" y="305"/>
                </a:lnTo>
                <a:lnTo>
                  <a:pt x="370" y="309"/>
                </a:lnTo>
                <a:lnTo>
                  <a:pt x="367" y="311"/>
                </a:lnTo>
                <a:lnTo>
                  <a:pt x="361" y="313"/>
                </a:lnTo>
                <a:lnTo>
                  <a:pt x="357" y="317"/>
                </a:lnTo>
                <a:lnTo>
                  <a:pt x="351" y="318"/>
                </a:lnTo>
                <a:lnTo>
                  <a:pt x="347" y="320"/>
                </a:lnTo>
                <a:lnTo>
                  <a:pt x="342" y="324"/>
                </a:lnTo>
                <a:lnTo>
                  <a:pt x="338" y="328"/>
                </a:lnTo>
                <a:lnTo>
                  <a:pt x="332" y="330"/>
                </a:lnTo>
                <a:lnTo>
                  <a:pt x="328" y="334"/>
                </a:lnTo>
                <a:lnTo>
                  <a:pt x="313" y="460"/>
                </a:lnTo>
                <a:lnTo>
                  <a:pt x="27" y="437"/>
                </a:lnTo>
                <a:lnTo>
                  <a:pt x="27" y="437"/>
                </a:lnTo>
                <a:lnTo>
                  <a:pt x="23" y="439"/>
                </a:lnTo>
                <a:lnTo>
                  <a:pt x="21" y="442"/>
                </a:lnTo>
                <a:lnTo>
                  <a:pt x="19" y="444"/>
                </a:lnTo>
                <a:lnTo>
                  <a:pt x="16" y="446"/>
                </a:lnTo>
                <a:lnTo>
                  <a:pt x="14" y="450"/>
                </a:lnTo>
                <a:lnTo>
                  <a:pt x="12" y="454"/>
                </a:lnTo>
                <a:lnTo>
                  <a:pt x="10" y="458"/>
                </a:lnTo>
                <a:lnTo>
                  <a:pt x="10" y="462"/>
                </a:lnTo>
                <a:lnTo>
                  <a:pt x="10" y="462"/>
                </a:lnTo>
                <a:lnTo>
                  <a:pt x="10" y="460"/>
                </a:lnTo>
                <a:lnTo>
                  <a:pt x="14" y="458"/>
                </a:lnTo>
                <a:lnTo>
                  <a:pt x="16" y="456"/>
                </a:lnTo>
                <a:lnTo>
                  <a:pt x="17" y="454"/>
                </a:lnTo>
                <a:lnTo>
                  <a:pt x="19" y="452"/>
                </a:lnTo>
                <a:lnTo>
                  <a:pt x="23" y="450"/>
                </a:lnTo>
                <a:lnTo>
                  <a:pt x="27" y="448"/>
                </a:lnTo>
                <a:lnTo>
                  <a:pt x="31" y="448"/>
                </a:lnTo>
                <a:lnTo>
                  <a:pt x="31" y="448"/>
                </a:lnTo>
                <a:lnTo>
                  <a:pt x="35" y="452"/>
                </a:lnTo>
                <a:lnTo>
                  <a:pt x="38" y="460"/>
                </a:lnTo>
                <a:lnTo>
                  <a:pt x="44" y="469"/>
                </a:lnTo>
                <a:lnTo>
                  <a:pt x="52" y="479"/>
                </a:lnTo>
                <a:lnTo>
                  <a:pt x="58" y="490"/>
                </a:lnTo>
                <a:lnTo>
                  <a:pt x="63" y="498"/>
                </a:lnTo>
                <a:lnTo>
                  <a:pt x="67" y="505"/>
                </a:lnTo>
                <a:lnTo>
                  <a:pt x="67" y="509"/>
                </a:lnTo>
                <a:lnTo>
                  <a:pt x="67" y="509"/>
                </a:lnTo>
                <a:lnTo>
                  <a:pt x="67" y="517"/>
                </a:lnTo>
                <a:lnTo>
                  <a:pt x="67" y="523"/>
                </a:lnTo>
                <a:lnTo>
                  <a:pt x="65" y="526"/>
                </a:lnTo>
                <a:lnTo>
                  <a:pt x="63" y="532"/>
                </a:lnTo>
                <a:lnTo>
                  <a:pt x="59" y="536"/>
                </a:lnTo>
                <a:lnTo>
                  <a:pt x="58" y="542"/>
                </a:lnTo>
                <a:lnTo>
                  <a:pt x="56" y="545"/>
                </a:lnTo>
                <a:lnTo>
                  <a:pt x="52" y="549"/>
                </a:lnTo>
                <a:lnTo>
                  <a:pt x="48" y="555"/>
                </a:lnTo>
                <a:lnTo>
                  <a:pt x="46" y="559"/>
                </a:lnTo>
                <a:lnTo>
                  <a:pt x="44" y="563"/>
                </a:lnTo>
                <a:lnTo>
                  <a:pt x="40" y="566"/>
                </a:lnTo>
                <a:lnTo>
                  <a:pt x="38" y="572"/>
                </a:lnTo>
                <a:lnTo>
                  <a:pt x="37" y="578"/>
                </a:lnTo>
                <a:lnTo>
                  <a:pt x="37" y="584"/>
                </a:lnTo>
                <a:lnTo>
                  <a:pt x="37" y="589"/>
                </a:lnTo>
                <a:lnTo>
                  <a:pt x="37" y="589"/>
                </a:lnTo>
                <a:lnTo>
                  <a:pt x="37" y="595"/>
                </a:lnTo>
                <a:lnTo>
                  <a:pt x="38" y="601"/>
                </a:lnTo>
                <a:lnTo>
                  <a:pt x="40" y="607"/>
                </a:lnTo>
                <a:lnTo>
                  <a:pt x="44" y="610"/>
                </a:lnTo>
                <a:lnTo>
                  <a:pt x="46" y="616"/>
                </a:lnTo>
                <a:lnTo>
                  <a:pt x="48" y="620"/>
                </a:lnTo>
                <a:lnTo>
                  <a:pt x="50" y="626"/>
                </a:lnTo>
                <a:lnTo>
                  <a:pt x="50" y="631"/>
                </a:lnTo>
                <a:lnTo>
                  <a:pt x="50" y="631"/>
                </a:lnTo>
                <a:lnTo>
                  <a:pt x="50" y="637"/>
                </a:lnTo>
                <a:lnTo>
                  <a:pt x="50" y="641"/>
                </a:lnTo>
                <a:lnTo>
                  <a:pt x="50" y="647"/>
                </a:lnTo>
                <a:lnTo>
                  <a:pt x="50" y="650"/>
                </a:lnTo>
                <a:lnTo>
                  <a:pt x="50" y="654"/>
                </a:lnTo>
                <a:lnTo>
                  <a:pt x="50" y="658"/>
                </a:lnTo>
                <a:lnTo>
                  <a:pt x="50" y="664"/>
                </a:lnTo>
                <a:lnTo>
                  <a:pt x="50" y="668"/>
                </a:lnTo>
                <a:lnTo>
                  <a:pt x="50" y="673"/>
                </a:lnTo>
                <a:lnTo>
                  <a:pt x="50" y="677"/>
                </a:lnTo>
                <a:lnTo>
                  <a:pt x="50" y="683"/>
                </a:lnTo>
                <a:lnTo>
                  <a:pt x="50" y="690"/>
                </a:lnTo>
                <a:lnTo>
                  <a:pt x="50" y="698"/>
                </a:lnTo>
                <a:lnTo>
                  <a:pt x="50" y="706"/>
                </a:lnTo>
                <a:lnTo>
                  <a:pt x="50" y="715"/>
                </a:lnTo>
                <a:lnTo>
                  <a:pt x="50" y="727"/>
                </a:lnTo>
                <a:lnTo>
                  <a:pt x="50" y="727"/>
                </a:lnTo>
                <a:lnTo>
                  <a:pt x="48" y="731"/>
                </a:lnTo>
                <a:lnTo>
                  <a:pt x="44" y="734"/>
                </a:lnTo>
                <a:lnTo>
                  <a:pt x="38" y="740"/>
                </a:lnTo>
                <a:lnTo>
                  <a:pt x="35" y="748"/>
                </a:lnTo>
                <a:lnTo>
                  <a:pt x="31" y="753"/>
                </a:lnTo>
                <a:lnTo>
                  <a:pt x="27" y="761"/>
                </a:lnTo>
                <a:lnTo>
                  <a:pt x="23" y="769"/>
                </a:lnTo>
                <a:lnTo>
                  <a:pt x="19" y="776"/>
                </a:lnTo>
                <a:lnTo>
                  <a:pt x="16" y="784"/>
                </a:lnTo>
                <a:lnTo>
                  <a:pt x="14" y="792"/>
                </a:lnTo>
                <a:lnTo>
                  <a:pt x="10" y="799"/>
                </a:lnTo>
                <a:lnTo>
                  <a:pt x="8" y="807"/>
                </a:lnTo>
                <a:lnTo>
                  <a:pt x="6" y="813"/>
                </a:lnTo>
                <a:lnTo>
                  <a:pt x="4" y="820"/>
                </a:lnTo>
                <a:lnTo>
                  <a:pt x="4" y="824"/>
                </a:lnTo>
                <a:lnTo>
                  <a:pt x="2" y="830"/>
                </a:lnTo>
                <a:lnTo>
                  <a:pt x="2" y="830"/>
                </a:lnTo>
                <a:lnTo>
                  <a:pt x="2" y="832"/>
                </a:lnTo>
                <a:lnTo>
                  <a:pt x="2" y="834"/>
                </a:lnTo>
                <a:lnTo>
                  <a:pt x="2" y="835"/>
                </a:lnTo>
                <a:lnTo>
                  <a:pt x="2" y="837"/>
                </a:lnTo>
                <a:lnTo>
                  <a:pt x="2" y="841"/>
                </a:lnTo>
                <a:lnTo>
                  <a:pt x="0" y="843"/>
                </a:lnTo>
                <a:lnTo>
                  <a:pt x="0" y="845"/>
                </a:lnTo>
                <a:lnTo>
                  <a:pt x="0" y="847"/>
                </a:lnTo>
                <a:lnTo>
                  <a:pt x="0" y="847"/>
                </a:lnTo>
                <a:lnTo>
                  <a:pt x="2" y="845"/>
                </a:lnTo>
                <a:lnTo>
                  <a:pt x="6" y="841"/>
                </a:lnTo>
                <a:lnTo>
                  <a:pt x="8" y="839"/>
                </a:lnTo>
                <a:lnTo>
                  <a:pt x="12" y="837"/>
                </a:lnTo>
                <a:lnTo>
                  <a:pt x="14" y="835"/>
                </a:lnTo>
                <a:lnTo>
                  <a:pt x="17" y="834"/>
                </a:lnTo>
                <a:lnTo>
                  <a:pt x="21" y="834"/>
                </a:lnTo>
                <a:lnTo>
                  <a:pt x="27" y="832"/>
                </a:lnTo>
                <a:lnTo>
                  <a:pt x="27" y="832"/>
                </a:lnTo>
                <a:lnTo>
                  <a:pt x="31" y="832"/>
                </a:lnTo>
                <a:lnTo>
                  <a:pt x="35" y="832"/>
                </a:lnTo>
                <a:lnTo>
                  <a:pt x="37" y="832"/>
                </a:lnTo>
                <a:lnTo>
                  <a:pt x="38" y="832"/>
                </a:lnTo>
                <a:lnTo>
                  <a:pt x="42" y="832"/>
                </a:lnTo>
                <a:lnTo>
                  <a:pt x="44" y="832"/>
                </a:lnTo>
                <a:lnTo>
                  <a:pt x="48" y="832"/>
                </a:lnTo>
                <a:lnTo>
                  <a:pt x="50" y="832"/>
                </a:lnTo>
                <a:lnTo>
                  <a:pt x="50" y="832"/>
                </a:lnTo>
                <a:lnTo>
                  <a:pt x="56" y="832"/>
                </a:lnTo>
                <a:lnTo>
                  <a:pt x="63" y="832"/>
                </a:lnTo>
                <a:lnTo>
                  <a:pt x="69" y="830"/>
                </a:lnTo>
                <a:lnTo>
                  <a:pt x="79" y="828"/>
                </a:lnTo>
                <a:lnTo>
                  <a:pt x="86" y="826"/>
                </a:lnTo>
                <a:lnTo>
                  <a:pt x="94" y="824"/>
                </a:lnTo>
                <a:lnTo>
                  <a:pt x="101" y="824"/>
                </a:lnTo>
                <a:lnTo>
                  <a:pt x="109" y="822"/>
                </a:lnTo>
                <a:lnTo>
                  <a:pt x="109" y="822"/>
                </a:lnTo>
                <a:lnTo>
                  <a:pt x="117" y="824"/>
                </a:lnTo>
                <a:lnTo>
                  <a:pt x="124" y="824"/>
                </a:lnTo>
                <a:lnTo>
                  <a:pt x="130" y="826"/>
                </a:lnTo>
                <a:lnTo>
                  <a:pt x="136" y="828"/>
                </a:lnTo>
                <a:lnTo>
                  <a:pt x="141" y="830"/>
                </a:lnTo>
                <a:lnTo>
                  <a:pt x="145" y="832"/>
                </a:lnTo>
                <a:lnTo>
                  <a:pt x="149" y="835"/>
                </a:lnTo>
                <a:lnTo>
                  <a:pt x="153" y="837"/>
                </a:lnTo>
                <a:lnTo>
                  <a:pt x="157" y="841"/>
                </a:lnTo>
                <a:lnTo>
                  <a:pt x="159" y="845"/>
                </a:lnTo>
                <a:lnTo>
                  <a:pt x="162" y="849"/>
                </a:lnTo>
                <a:lnTo>
                  <a:pt x="164" y="853"/>
                </a:lnTo>
                <a:lnTo>
                  <a:pt x="168" y="856"/>
                </a:lnTo>
                <a:lnTo>
                  <a:pt x="172" y="860"/>
                </a:lnTo>
                <a:lnTo>
                  <a:pt x="174" y="864"/>
                </a:lnTo>
                <a:lnTo>
                  <a:pt x="178" y="868"/>
                </a:lnTo>
                <a:lnTo>
                  <a:pt x="178" y="868"/>
                </a:lnTo>
                <a:lnTo>
                  <a:pt x="183" y="872"/>
                </a:lnTo>
                <a:lnTo>
                  <a:pt x="187" y="876"/>
                </a:lnTo>
                <a:lnTo>
                  <a:pt x="193" y="877"/>
                </a:lnTo>
                <a:lnTo>
                  <a:pt x="197" y="877"/>
                </a:lnTo>
                <a:lnTo>
                  <a:pt x="203" y="879"/>
                </a:lnTo>
                <a:lnTo>
                  <a:pt x="208" y="881"/>
                </a:lnTo>
                <a:lnTo>
                  <a:pt x="214" y="883"/>
                </a:lnTo>
                <a:lnTo>
                  <a:pt x="220" y="885"/>
                </a:lnTo>
                <a:lnTo>
                  <a:pt x="220" y="885"/>
                </a:lnTo>
                <a:lnTo>
                  <a:pt x="222" y="889"/>
                </a:lnTo>
                <a:lnTo>
                  <a:pt x="225" y="893"/>
                </a:lnTo>
                <a:lnTo>
                  <a:pt x="225" y="897"/>
                </a:lnTo>
                <a:lnTo>
                  <a:pt x="225" y="900"/>
                </a:lnTo>
                <a:lnTo>
                  <a:pt x="225" y="904"/>
                </a:lnTo>
                <a:lnTo>
                  <a:pt x="225" y="908"/>
                </a:lnTo>
                <a:lnTo>
                  <a:pt x="225" y="914"/>
                </a:lnTo>
                <a:lnTo>
                  <a:pt x="227" y="917"/>
                </a:lnTo>
                <a:lnTo>
                  <a:pt x="227" y="917"/>
                </a:lnTo>
                <a:lnTo>
                  <a:pt x="231" y="923"/>
                </a:lnTo>
                <a:lnTo>
                  <a:pt x="235" y="929"/>
                </a:lnTo>
                <a:lnTo>
                  <a:pt x="239" y="935"/>
                </a:lnTo>
                <a:lnTo>
                  <a:pt x="241" y="938"/>
                </a:lnTo>
                <a:lnTo>
                  <a:pt x="244" y="944"/>
                </a:lnTo>
                <a:lnTo>
                  <a:pt x="248" y="950"/>
                </a:lnTo>
                <a:lnTo>
                  <a:pt x="252" y="954"/>
                </a:lnTo>
                <a:lnTo>
                  <a:pt x="256" y="959"/>
                </a:lnTo>
                <a:lnTo>
                  <a:pt x="260" y="963"/>
                </a:lnTo>
                <a:lnTo>
                  <a:pt x="262" y="969"/>
                </a:lnTo>
                <a:lnTo>
                  <a:pt x="265" y="973"/>
                </a:lnTo>
                <a:lnTo>
                  <a:pt x="269" y="979"/>
                </a:lnTo>
                <a:lnTo>
                  <a:pt x="273" y="982"/>
                </a:lnTo>
                <a:lnTo>
                  <a:pt x="275" y="988"/>
                </a:lnTo>
                <a:lnTo>
                  <a:pt x="279" y="994"/>
                </a:lnTo>
                <a:lnTo>
                  <a:pt x="281" y="1000"/>
                </a:lnTo>
                <a:lnTo>
                  <a:pt x="281" y="100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2" name="Freeform 42"/>
          <p:cNvSpPr>
            <a:spLocks/>
          </p:cNvSpPr>
          <p:nvPr/>
        </p:nvSpPr>
        <p:spPr bwMode="auto">
          <a:xfrm>
            <a:off x="754063" y="1930302"/>
            <a:ext cx="611188" cy="452438"/>
          </a:xfrm>
          <a:custGeom>
            <a:avLst/>
            <a:gdLst>
              <a:gd name="T0" fmla="*/ 0 w 679"/>
              <a:gd name="T1" fmla="*/ 492 h 519"/>
              <a:gd name="T2" fmla="*/ 15 w 679"/>
              <a:gd name="T3" fmla="*/ 458 h 519"/>
              <a:gd name="T4" fmla="*/ 32 w 679"/>
              <a:gd name="T5" fmla="*/ 421 h 519"/>
              <a:gd name="T6" fmla="*/ 55 w 679"/>
              <a:gd name="T7" fmla="*/ 385 h 519"/>
              <a:gd name="T8" fmla="*/ 78 w 679"/>
              <a:gd name="T9" fmla="*/ 351 h 519"/>
              <a:gd name="T10" fmla="*/ 103 w 679"/>
              <a:gd name="T11" fmla="*/ 316 h 519"/>
              <a:gd name="T12" fmla="*/ 130 w 679"/>
              <a:gd name="T13" fmla="*/ 288 h 519"/>
              <a:gd name="T14" fmla="*/ 158 w 679"/>
              <a:gd name="T15" fmla="*/ 261 h 519"/>
              <a:gd name="T16" fmla="*/ 187 w 679"/>
              <a:gd name="T17" fmla="*/ 242 h 519"/>
              <a:gd name="T18" fmla="*/ 191 w 679"/>
              <a:gd name="T19" fmla="*/ 238 h 519"/>
              <a:gd name="T20" fmla="*/ 198 w 679"/>
              <a:gd name="T21" fmla="*/ 227 h 519"/>
              <a:gd name="T22" fmla="*/ 202 w 679"/>
              <a:gd name="T23" fmla="*/ 215 h 519"/>
              <a:gd name="T24" fmla="*/ 206 w 679"/>
              <a:gd name="T25" fmla="*/ 202 h 519"/>
              <a:gd name="T26" fmla="*/ 206 w 679"/>
              <a:gd name="T27" fmla="*/ 196 h 519"/>
              <a:gd name="T28" fmla="*/ 208 w 679"/>
              <a:gd name="T29" fmla="*/ 189 h 519"/>
              <a:gd name="T30" fmla="*/ 214 w 679"/>
              <a:gd name="T31" fmla="*/ 177 h 519"/>
              <a:gd name="T32" fmla="*/ 219 w 679"/>
              <a:gd name="T33" fmla="*/ 166 h 519"/>
              <a:gd name="T34" fmla="*/ 227 w 679"/>
              <a:gd name="T35" fmla="*/ 152 h 519"/>
              <a:gd name="T36" fmla="*/ 235 w 679"/>
              <a:gd name="T37" fmla="*/ 139 h 519"/>
              <a:gd name="T38" fmla="*/ 242 w 679"/>
              <a:gd name="T39" fmla="*/ 126 h 519"/>
              <a:gd name="T40" fmla="*/ 250 w 679"/>
              <a:gd name="T41" fmla="*/ 116 h 519"/>
              <a:gd name="T42" fmla="*/ 258 w 679"/>
              <a:gd name="T43" fmla="*/ 108 h 519"/>
              <a:gd name="T44" fmla="*/ 261 w 679"/>
              <a:gd name="T45" fmla="*/ 105 h 519"/>
              <a:gd name="T46" fmla="*/ 275 w 679"/>
              <a:gd name="T47" fmla="*/ 99 h 519"/>
              <a:gd name="T48" fmla="*/ 288 w 679"/>
              <a:gd name="T49" fmla="*/ 95 h 519"/>
              <a:gd name="T50" fmla="*/ 301 w 679"/>
              <a:gd name="T51" fmla="*/ 91 h 519"/>
              <a:gd name="T52" fmla="*/ 307 w 679"/>
              <a:gd name="T53" fmla="*/ 87 h 519"/>
              <a:gd name="T54" fmla="*/ 317 w 679"/>
              <a:gd name="T55" fmla="*/ 78 h 519"/>
              <a:gd name="T56" fmla="*/ 326 w 679"/>
              <a:gd name="T57" fmla="*/ 68 h 519"/>
              <a:gd name="T58" fmla="*/ 334 w 679"/>
              <a:gd name="T59" fmla="*/ 57 h 519"/>
              <a:gd name="T60" fmla="*/ 341 w 679"/>
              <a:gd name="T61" fmla="*/ 44 h 519"/>
              <a:gd name="T62" fmla="*/ 349 w 679"/>
              <a:gd name="T63" fmla="*/ 32 h 519"/>
              <a:gd name="T64" fmla="*/ 355 w 679"/>
              <a:gd name="T65" fmla="*/ 21 h 519"/>
              <a:gd name="T66" fmla="*/ 362 w 679"/>
              <a:gd name="T67" fmla="*/ 9 h 519"/>
              <a:gd name="T68" fmla="*/ 370 w 679"/>
              <a:gd name="T69" fmla="*/ 0 h 519"/>
              <a:gd name="T70" fmla="*/ 675 w 679"/>
              <a:gd name="T71" fmla="*/ 59 h 519"/>
              <a:gd name="T72" fmla="*/ 422 w 679"/>
              <a:gd name="T73" fmla="*/ 152 h 519"/>
              <a:gd name="T74" fmla="*/ 383 w 679"/>
              <a:gd name="T75" fmla="*/ 351 h 519"/>
              <a:gd name="T76" fmla="*/ 372 w 679"/>
              <a:gd name="T77" fmla="*/ 355 h 519"/>
              <a:gd name="T78" fmla="*/ 361 w 679"/>
              <a:gd name="T79" fmla="*/ 360 h 519"/>
              <a:gd name="T80" fmla="*/ 349 w 679"/>
              <a:gd name="T81" fmla="*/ 364 h 519"/>
              <a:gd name="T82" fmla="*/ 340 w 679"/>
              <a:gd name="T83" fmla="*/ 370 h 519"/>
              <a:gd name="T84" fmla="*/ 330 w 679"/>
              <a:gd name="T85" fmla="*/ 376 h 519"/>
              <a:gd name="T86" fmla="*/ 320 w 679"/>
              <a:gd name="T87" fmla="*/ 379 h 519"/>
              <a:gd name="T88" fmla="*/ 311 w 679"/>
              <a:gd name="T89" fmla="*/ 387 h 519"/>
              <a:gd name="T90" fmla="*/ 301 w 679"/>
              <a:gd name="T91" fmla="*/ 393 h 519"/>
              <a:gd name="T92" fmla="*/ 0 w 679"/>
              <a:gd name="T93" fmla="*/ 496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9" h="519">
                <a:moveTo>
                  <a:pt x="0" y="492"/>
                </a:moveTo>
                <a:lnTo>
                  <a:pt x="0" y="492"/>
                </a:lnTo>
                <a:lnTo>
                  <a:pt x="6" y="475"/>
                </a:lnTo>
                <a:lnTo>
                  <a:pt x="15" y="458"/>
                </a:lnTo>
                <a:lnTo>
                  <a:pt x="23" y="440"/>
                </a:lnTo>
                <a:lnTo>
                  <a:pt x="32" y="421"/>
                </a:lnTo>
                <a:lnTo>
                  <a:pt x="44" y="404"/>
                </a:lnTo>
                <a:lnTo>
                  <a:pt x="55" y="385"/>
                </a:lnTo>
                <a:lnTo>
                  <a:pt x="65" y="368"/>
                </a:lnTo>
                <a:lnTo>
                  <a:pt x="78" y="351"/>
                </a:lnTo>
                <a:lnTo>
                  <a:pt x="90" y="334"/>
                </a:lnTo>
                <a:lnTo>
                  <a:pt x="103" y="316"/>
                </a:lnTo>
                <a:lnTo>
                  <a:pt x="116" y="301"/>
                </a:lnTo>
                <a:lnTo>
                  <a:pt x="130" y="288"/>
                </a:lnTo>
                <a:lnTo>
                  <a:pt x="145" y="274"/>
                </a:lnTo>
                <a:lnTo>
                  <a:pt x="158" y="261"/>
                </a:lnTo>
                <a:lnTo>
                  <a:pt x="172" y="252"/>
                </a:lnTo>
                <a:lnTo>
                  <a:pt x="187" y="242"/>
                </a:lnTo>
                <a:lnTo>
                  <a:pt x="187" y="242"/>
                </a:lnTo>
                <a:lnTo>
                  <a:pt x="191" y="238"/>
                </a:lnTo>
                <a:lnTo>
                  <a:pt x="195" y="232"/>
                </a:lnTo>
                <a:lnTo>
                  <a:pt x="198" y="227"/>
                </a:lnTo>
                <a:lnTo>
                  <a:pt x="200" y="221"/>
                </a:lnTo>
                <a:lnTo>
                  <a:pt x="202" y="215"/>
                </a:lnTo>
                <a:lnTo>
                  <a:pt x="204" y="210"/>
                </a:lnTo>
                <a:lnTo>
                  <a:pt x="206" y="202"/>
                </a:lnTo>
                <a:lnTo>
                  <a:pt x="206" y="196"/>
                </a:lnTo>
                <a:lnTo>
                  <a:pt x="206" y="196"/>
                </a:lnTo>
                <a:lnTo>
                  <a:pt x="206" y="192"/>
                </a:lnTo>
                <a:lnTo>
                  <a:pt x="208" y="189"/>
                </a:lnTo>
                <a:lnTo>
                  <a:pt x="212" y="183"/>
                </a:lnTo>
                <a:lnTo>
                  <a:pt x="214" y="177"/>
                </a:lnTo>
                <a:lnTo>
                  <a:pt x="216" y="171"/>
                </a:lnTo>
                <a:lnTo>
                  <a:pt x="219" y="166"/>
                </a:lnTo>
                <a:lnTo>
                  <a:pt x="223" y="158"/>
                </a:lnTo>
                <a:lnTo>
                  <a:pt x="227" y="152"/>
                </a:lnTo>
                <a:lnTo>
                  <a:pt x="231" y="145"/>
                </a:lnTo>
                <a:lnTo>
                  <a:pt x="235" y="139"/>
                </a:lnTo>
                <a:lnTo>
                  <a:pt x="238" y="131"/>
                </a:lnTo>
                <a:lnTo>
                  <a:pt x="242" y="126"/>
                </a:lnTo>
                <a:lnTo>
                  <a:pt x="248" y="120"/>
                </a:lnTo>
                <a:lnTo>
                  <a:pt x="250" y="116"/>
                </a:lnTo>
                <a:lnTo>
                  <a:pt x="254" y="112"/>
                </a:lnTo>
                <a:lnTo>
                  <a:pt x="258" y="108"/>
                </a:lnTo>
                <a:lnTo>
                  <a:pt x="258" y="108"/>
                </a:lnTo>
                <a:lnTo>
                  <a:pt x="261" y="105"/>
                </a:lnTo>
                <a:lnTo>
                  <a:pt x="269" y="101"/>
                </a:lnTo>
                <a:lnTo>
                  <a:pt x="275" y="99"/>
                </a:lnTo>
                <a:lnTo>
                  <a:pt x="280" y="97"/>
                </a:lnTo>
                <a:lnTo>
                  <a:pt x="288" y="95"/>
                </a:lnTo>
                <a:lnTo>
                  <a:pt x="296" y="93"/>
                </a:lnTo>
                <a:lnTo>
                  <a:pt x="301" y="91"/>
                </a:lnTo>
                <a:lnTo>
                  <a:pt x="307" y="87"/>
                </a:lnTo>
                <a:lnTo>
                  <a:pt x="307" y="87"/>
                </a:lnTo>
                <a:lnTo>
                  <a:pt x="313" y="84"/>
                </a:lnTo>
                <a:lnTo>
                  <a:pt x="317" y="78"/>
                </a:lnTo>
                <a:lnTo>
                  <a:pt x="320" y="74"/>
                </a:lnTo>
                <a:lnTo>
                  <a:pt x="326" y="68"/>
                </a:lnTo>
                <a:lnTo>
                  <a:pt x="330" y="63"/>
                </a:lnTo>
                <a:lnTo>
                  <a:pt x="334" y="57"/>
                </a:lnTo>
                <a:lnTo>
                  <a:pt x="338" y="51"/>
                </a:lnTo>
                <a:lnTo>
                  <a:pt x="341" y="44"/>
                </a:lnTo>
                <a:lnTo>
                  <a:pt x="345" y="38"/>
                </a:lnTo>
                <a:lnTo>
                  <a:pt x="349" y="32"/>
                </a:lnTo>
                <a:lnTo>
                  <a:pt x="351" y="26"/>
                </a:lnTo>
                <a:lnTo>
                  <a:pt x="355" y="21"/>
                </a:lnTo>
                <a:lnTo>
                  <a:pt x="359" y="15"/>
                </a:lnTo>
                <a:lnTo>
                  <a:pt x="362" y="9"/>
                </a:lnTo>
                <a:lnTo>
                  <a:pt x="366" y="4"/>
                </a:lnTo>
                <a:lnTo>
                  <a:pt x="370" y="0"/>
                </a:lnTo>
                <a:lnTo>
                  <a:pt x="679" y="25"/>
                </a:lnTo>
                <a:lnTo>
                  <a:pt x="675" y="59"/>
                </a:lnTo>
                <a:lnTo>
                  <a:pt x="654" y="168"/>
                </a:lnTo>
                <a:lnTo>
                  <a:pt x="422" y="152"/>
                </a:lnTo>
                <a:lnTo>
                  <a:pt x="383" y="351"/>
                </a:lnTo>
                <a:lnTo>
                  <a:pt x="383" y="351"/>
                </a:lnTo>
                <a:lnTo>
                  <a:pt x="378" y="353"/>
                </a:lnTo>
                <a:lnTo>
                  <a:pt x="372" y="355"/>
                </a:lnTo>
                <a:lnTo>
                  <a:pt x="364" y="356"/>
                </a:lnTo>
                <a:lnTo>
                  <a:pt x="361" y="360"/>
                </a:lnTo>
                <a:lnTo>
                  <a:pt x="355" y="362"/>
                </a:lnTo>
                <a:lnTo>
                  <a:pt x="349" y="364"/>
                </a:lnTo>
                <a:lnTo>
                  <a:pt x="343" y="368"/>
                </a:lnTo>
                <a:lnTo>
                  <a:pt x="340" y="370"/>
                </a:lnTo>
                <a:lnTo>
                  <a:pt x="334" y="372"/>
                </a:lnTo>
                <a:lnTo>
                  <a:pt x="330" y="376"/>
                </a:lnTo>
                <a:lnTo>
                  <a:pt x="324" y="377"/>
                </a:lnTo>
                <a:lnTo>
                  <a:pt x="320" y="379"/>
                </a:lnTo>
                <a:lnTo>
                  <a:pt x="315" y="383"/>
                </a:lnTo>
                <a:lnTo>
                  <a:pt x="311" y="387"/>
                </a:lnTo>
                <a:lnTo>
                  <a:pt x="305" y="389"/>
                </a:lnTo>
                <a:lnTo>
                  <a:pt x="301" y="393"/>
                </a:lnTo>
                <a:lnTo>
                  <a:pt x="286" y="519"/>
                </a:lnTo>
                <a:lnTo>
                  <a:pt x="0" y="496"/>
                </a:lnTo>
                <a:lnTo>
                  <a:pt x="0" y="492"/>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3" name="Freeform 43"/>
          <p:cNvSpPr>
            <a:spLocks/>
          </p:cNvSpPr>
          <p:nvPr/>
        </p:nvSpPr>
        <p:spPr bwMode="auto">
          <a:xfrm>
            <a:off x="1087438" y="1406427"/>
            <a:ext cx="795338" cy="546100"/>
          </a:xfrm>
          <a:custGeom>
            <a:avLst/>
            <a:gdLst>
              <a:gd name="T0" fmla="*/ 305 w 885"/>
              <a:gd name="T1" fmla="*/ 587 h 626"/>
              <a:gd name="T2" fmla="*/ 309 w 885"/>
              <a:gd name="T3" fmla="*/ 557 h 626"/>
              <a:gd name="T4" fmla="*/ 336 w 885"/>
              <a:gd name="T5" fmla="*/ 538 h 626"/>
              <a:gd name="T6" fmla="*/ 374 w 885"/>
              <a:gd name="T7" fmla="*/ 511 h 626"/>
              <a:gd name="T8" fmla="*/ 418 w 885"/>
              <a:gd name="T9" fmla="*/ 492 h 626"/>
              <a:gd name="T10" fmla="*/ 443 w 885"/>
              <a:gd name="T11" fmla="*/ 488 h 626"/>
              <a:gd name="T12" fmla="*/ 452 w 885"/>
              <a:gd name="T13" fmla="*/ 488 h 626"/>
              <a:gd name="T14" fmla="*/ 464 w 885"/>
              <a:gd name="T15" fmla="*/ 488 h 626"/>
              <a:gd name="T16" fmla="*/ 506 w 885"/>
              <a:gd name="T17" fmla="*/ 481 h 626"/>
              <a:gd name="T18" fmla="*/ 555 w 885"/>
              <a:gd name="T19" fmla="*/ 467 h 626"/>
              <a:gd name="T20" fmla="*/ 578 w 885"/>
              <a:gd name="T21" fmla="*/ 461 h 626"/>
              <a:gd name="T22" fmla="*/ 595 w 885"/>
              <a:gd name="T23" fmla="*/ 437 h 626"/>
              <a:gd name="T24" fmla="*/ 614 w 885"/>
              <a:gd name="T25" fmla="*/ 423 h 626"/>
              <a:gd name="T26" fmla="*/ 639 w 885"/>
              <a:gd name="T27" fmla="*/ 418 h 626"/>
              <a:gd name="T28" fmla="*/ 662 w 885"/>
              <a:gd name="T29" fmla="*/ 412 h 626"/>
              <a:gd name="T30" fmla="*/ 681 w 885"/>
              <a:gd name="T31" fmla="*/ 397 h 626"/>
              <a:gd name="T32" fmla="*/ 683 w 885"/>
              <a:gd name="T33" fmla="*/ 374 h 626"/>
              <a:gd name="T34" fmla="*/ 744 w 885"/>
              <a:gd name="T35" fmla="*/ 334 h 626"/>
              <a:gd name="T36" fmla="*/ 776 w 885"/>
              <a:gd name="T37" fmla="*/ 311 h 626"/>
              <a:gd name="T38" fmla="*/ 797 w 885"/>
              <a:gd name="T39" fmla="*/ 313 h 626"/>
              <a:gd name="T40" fmla="*/ 815 w 885"/>
              <a:gd name="T41" fmla="*/ 315 h 626"/>
              <a:gd name="T42" fmla="*/ 834 w 885"/>
              <a:gd name="T43" fmla="*/ 318 h 626"/>
              <a:gd name="T44" fmla="*/ 855 w 885"/>
              <a:gd name="T45" fmla="*/ 318 h 626"/>
              <a:gd name="T46" fmla="*/ 870 w 885"/>
              <a:gd name="T47" fmla="*/ 313 h 626"/>
              <a:gd name="T48" fmla="*/ 881 w 885"/>
              <a:gd name="T49" fmla="*/ 294 h 626"/>
              <a:gd name="T50" fmla="*/ 872 w 885"/>
              <a:gd name="T51" fmla="*/ 269 h 626"/>
              <a:gd name="T52" fmla="*/ 858 w 885"/>
              <a:gd name="T53" fmla="*/ 225 h 626"/>
              <a:gd name="T54" fmla="*/ 858 w 885"/>
              <a:gd name="T55" fmla="*/ 206 h 626"/>
              <a:gd name="T56" fmla="*/ 864 w 885"/>
              <a:gd name="T57" fmla="*/ 185 h 626"/>
              <a:gd name="T58" fmla="*/ 866 w 885"/>
              <a:gd name="T59" fmla="*/ 162 h 626"/>
              <a:gd name="T60" fmla="*/ 866 w 885"/>
              <a:gd name="T61" fmla="*/ 131 h 626"/>
              <a:gd name="T62" fmla="*/ 845 w 885"/>
              <a:gd name="T63" fmla="*/ 97 h 626"/>
              <a:gd name="T64" fmla="*/ 818 w 885"/>
              <a:gd name="T65" fmla="*/ 74 h 626"/>
              <a:gd name="T66" fmla="*/ 799 w 885"/>
              <a:gd name="T67" fmla="*/ 57 h 626"/>
              <a:gd name="T68" fmla="*/ 788 w 885"/>
              <a:gd name="T69" fmla="*/ 63 h 626"/>
              <a:gd name="T70" fmla="*/ 773 w 885"/>
              <a:gd name="T71" fmla="*/ 65 h 626"/>
              <a:gd name="T72" fmla="*/ 748 w 885"/>
              <a:gd name="T73" fmla="*/ 53 h 626"/>
              <a:gd name="T74" fmla="*/ 717 w 885"/>
              <a:gd name="T75" fmla="*/ 42 h 626"/>
              <a:gd name="T76" fmla="*/ 679 w 885"/>
              <a:gd name="T77" fmla="*/ 38 h 626"/>
              <a:gd name="T78" fmla="*/ 654 w 885"/>
              <a:gd name="T79" fmla="*/ 28 h 626"/>
              <a:gd name="T80" fmla="*/ 641 w 885"/>
              <a:gd name="T81" fmla="*/ 0 h 626"/>
              <a:gd name="T82" fmla="*/ 599 w 885"/>
              <a:gd name="T83" fmla="*/ 32 h 626"/>
              <a:gd name="T84" fmla="*/ 572 w 885"/>
              <a:gd name="T85" fmla="*/ 78 h 626"/>
              <a:gd name="T86" fmla="*/ 532 w 885"/>
              <a:gd name="T87" fmla="*/ 130 h 626"/>
              <a:gd name="T88" fmla="*/ 477 w 885"/>
              <a:gd name="T89" fmla="*/ 158 h 626"/>
              <a:gd name="T90" fmla="*/ 403 w 885"/>
              <a:gd name="T91" fmla="*/ 183 h 626"/>
              <a:gd name="T92" fmla="*/ 376 w 885"/>
              <a:gd name="T93" fmla="*/ 202 h 626"/>
              <a:gd name="T94" fmla="*/ 351 w 885"/>
              <a:gd name="T95" fmla="*/ 236 h 626"/>
              <a:gd name="T96" fmla="*/ 330 w 885"/>
              <a:gd name="T97" fmla="*/ 275 h 626"/>
              <a:gd name="T98" fmla="*/ 313 w 885"/>
              <a:gd name="T99" fmla="*/ 295 h 626"/>
              <a:gd name="T100" fmla="*/ 294 w 885"/>
              <a:gd name="T101" fmla="*/ 324 h 626"/>
              <a:gd name="T102" fmla="*/ 277 w 885"/>
              <a:gd name="T103" fmla="*/ 355 h 626"/>
              <a:gd name="T104" fmla="*/ 271 w 885"/>
              <a:gd name="T105" fmla="*/ 383 h 626"/>
              <a:gd name="T106" fmla="*/ 277 w 885"/>
              <a:gd name="T107" fmla="*/ 395 h 626"/>
              <a:gd name="T108" fmla="*/ 279 w 885"/>
              <a:gd name="T109" fmla="*/ 418 h 626"/>
              <a:gd name="T110" fmla="*/ 248 w 885"/>
              <a:gd name="T111" fmla="*/ 456 h 626"/>
              <a:gd name="T112" fmla="*/ 214 w 885"/>
              <a:gd name="T113" fmla="*/ 481 h 626"/>
              <a:gd name="T114" fmla="*/ 164 w 885"/>
              <a:gd name="T115" fmla="*/ 511 h 626"/>
              <a:gd name="T116" fmla="*/ 113 w 885"/>
              <a:gd name="T117" fmla="*/ 536 h 626"/>
              <a:gd name="T118" fmla="*/ 71 w 885"/>
              <a:gd name="T119" fmla="*/ 547 h 626"/>
              <a:gd name="T120" fmla="*/ 40 w 885"/>
              <a:gd name="T121" fmla="*/ 555 h 626"/>
              <a:gd name="T122" fmla="*/ 17 w 885"/>
              <a:gd name="T123" fmla="*/ 570 h 626"/>
              <a:gd name="T124" fmla="*/ 2 w 885"/>
              <a:gd name="T125" fmla="*/ 595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5" h="626">
                <a:moveTo>
                  <a:pt x="303" y="626"/>
                </a:moveTo>
                <a:lnTo>
                  <a:pt x="303" y="601"/>
                </a:lnTo>
                <a:lnTo>
                  <a:pt x="303" y="601"/>
                </a:lnTo>
                <a:lnTo>
                  <a:pt x="305" y="595"/>
                </a:lnTo>
                <a:lnTo>
                  <a:pt x="305" y="587"/>
                </a:lnTo>
                <a:lnTo>
                  <a:pt x="305" y="582"/>
                </a:lnTo>
                <a:lnTo>
                  <a:pt x="305" y="576"/>
                </a:lnTo>
                <a:lnTo>
                  <a:pt x="305" y="568"/>
                </a:lnTo>
                <a:lnTo>
                  <a:pt x="307" y="563"/>
                </a:lnTo>
                <a:lnTo>
                  <a:pt x="309" y="557"/>
                </a:lnTo>
                <a:lnTo>
                  <a:pt x="315" y="553"/>
                </a:lnTo>
                <a:lnTo>
                  <a:pt x="315" y="553"/>
                </a:lnTo>
                <a:lnTo>
                  <a:pt x="321" y="547"/>
                </a:lnTo>
                <a:lnTo>
                  <a:pt x="328" y="544"/>
                </a:lnTo>
                <a:lnTo>
                  <a:pt x="336" y="538"/>
                </a:lnTo>
                <a:lnTo>
                  <a:pt x="343" y="532"/>
                </a:lnTo>
                <a:lnTo>
                  <a:pt x="351" y="526"/>
                </a:lnTo>
                <a:lnTo>
                  <a:pt x="359" y="523"/>
                </a:lnTo>
                <a:lnTo>
                  <a:pt x="366" y="517"/>
                </a:lnTo>
                <a:lnTo>
                  <a:pt x="374" y="511"/>
                </a:lnTo>
                <a:lnTo>
                  <a:pt x="384" y="507"/>
                </a:lnTo>
                <a:lnTo>
                  <a:pt x="393" y="502"/>
                </a:lnTo>
                <a:lnTo>
                  <a:pt x="401" y="498"/>
                </a:lnTo>
                <a:lnTo>
                  <a:pt x="408" y="496"/>
                </a:lnTo>
                <a:lnTo>
                  <a:pt x="418" y="492"/>
                </a:lnTo>
                <a:lnTo>
                  <a:pt x="425" y="490"/>
                </a:lnTo>
                <a:lnTo>
                  <a:pt x="435" y="488"/>
                </a:lnTo>
                <a:lnTo>
                  <a:pt x="443" y="488"/>
                </a:lnTo>
                <a:lnTo>
                  <a:pt x="443" y="488"/>
                </a:lnTo>
                <a:lnTo>
                  <a:pt x="443" y="488"/>
                </a:lnTo>
                <a:lnTo>
                  <a:pt x="445" y="488"/>
                </a:lnTo>
                <a:lnTo>
                  <a:pt x="446" y="488"/>
                </a:lnTo>
                <a:lnTo>
                  <a:pt x="448" y="488"/>
                </a:lnTo>
                <a:lnTo>
                  <a:pt x="450" y="488"/>
                </a:lnTo>
                <a:lnTo>
                  <a:pt x="452" y="488"/>
                </a:lnTo>
                <a:lnTo>
                  <a:pt x="456" y="488"/>
                </a:lnTo>
                <a:lnTo>
                  <a:pt x="460" y="488"/>
                </a:lnTo>
                <a:lnTo>
                  <a:pt x="460" y="488"/>
                </a:lnTo>
                <a:lnTo>
                  <a:pt x="462" y="488"/>
                </a:lnTo>
                <a:lnTo>
                  <a:pt x="464" y="488"/>
                </a:lnTo>
                <a:lnTo>
                  <a:pt x="469" y="486"/>
                </a:lnTo>
                <a:lnTo>
                  <a:pt x="477" y="484"/>
                </a:lnTo>
                <a:lnTo>
                  <a:pt x="485" y="482"/>
                </a:lnTo>
                <a:lnTo>
                  <a:pt x="494" y="482"/>
                </a:lnTo>
                <a:lnTo>
                  <a:pt x="506" y="481"/>
                </a:lnTo>
                <a:lnTo>
                  <a:pt x="515" y="477"/>
                </a:lnTo>
                <a:lnTo>
                  <a:pt x="527" y="475"/>
                </a:lnTo>
                <a:lnTo>
                  <a:pt x="536" y="473"/>
                </a:lnTo>
                <a:lnTo>
                  <a:pt x="546" y="471"/>
                </a:lnTo>
                <a:lnTo>
                  <a:pt x="555" y="467"/>
                </a:lnTo>
                <a:lnTo>
                  <a:pt x="563" y="465"/>
                </a:lnTo>
                <a:lnTo>
                  <a:pt x="570" y="463"/>
                </a:lnTo>
                <a:lnTo>
                  <a:pt x="576" y="463"/>
                </a:lnTo>
                <a:lnTo>
                  <a:pt x="578" y="461"/>
                </a:lnTo>
                <a:lnTo>
                  <a:pt x="578" y="461"/>
                </a:lnTo>
                <a:lnTo>
                  <a:pt x="582" y="458"/>
                </a:lnTo>
                <a:lnTo>
                  <a:pt x="586" y="452"/>
                </a:lnTo>
                <a:lnTo>
                  <a:pt x="590" y="446"/>
                </a:lnTo>
                <a:lnTo>
                  <a:pt x="593" y="442"/>
                </a:lnTo>
                <a:lnTo>
                  <a:pt x="595" y="437"/>
                </a:lnTo>
                <a:lnTo>
                  <a:pt x="599" y="433"/>
                </a:lnTo>
                <a:lnTo>
                  <a:pt x="605" y="429"/>
                </a:lnTo>
                <a:lnTo>
                  <a:pt x="610" y="425"/>
                </a:lnTo>
                <a:lnTo>
                  <a:pt x="610" y="425"/>
                </a:lnTo>
                <a:lnTo>
                  <a:pt x="614" y="423"/>
                </a:lnTo>
                <a:lnTo>
                  <a:pt x="620" y="423"/>
                </a:lnTo>
                <a:lnTo>
                  <a:pt x="624" y="421"/>
                </a:lnTo>
                <a:lnTo>
                  <a:pt x="630" y="419"/>
                </a:lnTo>
                <a:lnTo>
                  <a:pt x="633" y="419"/>
                </a:lnTo>
                <a:lnTo>
                  <a:pt x="639" y="418"/>
                </a:lnTo>
                <a:lnTo>
                  <a:pt x="643" y="418"/>
                </a:lnTo>
                <a:lnTo>
                  <a:pt x="649" y="416"/>
                </a:lnTo>
                <a:lnTo>
                  <a:pt x="652" y="414"/>
                </a:lnTo>
                <a:lnTo>
                  <a:pt x="656" y="414"/>
                </a:lnTo>
                <a:lnTo>
                  <a:pt x="662" y="412"/>
                </a:lnTo>
                <a:lnTo>
                  <a:pt x="666" y="410"/>
                </a:lnTo>
                <a:lnTo>
                  <a:pt x="670" y="406"/>
                </a:lnTo>
                <a:lnTo>
                  <a:pt x="673" y="404"/>
                </a:lnTo>
                <a:lnTo>
                  <a:pt x="677" y="400"/>
                </a:lnTo>
                <a:lnTo>
                  <a:pt x="681" y="397"/>
                </a:lnTo>
                <a:lnTo>
                  <a:pt x="681" y="397"/>
                </a:lnTo>
                <a:lnTo>
                  <a:pt x="683" y="391"/>
                </a:lnTo>
                <a:lnTo>
                  <a:pt x="685" y="385"/>
                </a:lnTo>
                <a:lnTo>
                  <a:pt x="685" y="379"/>
                </a:lnTo>
                <a:lnTo>
                  <a:pt x="683" y="374"/>
                </a:lnTo>
                <a:lnTo>
                  <a:pt x="683" y="368"/>
                </a:lnTo>
                <a:lnTo>
                  <a:pt x="683" y="362"/>
                </a:lnTo>
                <a:lnTo>
                  <a:pt x="683" y="355"/>
                </a:lnTo>
                <a:lnTo>
                  <a:pt x="687" y="349"/>
                </a:lnTo>
                <a:lnTo>
                  <a:pt x="744" y="334"/>
                </a:lnTo>
                <a:lnTo>
                  <a:pt x="763" y="313"/>
                </a:lnTo>
                <a:lnTo>
                  <a:pt x="763" y="313"/>
                </a:lnTo>
                <a:lnTo>
                  <a:pt x="769" y="313"/>
                </a:lnTo>
                <a:lnTo>
                  <a:pt x="773" y="311"/>
                </a:lnTo>
                <a:lnTo>
                  <a:pt x="776" y="311"/>
                </a:lnTo>
                <a:lnTo>
                  <a:pt x="780" y="313"/>
                </a:lnTo>
                <a:lnTo>
                  <a:pt x="784" y="313"/>
                </a:lnTo>
                <a:lnTo>
                  <a:pt x="788" y="313"/>
                </a:lnTo>
                <a:lnTo>
                  <a:pt x="792" y="313"/>
                </a:lnTo>
                <a:lnTo>
                  <a:pt x="797" y="313"/>
                </a:lnTo>
                <a:lnTo>
                  <a:pt x="797" y="313"/>
                </a:lnTo>
                <a:lnTo>
                  <a:pt x="801" y="313"/>
                </a:lnTo>
                <a:lnTo>
                  <a:pt x="807" y="315"/>
                </a:lnTo>
                <a:lnTo>
                  <a:pt x="811" y="315"/>
                </a:lnTo>
                <a:lnTo>
                  <a:pt x="815" y="315"/>
                </a:lnTo>
                <a:lnTo>
                  <a:pt x="818" y="316"/>
                </a:lnTo>
                <a:lnTo>
                  <a:pt x="822" y="316"/>
                </a:lnTo>
                <a:lnTo>
                  <a:pt x="826" y="318"/>
                </a:lnTo>
                <a:lnTo>
                  <a:pt x="830" y="318"/>
                </a:lnTo>
                <a:lnTo>
                  <a:pt x="834" y="318"/>
                </a:lnTo>
                <a:lnTo>
                  <a:pt x="837" y="318"/>
                </a:lnTo>
                <a:lnTo>
                  <a:pt x="841" y="320"/>
                </a:lnTo>
                <a:lnTo>
                  <a:pt x="847" y="320"/>
                </a:lnTo>
                <a:lnTo>
                  <a:pt x="851" y="320"/>
                </a:lnTo>
                <a:lnTo>
                  <a:pt x="855" y="318"/>
                </a:lnTo>
                <a:lnTo>
                  <a:pt x="858" y="318"/>
                </a:lnTo>
                <a:lnTo>
                  <a:pt x="864" y="316"/>
                </a:lnTo>
                <a:lnTo>
                  <a:pt x="864" y="316"/>
                </a:lnTo>
                <a:lnTo>
                  <a:pt x="866" y="315"/>
                </a:lnTo>
                <a:lnTo>
                  <a:pt x="870" y="313"/>
                </a:lnTo>
                <a:lnTo>
                  <a:pt x="872" y="309"/>
                </a:lnTo>
                <a:lnTo>
                  <a:pt x="874" y="305"/>
                </a:lnTo>
                <a:lnTo>
                  <a:pt x="876" y="301"/>
                </a:lnTo>
                <a:lnTo>
                  <a:pt x="878" y="297"/>
                </a:lnTo>
                <a:lnTo>
                  <a:pt x="881" y="294"/>
                </a:lnTo>
                <a:lnTo>
                  <a:pt x="885" y="290"/>
                </a:lnTo>
                <a:lnTo>
                  <a:pt x="885" y="290"/>
                </a:lnTo>
                <a:lnTo>
                  <a:pt x="881" y="284"/>
                </a:lnTo>
                <a:lnTo>
                  <a:pt x="878" y="276"/>
                </a:lnTo>
                <a:lnTo>
                  <a:pt x="872" y="269"/>
                </a:lnTo>
                <a:lnTo>
                  <a:pt x="868" y="261"/>
                </a:lnTo>
                <a:lnTo>
                  <a:pt x="864" y="254"/>
                </a:lnTo>
                <a:lnTo>
                  <a:pt x="860" y="246"/>
                </a:lnTo>
                <a:lnTo>
                  <a:pt x="858" y="234"/>
                </a:lnTo>
                <a:lnTo>
                  <a:pt x="858" y="225"/>
                </a:lnTo>
                <a:lnTo>
                  <a:pt x="858" y="225"/>
                </a:lnTo>
                <a:lnTo>
                  <a:pt x="858" y="219"/>
                </a:lnTo>
                <a:lnTo>
                  <a:pt x="858" y="215"/>
                </a:lnTo>
                <a:lnTo>
                  <a:pt x="858" y="212"/>
                </a:lnTo>
                <a:lnTo>
                  <a:pt x="858" y="206"/>
                </a:lnTo>
                <a:lnTo>
                  <a:pt x="860" y="202"/>
                </a:lnTo>
                <a:lnTo>
                  <a:pt x="860" y="198"/>
                </a:lnTo>
                <a:lnTo>
                  <a:pt x="862" y="192"/>
                </a:lnTo>
                <a:lnTo>
                  <a:pt x="862" y="189"/>
                </a:lnTo>
                <a:lnTo>
                  <a:pt x="864" y="185"/>
                </a:lnTo>
                <a:lnTo>
                  <a:pt x="864" y="181"/>
                </a:lnTo>
                <a:lnTo>
                  <a:pt x="866" y="175"/>
                </a:lnTo>
                <a:lnTo>
                  <a:pt x="866" y="171"/>
                </a:lnTo>
                <a:lnTo>
                  <a:pt x="866" y="166"/>
                </a:lnTo>
                <a:lnTo>
                  <a:pt x="866" y="162"/>
                </a:lnTo>
                <a:lnTo>
                  <a:pt x="868" y="156"/>
                </a:lnTo>
                <a:lnTo>
                  <a:pt x="868" y="152"/>
                </a:lnTo>
                <a:lnTo>
                  <a:pt x="868" y="152"/>
                </a:lnTo>
                <a:lnTo>
                  <a:pt x="866" y="141"/>
                </a:lnTo>
                <a:lnTo>
                  <a:pt x="866" y="131"/>
                </a:lnTo>
                <a:lnTo>
                  <a:pt x="862" y="122"/>
                </a:lnTo>
                <a:lnTo>
                  <a:pt x="858" y="116"/>
                </a:lnTo>
                <a:lnTo>
                  <a:pt x="855" y="109"/>
                </a:lnTo>
                <a:lnTo>
                  <a:pt x="851" y="103"/>
                </a:lnTo>
                <a:lnTo>
                  <a:pt x="845" y="97"/>
                </a:lnTo>
                <a:lnTo>
                  <a:pt x="841" y="91"/>
                </a:lnTo>
                <a:lnTo>
                  <a:pt x="836" y="88"/>
                </a:lnTo>
                <a:lnTo>
                  <a:pt x="830" y="84"/>
                </a:lnTo>
                <a:lnTo>
                  <a:pt x="824" y="78"/>
                </a:lnTo>
                <a:lnTo>
                  <a:pt x="818" y="74"/>
                </a:lnTo>
                <a:lnTo>
                  <a:pt x="813" y="70"/>
                </a:lnTo>
                <a:lnTo>
                  <a:pt x="807" y="67"/>
                </a:lnTo>
                <a:lnTo>
                  <a:pt x="803" y="63"/>
                </a:lnTo>
                <a:lnTo>
                  <a:pt x="799" y="57"/>
                </a:lnTo>
                <a:lnTo>
                  <a:pt x="799" y="57"/>
                </a:lnTo>
                <a:lnTo>
                  <a:pt x="797" y="59"/>
                </a:lnTo>
                <a:lnTo>
                  <a:pt x="794" y="59"/>
                </a:lnTo>
                <a:lnTo>
                  <a:pt x="792" y="61"/>
                </a:lnTo>
                <a:lnTo>
                  <a:pt x="790" y="63"/>
                </a:lnTo>
                <a:lnTo>
                  <a:pt x="788" y="63"/>
                </a:lnTo>
                <a:lnTo>
                  <a:pt x="784" y="65"/>
                </a:lnTo>
                <a:lnTo>
                  <a:pt x="782" y="65"/>
                </a:lnTo>
                <a:lnTo>
                  <a:pt x="778" y="65"/>
                </a:lnTo>
                <a:lnTo>
                  <a:pt x="778" y="65"/>
                </a:lnTo>
                <a:lnTo>
                  <a:pt x="773" y="65"/>
                </a:lnTo>
                <a:lnTo>
                  <a:pt x="767" y="63"/>
                </a:lnTo>
                <a:lnTo>
                  <a:pt x="763" y="61"/>
                </a:lnTo>
                <a:lnTo>
                  <a:pt x="757" y="59"/>
                </a:lnTo>
                <a:lnTo>
                  <a:pt x="754" y="55"/>
                </a:lnTo>
                <a:lnTo>
                  <a:pt x="748" y="53"/>
                </a:lnTo>
                <a:lnTo>
                  <a:pt x="744" y="49"/>
                </a:lnTo>
                <a:lnTo>
                  <a:pt x="738" y="47"/>
                </a:lnTo>
                <a:lnTo>
                  <a:pt x="738" y="47"/>
                </a:lnTo>
                <a:lnTo>
                  <a:pt x="727" y="44"/>
                </a:lnTo>
                <a:lnTo>
                  <a:pt x="717" y="42"/>
                </a:lnTo>
                <a:lnTo>
                  <a:pt x="710" y="40"/>
                </a:lnTo>
                <a:lnTo>
                  <a:pt x="700" y="40"/>
                </a:lnTo>
                <a:lnTo>
                  <a:pt x="693" y="38"/>
                </a:lnTo>
                <a:lnTo>
                  <a:pt x="687" y="38"/>
                </a:lnTo>
                <a:lnTo>
                  <a:pt x="679" y="38"/>
                </a:lnTo>
                <a:lnTo>
                  <a:pt x="673" y="38"/>
                </a:lnTo>
                <a:lnTo>
                  <a:pt x="668" y="36"/>
                </a:lnTo>
                <a:lnTo>
                  <a:pt x="664" y="34"/>
                </a:lnTo>
                <a:lnTo>
                  <a:pt x="658" y="32"/>
                </a:lnTo>
                <a:lnTo>
                  <a:pt x="654" y="28"/>
                </a:lnTo>
                <a:lnTo>
                  <a:pt x="651" y="25"/>
                </a:lnTo>
                <a:lnTo>
                  <a:pt x="647" y="19"/>
                </a:lnTo>
                <a:lnTo>
                  <a:pt x="643" y="9"/>
                </a:lnTo>
                <a:lnTo>
                  <a:pt x="641" y="0"/>
                </a:lnTo>
                <a:lnTo>
                  <a:pt x="641" y="0"/>
                </a:lnTo>
                <a:lnTo>
                  <a:pt x="630" y="4"/>
                </a:lnTo>
                <a:lnTo>
                  <a:pt x="620" y="9"/>
                </a:lnTo>
                <a:lnTo>
                  <a:pt x="610" y="17"/>
                </a:lnTo>
                <a:lnTo>
                  <a:pt x="605" y="25"/>
                </a:lnTo>
                <a:lnTo>
                  <a:pt x="599" y="32"/>
                </a:lnTo>
                <a:lnTo>
                  <a:pt x="591" y="42"/>
                </a:lnTo>
                <a:lnTo>
                  <a:pt x="586" y="53"/>
                </a:lnTo>
                <a:lnTo>
                  <a:pt x="578" y="63"/>
                </a:lnTo>
                <a:lnTo>
                  <a:pt x="578" y="63"/>
                </a:lnTo>
                <a:lnTo>
                  <a:pt x="572" y="78"/>
                </a:lnTo>
                <a:lnTo>
                  <a:pt x="567" y="91"/>
                </a:lnTo>
                <a:lnTo>
                  <a:pt x="559" y="103"/>
                </a:lnTo>
                <a:lnTo>
                  <a:pt x="551" y="112"/>
                </a:lnTo>
                <a:lnTo>
                  <a:pt x="542" y="122"/>
                </a:lnTo>
                <a:lnTo>
                  <a:pt x="532" y="130"/>
                </a:lnTo>
                <a:lnTo>
                  <a:pt x="523" y="135"/>
                </a:lnTo>
                <a:lnTo>
                  <a:pt x="513" y="143"/>
                </a:lnTo>
                <a:lnTo>
                  <a:pt x="502" y="149"/>
                </a:lnTo>
                <a:lnTo>
                  <a:pt x="488" y="152"/>
                </a:lnTo>
                <a:lnTo>
                  <a:pt x="477" y="158"/>
                </a:lnTo>
                <a:lnTo>
                  <a:pt x="462" y="162"/>
                </a:lnTo>
                <a:lnTo>
                  <a:pt x="448" y="168"/>
                </a:lnTo>
                <a:lnTo>
                  <a:pt x="433" y="171"/>
                </a:lnTo>
                <a:lnTo>
                  <a:pt x="420" y="177"/>
                </a:lnTo>
                <a:lnTo>
                  <a:pt x="403" y="183"/>
                </a:lnTo>
                <a:lnTo>
                  <a:pt x="403" y="183"/>
                </a:lnTo>
                <a:lnTo>
                  <a:pt x="395" y="187"/>
                </a:lnTo>
                <a:lnTo>
                  <a:pt x="389" y="191"/>
                </a:lnTo>
                <a:lnTo>
                  <a:pt x="382" y="196"/>
                </a:lnTo>
                <a:lnTo>
                  <a:pt x="376" y="202"/>
                </a:lnTo>
                <a:lnTo>
                  <a:pt x="370" y="208"/>
                </a:lnTo>
                <a:lnTo>
                  <a:pt x="364" y="215"/>
                </a:lnTo>
                <a:lnTo>
                  <a:pt x="361" y="221"/>
                </a:lnTo>
                <a:lnTo>
                  <a:pt x="355" y="229"/>
                </a:lnTo>
                <a:lnTo>
                  <a:pt x="351" y="236"/>
                </a:lnTo>
                <a:lnTo>
                  <a:pt x="347" y="244"/>
                </a:lnTo>
                <a:lnTo>
                  <a:pt x="343" y="252"/>
                </a:lnTo>
                <a:lnTo>
                  <a:pt x="340" y="259"/>
                </a:lnTo>
                <a:lnTo>
                  <a:pt x="334" y="267"/>
                </a:lnTo>
                <a:lnTo>
                  <a:pt x="330" y="275"/>
                </a:lnTo>
                <a:lnTo>
                  <a:pt x="326" y="280"/>
                </a:lnTo>
                <a:lnTo>
                  <a:pt x="321" y="288"/>
                </a:lnTo>
                <a:lnTo>
                  <a:pt x="321" y="288"/>
                </a:lnTo>
                <a:lnTo>
                  <a:pt x="317" y="292"/>
                </a:lnTo>
                <a:lnTo>
                  <a:pt x="313" y="295"/>
                </a:lnTo>
                <a:lnTo>
                  <a:pt x="309" y="301"/>
                </a:lnTo>
                <a:lnTo>
                  <a:pt x="305" y="307"/>
                </a:lnTo>
                <a:lnTo>
                  <a:pt x="301" y="311"/>
                </a:lnTo>
                <a:lnTo>
                  <a:pt x="298" y="318"/>
                </a:lnTo>
                <a:lnTo>
                  <a:pt x="294" y="324"/>
                </a:lnTo>
                <a:lnTo>
                  <a:pt x="290" y="330"/>
                </a:lnTo>
                <a:lnTo>
                  <a:pt x="286" y="336"/>
                </a:lnTo>
                <a:lnTo>
                  <a:pt x="282" y="343"/>
                </a:lnTo>
                <a:lnTo>
                  <a:pt x="279" y="349"/>
                </a:lnTo>
                <a:lnTo>
                  <a:pt x="277" y="355"/>
                </a:lnTo>
                <a:lnTo>
                  <a:pt x="275" y="362"/>
                </a:lnTo>
                <a:lnTo>
                  <a:pt x="273" y="370"/>
                </a:lnTo>
                <a:lnTo>
                  <a:pt x="271" y="378"/>
                </a:lnTo>
                <a:lnTo>
                  <a:pt x="271" y="383"/>
                </a:lnTo>
                <a:lnTo>
                  <a:pt x="271" y="383"/>
                </a:lnTo>
                <a:lnTo>
                  <a:pt x="271" y="387"/>
                </a:lnTo>
                <a:lnTo>
                  <a:pt x="273" y="389"/>
                </a:lnTo>
                <a:lnTo>
                  <a:pt x="273" y="391"/>
                </a:lnTo>
                <a:lnTo>
                  <a:pt x="275" y="393"/>
                </a:lnTo>
                <a:lnTo>
                  <a:pt x="277" y="395"/>
                </a:lnTo>
                <a:lnTo>
                  <a:pt x="279" y="399"/>
                </a:lnTo>
                <a:lnTo>
                  <a:pt x="279" y="402"/>
                </a:lnTo>
                <a:lnTo>
                  <a:pt x="279" y="406"/>
                </a:lnTo>
                <a:lnTo>
                  <a:pt x="279" y="406"/>
                </a:lnTo>
                <a:lnTo>
                  <a:pt x="279" y="418"/>
                </a:lnTo>
                <a:lnTo>
                  <a:pt x="275" y="427"/>
                </a:lnTo>
                <a:lnTo>
                  <a:pt x="269" y="437"/>
                </a:lnTo>
                <a:lnTo>
                  <a:pt x="263" y="442"/>
                </a:lnTo>
                <a:lnTo>
                  <a:pt x="256" y="450"/>
                </a:lnTo>
                <a:lnTo>
                  <a:pt x="248" y="456"/>
                </a:lnTo>
                <a:lnTo>
                  <a:pt x="240" y="461"/>
                </a:lnTo>
                <a:lnTo>
                  <a:pt x="231" y="467"/>
                </a:lnTo>
                <a:lnTo>
                  <a:pt x="231" y="467"/>
                </a:lnTo>
                <a:lnTo>
                  <a:pt x="223" y="473"/>
                </a:lnTo>
                <a:lnTo>
                  <a:pt x="214" y="481"/>
                </a:lnTo>
                <a:lnTo>
                  <a:pt x="204" y="486"/>
                </a:lnTo>
                <a:lnTo>
                  <a:pt x="195" y="492"/>
                </a:lnTo>
                <a:lnTo>
                  <a:pt x="185" y="500"/>
                </a:lnTo>
                <a:lnTo>
                  <a:pt x="176" y="505"/>
                </a:lnTo>
                <a:lnTo>
                  <a:pt x="164" y="511"/>
                </a:lnTo>
                <a:lnTo>
                  <a:pt x="155" y="517"/>
                </a:lnTo>
                <a:lnTo>
                  <a:pt x="143" y="523"/>
                </a:lnTo>
                <a:lnTo>
                  <a:pt x="134" y="526"/>
                </a:lnTo>
                <a:lnTo>
                  <a:pt x="122" y="532"/>
                </a:lnTo>
                <a:lnTo>
                  <a:pt x="113" y="536"/>
                </a:lnTo>
                <a:lnTo>
                  <a:pt x="101" y="540"/>
                </a:lnTo>
                <a:lnTo>
                  <a:pt x="92" y="542"/>
                </a:lnTo>
                <a:lnTo>
                  <a:pt x="80" y="545"/>
                </a:lnTo>
                <a:lnTo>
                  <a:pt x="71" y="547"/>
                </a:lnTo>
                <a:lnTo>
                  <a:pt x="71" y="547"/>
                </a:lnTo>
                <a:lnTo>
                  <a:pt x="63" y="549"/>
                </a:lnTo>
                <a:lnTo>
                  <a:pt x="57" y="549"/>
                </a:lnTo>
                <a:lnTo>
                  <a:pt x="52" y="551"/>
                </a:lnTo>
                <a:lnTo>
                  <a:pt x="46" y="553"/>
                </a:lnTo>
                <a:lnTo>
                  <a:pt x="40" y="555"/>
                </a:lnTo>
                <a:lnTo>
                  <a:pt x="34" y="557"/>
                </a:lnTo>
                <a:lnTo>
                  <a:pt x="29" y="561"/>
                </a:lnTo>
                <a:lnTo>
                  <a:pt x="25" y="563"/>
                </a:lnTo>
                <a:lnTo>
                  <a:pt x="21" y="566"/>
                </a:lnTo>
                <a:lnTo>
                  <a:pt x="17" y="570"/>
                </a:lnTo>
                <a:lnTo>
                  <a:pt x="13" y="574"/>
                </a:lnTo>
                <a:lnTo>
                  <a:pt x="10" y="578"/>
                </a:lnTo>
                <a:lnTo>
                  <a:pt x="6" y="584"/>
                </a:lnTo>
                <a:lnTo>
                  <a:pt x="4" y="589"/>
                </a:lnTo>
                <a:lnTo>
                  <a:pt x="2" y="595"/>
                </a:lnTo>
                <a:lnTo>
                  <a:pt x="0" y="601"/>
                </a:lnTo>
                <a:lnTo>
                  <a:pt x="309" y="626"/>
                </a:lnTo>
                <a:lnTo>
                  <a:pt x="303" y="626"/>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4" name="Freeform 44"/>
          <p:cNvSpPr>
            <a:spLocks/>
          </p:cNvSpPr>
          <p:nvPr/>
        </p:nvSpPr>
        <p:spPr bwMode="auto">
          <a:xfrm>
            <a:off x="1360488" y="1373089"/>
            <a:ext cx="1325563" cy="1235075"/>
          </a:xfrm>
          <a:custGeom>
            <a:avLst/>
            <a:gdLst>
              <a:gd name="T0" fmla="*/ 639 w 1477"/>
              <a:gd name="T1" fmla="*/ 1230 h 1415"/>
              <a:gd name="T2" fmla="*/ 649 w 1477"/>
              <a:gd name="T3" fmla="*/ 1266 h 1415"/>
              <a:gd name="T4" fmla="*/ 670 w 1477"/>
              <a:gd name="T5" fmla="*/ 1278 h 1415"/>
              <a:gd name="T6" fmla="*/ 718 w 1477"/>
              <a:gd name="T7" fmla="*/ 1318 h 1415"/>
              <a:gd name="T8" fmla="*/ 794 w 1477"/>
              <a:gd name="T9" fmla="*/ 1366 h 1415"/>
              <a:gd name="T10" fmla="*/ 786 w 1477"/>
              <a:gd name="T11" fmla="*/ 1394 h 1415"/>
              <a:gd name="T12" fmla="*/ 796 w 1477"/>
              <a:gd name="T13" fmla="*/ 1411 h 1415"/>
              <a:gd name="T14" fmla="*/ 1469 w 1477"/>
              <a:gd name="T15" fmla="*/ 1051 h 1415"/>
              <a:gd name="T16" fmla="*/ 1442 w 1477"/>
              <a:gd name="T17" fmla="*/ 1015 h 1415"/>
              <a:gd name="T18" fmla="*/ 1401 w 1477"/>
              <a:gd name="T19" fmla="*/ 982 h 1415"/>
              <a:gd name="T20" fmla="*/ 1364 w 1477"/>
              <a:gd name="T21" fmla="*/ 978 h 1415"/>
              <a:gd name="T22" fmla="*/ 1347 w 1477"/>
              <a:gd name="T23" fmla="*/ 959 h 1415"/>
              <a:gd name="T24" fmla="*/ 1326 w 1477"/>
              <a:gd name="T25" fmla="*/ 919 h 1415"/>
              <a:gd name="T26" fmla="*/ 1292 w 1477"/>
              <a:gd name="T27" fmla="*/ 854 h 1415"/>
              <a:gd name="T28" fmla="*/ 1324 w 1477"/>
              <a:gd name="T29" fmla="*/ 818 h 1415"/>
              <a:gd name="T30" fmla="*/ 1324 w 1477"/>
              <a:gd name="T31" fmla="*/ 776 h 1415"/>
              <a:gd name="T32" fmla="*/ 1334 w 1477"/>
              <a:gd name="T33" fmla="*/ 736 h 1415"/>
              <a:gd name="T34" fmla="*/ 1334 w 1477"/>
              <a:gd name="T35" fmla="*/ 698 h 1415"/>
              <a:gd name="T36" fmla="*/ 1334 w 1477"/>
              <a:gd name="T37" fmla="*/ 652 h 1415"/>
              <a:gd name="T38" fmla="*/ 1322 w 1477"/>
              <a:gd name="T39" fmla="*/ 585 h 1415"/>
              <a:gd name="T40" fmla="*/ 1294 w 1477"/>
              <a:gd name="T41" fmla="*/ 520 h 1415"/>
              <a:gd name="T42" fmla="*/ 1277 w 1477"/>
              <a:gd name="T43" fmla="*/ 442 h 1415"/>
              <a:gd name="T44" fmla="*/ 1250 w 1477"/>
              <a:gd name="T45" fmla="*/ 381 h 1415"/>
              <a:gd name="T46" fmla="*/ 1198 w 1477"/>
              <a:gd name="T47" fmla="*/ 314 h 1415"/>
              <a:gd name="T48" fmla="*/ 1175 w 1477"/>
              <a:gd name="T49" fmla="*/ 248 h 1415"/>
              <a:gd name="T50" fmla="*/ 1221 w 1477"/>
              <a:gd name="T51" fmla="*/ 190 h 1415"/>
              <a:gd name="T52" fmla="*/ 1248 w 1477"/>
              <a:gd name="T53" fmla="*/ 131 h 1415"/>
              <a:gd name="T54" fmla="*/ 1257 w 1477"/>
              <a:gd name="T55" fmla="*/ 47 h 1415"/>
              <a:gd name="T56" fmla="*/ 1267 w 1477"/>
              <a:gd name="T57" fmla="*/ 11 h 1415"/>
              <a:gd name="T58" fmla="*/ 1223 w 1477"/>
              <a:gd name="T59" fmla="*/ 2 h 1415"/>
              <a:gd name="T60" fmla="*/ 1193 w 1477"/>
              <a:gd name="T61" fmla="*/ 5 h 1415"/>
              <a:gd name="T62" fmla="*/ 1156 w 1477"/>
              <a:gd name="T63" fmla="*/ 13 h 1415"/>
              <a:gd name="T64" fmla="*/ 1124 w 1477"/>
              <a:gd name="T65" fmla="*/ 5 h 1415"/>
              <a:gd name="T66" fmla="*/ 1088 w 1477"/>
              <a:gd name="T67" fmla="*/ 30 h 1415"/>
              <a:gd name="T68" fmla="*/ 1034 w 1477"/>
              <a:gd name="T69" fmla="*/ 28 h 1415"/>
              <a:gd name="T70" fmla="*/ 876 w 1477"/>
              <a:gd name="T71" fmla="*/ 17 h 1415"/>
              <a:gd name="T72" fmla="*/ 758 w 1477"/>
              <a:gd name="T73" fmla="*/ 38 h 1415"/>
              <a:gd name="T74" fmla="*/ 702 w 1477"/>
              <a:gd name="T75" fmla="*/ 61 h 1415"/>
              <a:gd name="T76" fmla="*/ 678 w 1477"/>
              <a:gd name="T77" fmla="*/ 68 h 1415"/>
              <a:gd name="T78" fmla="*/ 634 w 1477"/>
              <a:gd name="T79" fmla="*/ 76 h 1415"/>
              <a:gd name="T80" fmla="*/ 573 w 1477"/>
              <a:gd name="T81" fmla="*/ 114 h 1415"/>
              <a:gd name="T82" fmla="*/ 534 w 1477"/>
              <a:gd name="T83" fmla="*/ 118 h 1415"/>
              <a:gd name="T84" fmla="*/ 540 w 1477"/>
              <a:gd name="T85" fmla="*/ 131 h 1415"/>
              <a:gd name="T86" fmla="*/ 563 w 1477"/>
              <a:gd name="T87" fmla="*/ 175 h 1415"/>
              <a:gd name="T88" fmla="*/ 561 w 1477"/>
              <a:gd name="T89" fmla="*/ 219 h 1415"/>
              <a:gd name="T90" fmla="*/ 555 w 1477"/>
              <a:gd name="T91" fmla="*/ 257 h 1415"/>
              <a:gd name="T92" fmla="*/ 578 w 1477"/>
              <a:gd name="T93" fmla="*/ 322 h 1415"/>
              <a:gd name="T94" fmla="*/ 563 w 1477"/>
              <a:gd name="T95" fmla="*/ 353 h 1415"/>
              <a:gd name="T96" fmla="*/ 531 w 1477"/>
              <a:gd name="T97" fmla="*/ 356 h 1415"/>
              <a:gd name="T98" fmla="*/ 494 w 1477"/>
              <a:gd name="T99" fmla="*/ 351 h 1415"/>
              <a:gd name="T100" fmla="*/ 460 w 1477"/>
              <a:gd name="T101" fmla="*/ 351 h 1415"/>
              <a:gd name="T102" fmla="*/ 382 w 1477"/>
              <a:gd name="T103" fmla="*/ 423 h 1415"/>
              <a:gd name="T104" fmla="*/ 353 w 1477"/>
              <a:gd name="T105" fmla="*/ 452 h 1415"/>
              <a:gd name="T106" fmla="*/ 311 w 1477"/>
              <a:gd name="T107" fmla="*/ 461 h 1415"/>
              <a:gd name="T108" fmla="*/ 279 w 1477"/>
              <a:gd name="T109" fmla="*/ 496 h 1415"/>
              <a:gd name="T110" fmla="*/ 224 w 1477"/>
              <a:gd name="T111" fmla="*/ 513 h 1415"/>
              <a:gd name="T112" fmla="*/ 157 w 1477"/>
              <a:gd name="T113" fmla="*/ 526 h 1415"/>
              <a:gd name="T114" fmla="*/ 140 w 1477"/>
              <a:gd name="T115" fmla="*/ 526 h 1415"/>
              <a:gd name="T116" fmla="*/ 71 w 1477"/>
              <a:gd name="T117" fmla="*/ 549 h 1415"/>
              <a:gd name="T118" fmla="*/ 12 w 1477"/>
              <a:gd name="T119" fmla="*/ 591 h 1415"/>
              <a:gd name="T120" fmla="*/ 6 w 1477"/>
              <a:gd name="T121" fmla="*/ 664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77" h="1415">
                <a:moveTo>
                  <a:pt x="239" y="898"/>
                </a:moveTo>
                <a:lnTo>
                  <a:pt x="615" y="1213"/>
                </a:lnTo>
                <a:lnTo>
                  <a:pt x="615" y="1213"/>
                </a:lnTo>
                <a:lnTo>
                  <a:pt x="617" y="1219"/>
                </a:lnTo>
                <a:lnTo>
                  <a:pt x="620" y="1223"/>
                </a:lnTo>
                <a:lnTo>
                  <a:pt x="624" y="1224"/>
                </a:lnTo>
                <a:lnTo>
                  <a:pt x="630" y="1226"/>
                </a:lnTo>
                <a:lnTo>
                  <a:pt x="634" y="1228"/>
                </a:lnTo>
                <a:lnTo>
                  <a:pt x="639" y="1230"/>
                </a:lnTo>
                <a:lnTo>
                  <a:pt x="643" y="1232"/>
                </a:lnTo>
                <a:lnTo>
                  <a:pt x="647" y="1238"/>
                </a:lnTo>
                <a:lnTo>
                  <a:pt x="647" y="1238"/>
                </a:lnTo>
                <a:lnTo>
                  <a:pt x="649" y="1243"/>
                </a:lnTo>
                <a:lnTo>
                  <a:pt x="649" y="1247"/>
                </a:lnTo>
                <a:lnTo>
                  <a:pt x="649" y="1253"/>
                </a:lnTo>
                <a:lnTo>
                  <a:pt x="649" y="1257"/>
                </a:lnTo>
                <a:lnTo>
                  <a:pt x="647" y="1261"/>
                </a:lnTo>
                <a:lnTo>
                  <a:pt x="649" y="1266"/>
                </a:lnTo>
                <a:lnTo>
                  <a:pt x="649" y="1270"/>
                </a:lnTo>
                <a:lnTo>
                  <a:pt x="653" y="1272"/>
                </a:lnTo>
                <a:lnTo>
                  <a:pt x="653" y="1272"/>
                </a:lnTo>
                <a:lnTo>
                  <a:pt x="655" y="1274"/>
                </a:lnTo>
                <a:lnTo>
                  <a:pt x="657" y="1276"/>
                </a:lnTo>
                <a:lnTo>
                  <a:pt x="660" y="1276"/>
                </a:lnTo>
                <a:lnTo>
                  <a:pt x="662" y="1278"/>
                </a:lnTo>
                <a:lnTo>
                  <a:pt x="666" y="1278"/>
                </a:lnTo>
                <a:lnTo>
                  <a:pt x="670" y="1278"/>
                </a:lnTo>
                <a:lnTo>
                  <a:pt x="674" y="1280"/>
                </a:lnTo>
                <a:lnTo>
                  <a:pt x="678" y="1280"/>
                </a:lnTo>
                <a:lnTo>
                  <a:pt x="678" y="1280"/>
                </a:lnTo>
                <a:lnTo>
                  <a:pt x="679" y="1289"/>
                </a:lnTo>
                <a:lnTo>
                  <a:pt x="683" y="1297"/>
                </a:lnTo>
                <a:lnTo>
                  <a:pt x="691" y="1305"/>
                </a:lnTo>
                <a:lnTo>
                  <a:pt x="699" y="1310"/>
                </a:lnTo>
                <a:lnTo>
                  <a:pt x="708" y="1314"/>
                </a:lnTo>
                <a:lnTo>
                  <a:pt x="718" y="1318"/>
                </a:lnTo>
                <a:lnTo>
                  <a:pt x="729" y="1322"/>
                </a:lnTo>
                <a:lnTo>
                  <a:pt x="739" y="1324"/>
                </a:lnTo>
                <a:lnTo>
                  <a:pt x="750" y="1327"/>
                </a:lnTo>
                <a:lnTo>
                  <a:pt x="760" y="1331"/>
                </a:lnTo>
                <a:lnTo>
                  <a:pt x="769" y="1335"/>
                </a:lnTo>
                <a:lnTo>
                  <a:pt x="777" y="1341"/>
                </a:lnTo>
                <a:lnTo>
                  <a:pt x="784" y="1347"/>
                </a:lnTo>
                <a:lnTo>
                  <a:pt x="790" y="1356"/>
                </a:lnTo>
                <a:lnTo>
                  <a:pt x="794" y="1366"/>
                </a:lnTo>
                <a:lnTo>
                  <a:pt x="796" y="1379"/>
                </a:lnTo>
                <a:lnTo>
                  <a:pt x="796" y="1379"/>
                </a:lnTo>
                <a:lnTo>
                  <a:pt x="794" y="1383"/>
                </a:lnTo>
                <a:lnTo>
                  <a:pt x="794" y="1385"/>
                </a:lnTo>
                <a:lnTo>
                  <a:pt x="792" y="1387"/>
                </a:lnTo>
                <a:lnTo>
                  <a:pt x="790" y="1387"/>
                </a:lnTo>
                <a:lnTo>
                  <a:pt x="788" y="1388"/>
                </a:lnTo>
                <a:lnTo>
                  <a:pt x="786" y="1390"/>
                </a:lnTo>
                <a:lnTo>
                  <a:pt x="786" y="1394"/>
                </a:lnTo>
                <a:lnTo>
                  <a:pt x="786" y="1396"/>
                </a:lnTo>
                <a:lnTo>
                  <a:pt x="786" y="1396"/>
                </a:lnTo>
                <a:lnTo>
                  <a:pt x="786" y="1400"/>
                </a:lnTo>
                <a:lnTo>
                  <a:pt x="786" y="1402"/>
                </a:lnTo>
                <a:lnTo>
                  <a:pt x="788" y="1404"/>
                </a:lnTo>
                <a:lnTo>
                  <a:pt x="790" y="1406"/>
                </a:lnTo>
                <a:lnTo>
                  <a:pt x="792" y="1408"/>
                </a:lnTo>
                <a:lnTo>
                  <a:pt x="794" y="1409"/>
                </a:lnTo>
                <a:lnTo>
                  <a:pt x="796" y="1411"/>
                </a:lnTo>
                <a:lnTo>
                  <a:pt x="798" y="1415"/>
                </a:lnTo>
                <a:lnTo>
                  <a:pt x="996" y="1379"/>
                </a:lnTo>
                <a:lnTo>
                  <a:pt x="1133" y="1264"/>
                </a:lnTo>
                <a:lnTo>
                  <a:pt x="1477" y="1070"/>
                </a:lnTo>
                <a:lnTo>
                  <a:pt x="1477" y="1070"/>
                </a:lnTo>
                <a:lnTo>
                  <a:pt x="1475" y="1064"/>
                </a:lnTo>
                <a:lnTo>
                  <a:pt x="1473" y="1058"/>
                </a:lnTo>
                <a:lnTo>
                  <a:pt x="1471" y="1055"/>
                </a:lnTo>
                <a:lnTo>
                  <a:pt x="1469" y="1051"/>
                </a:lnTo>
                <a:lnTo>
                  <a:pt x="1465" y="1045"/>
                </a:lnTo>
                <a:lnTo>
                  <a:pt x="1462" y="1041"/>
                </a:lnTo>
                <a:lnTo>
                  <a:pt x="1460" y="1037"/>
                </a:lnTo>
                <a:lnTo>
                  <a:pt x="1456" y="1034"/>
                </a:lnTo>
                <a:lnTo>
                  <a:pt x="1452" y="1032"/>
                </a:lnTo>
                <a:lnTo>
                  <a:pt x="1450" y="1028"/>
                </a:lnTo>
                <a:lnTo>
                  <a:pt x="1446" y="1024"/>
                </a:lnTo>
                <a:lnTo>
                  <a:pt x="1444" y="1018"/>
                </a:lnTo>
                <a:lnTo>
                  <a:pt x="1442" y="1015"/>
                </a:lnTo>
                <a:lnTo>
                  <a:pt x="1441" y="1009"/>
                </a:lnTo>
                <a:lnTo>
                  <a:pt x="1439" y="1005"/>
                </a:lnTo>
                <a:lnTo>
                  <a:pt x="1439" y="999"/>
                </a:lnTo>
                <a:lnTo>
                  <a:pt x="1439" y="999"/>
                </a:lnTo>
                <a:lnTo>
                  <a:pt x="1429" y="997"/>
                </a:lnTo>
                <a:lnTo>
                  <a:pt x="1421" y="994"/>
                </a:lnTo>
                <a:lnTo>
                  <a:pt x="1414" y="990"/>
                </a:lnTo>
                <a:lnTo>
                  <a:pt x="1408" y="986"/>
                </a:lnTo>
                <a:lnTo>
                  <a:pt x="1401" y="982"/>
                </a:lnTo>
                <a:lnTo>
                  <a:pt x="1393" y="978"/>
                </a:lnTo>
                <a:lnTo>
                  <a:pt x="1385" y="976"/>
                </a:lnTo>
                <a:lnTo>
                  <a:pt x="1376" y="974"/>
                </a:lnTo>
                <a:lnTo>
                  <a:pt x="1376" y="974"/>
                </a:lnTo>
                <a:lnTo>
                  <a:pt x="1374" y="974"/>
                </a:lnTo>
                <a:lnTo>
                  <a:pt x="1372" y="976"/>
                </a:lnTo>
                <a:lnTo>
                  <a:pt x="1368" y="976"/>
                </a:lnTo>
                <a:lnTo>
                  <a:pt x="1366" y="978"/>
                </a:lnTo>
                <a:lnTo>
                  <a:pt x="1364" y="978"/>
                </a:lnTo>
                <a:lnTo>
                  <a:pt x="1360" y="978"/>
                </a:lnTo>
                <a:lnTo>
                  <a:pt x="1359" y="978"/>
                </a:lnTo>
                <a:lnTo>
                  <a:pt x="1357" y="978"/>
                </a:lnTo>
                <a:lnTo>
                  <a:pt x="1357" y="978"/>
                </a:lnTo>
                <a:lnTo>
                  <a:pt x="1353" y="974"/>
                </a:lnTo>
                <a:lnTo>
                  <a:pt x="1351" y="971"/>
                </a:lnTo>
                <a:lnTo>
                  <a:pt x="1349" y="967"/>
                </a:lnTo>
                <a:lnTo>
                  <a:pt x="1349" y="963"/>
                </a:lnTo>
                <a:lnTo>
                  <a:pt x="1347" y="959"/>
                </a:lnTo>
                <a:lnTo>
                  <a:pt x="1347" y="955"/>
                </a:lnTo>
                <a:lnTo>
                  <a:pt x="1345" y="952"/>
                </a:lnTo>
                <a:lnTo>
                  <a:pt x="1343" y="948"/>
                </a:lnTo>
                <a:lnTo>
                  <a:pt x="1343" y="948"/>
                </a:lnTo>
                <a:lnTo>
                  <a:pt x="1341" y="944"/>
                </a:lnTo>
                <a:lnTo>
                  <a:pt x="1338" y="938"/>
                </a:lnTo>
                <a:lnTo>
                  <a:pt x="1334" y="933"/>
                </a:lnTo>
                <a:lnTo>
                  <a:pt x="1330" y="925"/>
                </a:lnTo>
                <a:lnTo>
                  <a:pt x="1326" y="919"/>
                </a:lnTo>
                <a:lnTo>
                  <a:pt x="1322" y="912"/>
                </a:lnTo>
                <a:lnTo>
                  <a:pt x="1317" y="904"/>
                </a:lnTo>
                <a:lnTo>
                  <a:pt x="1313" y="896"/>
                </a:lnTo>
                <a:lnTo>
                  <a:pt x="1309" y="889"/>
                </a:lnTo>
                <a:lnTo>
                  <a:pt x="1305" y="881"/>
                </a:lnTo>
                <a:lnTo>
                  <a:pt x="1301" y="873"/>
                </a:lnTo>
                <a:lnTo>
                  <a:pt x="1298" y="868"/>
                </a:lnTo>
                <a:lnTo>
                  <a:pt x="1294" y="860"/>
                </a:lnTo>
                <a:lnTo>
                  <a:pt x="1292" y="854"/>
                </a:lnTo>
                <a:lnTo>
                  <a:pt x="1292" y="850"/>
                </a:lnTo>
                <a:lnTo>
                  <a:pt x="1290" y="845"/>
                </a:lnTo>
                <a:lnTo>
                  <a:pt x="1290" y="845"/>
                </a:lnTo>
                <a:lnTo>
                  <a:pt x="1292" y="839"/>
                </a:lnTo>
                <a:lnTo>
                  <a:pt x="1296" y="833"/>
                </a:lnTo>
                <a:lnTo>
                  <a:pt x="1301" y="830"/>
                </a:lnTo>
                <a:lnTo>
                  <a:pt x="1309" y="826"/>
                </a:lnTo>
                <a:lnTo>
                  <a:pt x="1317" y="822"/>
                </a:lnTo>
                <a:lnTo>
                  <a:pt x="1324" y="818"/>
                </a:lnTo>
                <a:lnTo>
                  <a:pt x="1330" y="812"/>
                </a:lnTo>
                <a:lnTo>
                  <a:pt x="1334" y="807"/>
                </a:lnTo>
                <a:lnTo>
                  <a:pt x="1334" y="807"/>
                </a:lnTo>
                <a:lnTo>
                  <a:pt x="1334" y="801"/>
                </a:lnTo>
                <a:lnTo>
                  <a:pt x="1332" y="795"/>
                </a:lnTo>
                <a:lnTo>
                  <a:pt x="1330" y="789"/>
                </a:lnTo>
                <a:lnTo>
                  <a:pt x="1328" y="786"/>
                </a:lnTo>
                <a:lnTo>
                  <a:pt x="1326" y="782"/>
                </a:lnTo>
                <a:lnTo>
                  <a:pt x="1324" y="776"/>
                </a:lnTo>
                <a:lnTo>
                  <a:pt x="1324" y="770"/>
                </a:lnTo>
                <a:lnTo>
                  <a:pt x="1322" y="765"/>
                </a:lnTo>
                <a:lnTo>
                  <a:pt x="1322" y="765"/>
                </a:lnTo>
                <a:lnTo>
                  <a:pt x="1324" y="761"/>
                </a:lnTo>
                <a:lnTo>
                  <a:pt x="1324" y="755"/>
                </a:lnTo>
                <a:lnTo>
                  <a:pt x="1326" y="751"/>
                </a:lnTo>
                <a:lnTo>
                  <a:pt x="1328" y="746"/>
                </a:lnTo>
                <a:lnTo>
                  <a:pt x="1330" y="742"/>
                </a:lnTo>
                <a:lnTo>
                  <a:pt x="1334" y="736"/>
                </a:lnTo>
                <a:lnTo>
                  <a:pt x="1334" y="732"/>
                </a:lnTo>
                <a:lnTo>
                  <a:pt x="1334" y="730"/>
                </a:lnTo>
                <a:lnTo>
                  <a:pt x="1334" y="730"/>
                </a:lnTo>
                <a:lnTo>
                  <a:pt x="1334" y="723"/>
                </a:lnTo>
                <a:lnTo>
                  <a:pt x="1334" y="717"/>
                </a:lnTo>
                <a:lnTo>
                  <a:pt x="1334" y="711"/>
                </a:lnTo>
                <a:lnTo>
                  <a:pt x="1334" y="707"/>
                </a:lnTo>
                <a:lnTo>
                  <a:pt x="1334" y="702"/>
                </a:lnTo>
                <a:lnTo>
                  <a:pt x="1334" y="698"/>
                </a:lnTo>
                <a:lnTo>
                  <a:pt x="1334" y="694"/>
                </a:lnTo>
                <a:lnTo>
                  <a:pt x="1334" y="690"/>
                </a:lnTo>
                <a:lnTo>
                  <a:pt x="1334" y="686"/>
                </a:lnTo>
                <a:lnTo>
                  <a:pt x="1334" y="681"/>
                </a:lnTo>
                <a:lnTo>
                  <a:pt x="1334" y="677"/>
                </a:lnTo>
                <a:lnTo>
                  <a:pt x="1334" y="671"/>
                </a:lnTo>
                <a:lnTo>
                  <a:pt x="1334" y="665"/>
                </a:lnTo>
                <a:lnTo>
                  <a:pt x="1334" y="660"/>
                </a:lnTo>
                <a:lnTo>
                  <a:pt x="1334" y="652"/>
                </a:lnTo>
                <a:lnTo>
                  <a:pt x="1334" y="644"/>
                </a:lnTo>
                <a:lnTo>
                  <a:pt x="1334" y="644"/>
                </a:lnTo>
                <a:lnTo>
                  <a:pt x="1334" y="635"/>
                </a:lnTo>
                <a:lnTo>
                  <a:pt x="1334" y="627"/>
                </a:lnTo>
                <a:lnTo>
                  <a:pt x="1332" y="618"/>
                </a:lnTo>
                <a:lnTo>
                  <a:pt x="1330" y="610"/>
                </a:lnTo>
                <a:lnTo>
                  <a:pt x="1328" y="602"/>
                </a:lnTo>
                <a:lnTo>
                  <a:pt x="1324" y="593"/>
                </a:lnTo>
                <a:lnTo>
                  <a:pt x="1322" y="585"/>
                </a:lnTo>
                <a:lnTo>
                  <a:pt x="1318" y="580"/>
                </a:lnTo>
                <a:lnTo>
                  <a:pt x="1315" y="572"/>
                </a:lnTo>
                <a:lnTo>
                  <a:pt x="1313" y="564"/>
                </a:lnTo>
                <a:lnTo>
                  <a:pt x="1309" y="557"/>
                </a:lnTo>
                <a:lnTo>
                  <a:pt x="1305" y="549"/>
                </a:lnTo>
                <a:lnTo>
                  <a:pt x="1301" y="543"/>
                </a:lnTo>
                <a:lnTo>
                  <a:pt x="1299" y="536"/>
                </a:lnTo>
                <a:lnTo>
                  <a:pt x="1296" y="528"/>
                </a:lnTo>
                <a:lnTo>
                  <a:pt x="1294" y="520"/>
                </a:lnTo>
                <a:lnTo>
                  <a:pt x="1294" y="520"/>
                </a:lnTo>
                <a:lnTo>
                  <a:pt x="1290" y="509"/>
                </a:lnTo>
                <a:lnTo>
                  <a:pt x="1286" y="499"/>
                </a:lnTo>
                <a:lnTo>
                  <a:pt x="1284" y="488"/>
                </a:lnTo>
                <a:lnTo>
                  <a:pt x="1282" y="478"/>
                </a:lnTo>
                <a:lnTo>
                  <a:pt x="1282" y="469"/>
                </a:lnTo>
                <a:lnTo>
                  <a:pt x="1280" y="459"/>
                </a:lnTo>
                <a:lnTo>
                  <a:pt x="1278" y="450"/>
                </a:lnTo>
                <a:lnTo>
                  <a:pt x="1277" y="442"/>
                </a:lnTo>
                <a:lnTo>
                  <a:pt x="1277" y="433"/>
                </a:lnTo>
                <a:lnTo>
                  <a:pt x="1275" y="425"/>
                </a:lnTo>
                <a:lnTo>
                  <a:pt x="1271" y="417"/>
                </a:lnTo>
                <a:lnTo>
                  <a:pt x="1269" y="410"/>
                </a:lnTo>
                <a:lnTo>
                  <a:pt x="1265" y="402"/>
                </a:lnTo>
                <a:lnTo>
                  <a:pt x="1261" y="395"/>
                </a:lnTo>
                <a:lnTo>
                  <a:pt x="1256" y="387"/>
                </a:lnTo>
                <a:lnTo>
                  <a:pt x="1250" y="381"/>
                </a:lnTo>
                <a:lnTo>
                  <a:pt x="1250" y="381"/>
                </a:lnTo>
                <a:lnTo>
                  <a:pt x="1246" y="377"/>
                </a:lnTo>
                <a:lnTo>
                  <a:pt x="1240" y="372"/>
                </a:lnTo>
                <a:lnTo>
                  <a:pt x="1236" y="366"/>
                </a:lnTo>
                <a:lnTo>
                  <a:pt x="1231" y="358"/>
                </a:lnTo>
                <a:lnTo>
                  <a:pt x="1223" y="351"/>
                </a:lnTo>
                <a:lnTo>
                  <a:pt x="1217" y="341"/>
                </a:lnTo>
                <a:lnTo>
                  <a:pt x="1212" y="333"/>
                </a:lnTo>
                <a:lnTo>
                  <a:pt x="1206" y="324"/>
                </a:lnTo>
                <a:lnTo>
                  <a:pt x="1198" y="314"/>
                </a:lnTo>
                <a:lnTo>
                  <a:pt x="1193" y="305"/>
                </a:lnTo>
                <a:lnTo>
                  <a:pt x="1189" y="295"/>
                </a:lnTo>
                <a:lnTo>
                  <a:pt x="1183" y="286"/>
                </a:lnTo>
                <a:lnTo>
                  <a:pt x="1181" y="278"/>
                </a:lnTo>
                <a:lnTo>
                  <a:pt x="1177" y="271"/>
                </a:lnTo>
                <a:lnTo>
                  <a:pt x="1175" y="263"/>
                </a:lnTo>
                <a:lnTo>
                  <a:pt x="1175" y="257"/>
                </a:lnTo>
                <a:lnTo>
                  <a:pt x="1175" y="257"/>
                </a:lnTo>
                <a:lnTo>
                  <a:pt x="1175" y="248"/>
                </a:lnTo>
                <a:lnTo>
                  <a:pt x="1177" y="238"/>
                </a:lnTo>
                <a:lnTo>
                  <a:pt x="1181" y="230"/>
                </a:lnTo>
                <a:lnTo>
                  <a:pt x="1185" y="223"/>
                </a:lnTo>
                <a:lnTo>
                  <a:pt x="1191" y="217"/>
                </a:lnTo>
                <a:lnTo>
                  <a:pt x="1196" y="211"/>
                </a:lnTo>
                <a:lnTo>
                  <a:pt x="1202" y="206"/>
                </a:lnTo>
                <a:lnTo>
                  <a:pt x="1208" y="200"/>
                </a:lnTo>
                <a:lnTo>
                  <a:pt x="1214" y="196"/>
                </a:lnTo>
                <a:lnTo>
                  <a:pt x="1221" y="190"/>
                </a:lnTo>
                <a:lnTo>
                  <a:pt x="1227" y="187"/>
                </a:lnTo>
                <a:lnTo>
                  <a:pt x="1233" y="181"/>
                </a:lnTo>
                <a:lnTo>
                  <a:pt x="1236" y="175"/>
                </a:lnTo>
                <a:lnTo>
                  <a:pt x="1240" y="169"/>
                </a:lnTo>
                <a:lnTo>
                  <a:pt x="1244" y="162"/>
                </a:lnTo>
                <a:lnTo>
                  <a:pt x="1246" y="154"/>
                </a:lnTo>
                <a:lnTo>
                  <a:pt x="1246" y="154"/>
                </a:lnTo>
                <a:lnTo>
                  <a:pt x="1248" y="143"/>
                </a:lnTo>
                <a:lnTo>
                  <a:pt x="1248" y="131"/>
                </a:lnTo>
                <a:lnTo>
                  <a:pt x="1250" y="122"/>
                </a:lnTo>
                <a:lnTo>
                  <a:pt x="1250" y="110"/>
                </a:lnTo>
                <a:lnTo>
                  <a:pt x="1250" y="101"/>
                </a:lnTo>
                <a:lnTo>
                  <a:pt x="1252" y="91"/>
                </a:lnTo>
                <a:lnTo>
                  <a:pt x="1252" y="82"/>
                </a:lnTo>
                <a:lnTo>
                  <a:pt x="1252" y="72"/>
                </a:lnTo>
                <a:lnTo>
                  <a:pt x="1254" y="63"/>
                </a:lnTo>
                <a:lnTo>
                  <a:pt x="1256" y="55"/>
                </a:lnTo>
                <a:lnTo>
                  <a:pt x="1257" y="47"/>
                </a:lnTo>
                <a:lnTo>
                  <a:pt x="1261" y="40"/>
                </a:lnTo>
                <a:lnTo>
                  <a:pt x="1265" y="32"/>
                </a:lnTo>
                <a:lnTo>
                  <a:pt x="1269" y="26"/>
                </a:lnTo>
                <a:lnTo>
                  <a:pt x="1275" y="21"/>
                </a:lnTo>
                <a:lnTo>
                  <a:pt x="1282" y="15"/>
                </a:lnTo>
                <a:lnTo>
                  <a:pt x="1282" y="15"/>
                </a:lnTo>
                <a:lnTo>
                  <a:pt x="1277" y="13"/>
                </a:lnTo>
                <a:lnTo>
                  <a:pt x="1273" y="13"/>
                </a:lnTo>
                <a:lnTo>
                  <a:pt x="1267" y="11"/>
                </a:lnTo>
                <a:lnTo>
                  <a:pt x="1263" y="9"/>
                </a:lnTo>
                <a:lnTo>
                  <a:pt x="1257" y="9"/>
                </a:lnTo>
                <a:lnTo>
                  <a:pt x="1254" y="7"/>
                </a:lnTo>
                <a:lnTo>
                  <a:pt x="1248" y="7"/>
                </a:lnTo>
                <a:lnTo>
                  <a:pt x="1242" y="5"/>
                </a:lnTo>
                <a:lnTo>
                  <a:pt x="1238" y="3"/>
                </a:lnTo>
                <a:lnTo>
                  <a:pt x="1233" y="3"/>
                </a:lnTo>
                <a:lnTo>
                  <a:pt x="1227" y="3"/>
                </a:lnTo>
                <a:lnTo>
                  <a:pt x="1223" y="2"/>
                </a:lnTo>
                <a:lnTo>
                  <a:pt x="1217" y="2"/>
                </a:lnTo>
                <a:lnTo>
                  <a:pt x="1212" y="2"/>
                </a:lnTo>
                <a:lnTo>
                  <a:pt x="1208" y="0"/>
                </a:lnTo>
                <a:lnTo>
                  <a:pt x="1202" y="0"/>
                </a:lnTo>
                <a:lnTo>
                  <a:pt x="1202" y="0"/>
                </a:lnTo>
                <a:lnTo>
                  <a:pt x="1198" y="2"/>
                </a:lnTo>
                <a:lnTo>
                  <a:pt x="1196" y="2"/>
                </a:lnTo>
                <a:lnTo>
                  <a:pt x="1194" y="3"/>
                </a:lnTo>
                <a:lnTo>
                  <a:pt x="1193" y="5"/>
                </a:lnTo>
                <a:lnTo>
                  <a:pt x="1193" y="9"/>
                </a:lnTo>
                <a:lnTo>
                  <a:pt x="1191" y="11"/>
                </a:lnTo>
                <a:lnTo>
                  <a:pt x="1191" y="15"/>
                </a:lnTo>
                <a:lnTo>
                  <a:pt x="1191" y="19"/>
                </a:lnTo>
                <a:lnTo>
                  <a:pt x="1160" y="19"/>
                </a:lnTo>
                <a:lnTo>
                  <a:pt x="1160" y="19"/>
                </a:lnTo>
                <a:lnTo>
                  <a:pt x="1160" y="17"/>
                </a:lnTo>
                <a:lnTo>
                  <a:pt x="1158" y="15"/>
                </a:lnTo>
                <a:lnTo>
                  <a:pt x="1156" y="13"/>
                </a:lnTo>
                <a:lnTo>
                  <a:pt x="1153" y="9"/>
                </a:lnTo>
                <a:lnTo>
                  <a:pt x="1149" y="7"/>
                </a:lnTo>
                <a:lnTo>
                  <a:pt x="1145" y="5"/>
                </a:lnTo>
                <a:lnTo>
                  <a:pt x="1141" y="3"/>
                </a:lnTo>
                <a:lnTo>
                  <a:pt x="1139" y="3"/>
                </a:lnTo>
                <a:lnTo>
                  <a:pt x="1139" y="3"/>
                </a:lnTo>
                <a:lnTo>
                  <a:pt x="1133" y="3"/>
                </a:lnTo>
                <a:lnTo>
                  <a:pt x="1130" y="3"/>
                </a:lnTo>
                <a:lnTo>
                  <a:pt x="1124" y="5"/>
                </a:lnTo>
                <a:lnTo>
                  <a:pt x="1120" y="7"/>
                </a:lnTo>
                <a:lnTo>
                  <a:pt x="1116" y="11"/>
                </a:lnTo>
                <a:lnTo>
                  <a:pt x="1112" y="13"/>
                </a:lnTo>
                <a:lnTo>
                  <a:pt x="1109" y="17"/>
                </a:lnTo>
                <a:lnTo>
                  <a:pt x="1105" y="19"/>
                </a:lnTo>
                <a:lnTo>
                  <a:pt x="1101" y="23"/>
                </a:lnTo>
                <a:lnTo>
                  <a:pt x="1097" y="26"/>
                </a:lnTo>
                <a:lnTo>
                  <a:pt x="1093" y="28"/>
                </a:lnTo>
                <a:lnTo>
                  <a:pt x="1088" y="30"/>
                </a:lnTo>
                <a:lnTo>
                  <a:pt x="1084" y="32"/>
                </a:lnTo>
                <a:lnTo>
                  <a:pt x="1078" y="34"/>
                </a:lnTo>
                <a:lnTo>
                  <a:pt x="1072" y="36"/>
                </a:lnTo>
                <a:lnTo>
                  <a:pt x="1067" y="36"/>
                </a:lnTo>
                <a:lnTo>
                  <a:pt x="1067" y="36"/>
                </a:lnTo>
                <a:lnTo>
                  <a:pt x="1059" y="36"/>
                </a:lnTo>
                <a:lnTo>
                  <a:pt x="1051" y="34"/>
                </a:lnTo>
                <a:lnTo>
                  <a:pt x="1044" y="32"/>
                </a:lnTo>
                <a:lnTo>
                  <a:pt x="1034" y="28"/>
                </a:lnTo>
                <a:lnTo>
                  <a:pt x="1027" y="24"/>
                </a:lnTo>
                <a:lnTo>
                  <a:pt x="1019" y="21"/>
                </a:lnTo>
                <a:lnTo>
                  <a:pt x="1013" y="19"/>
                </a:lnTo>
                <a:lnTo>
                  <a:pt x="1008" y="15"/>
                </a:lnTo>
                <a:lnTo>
                  <a:pt x="910" y="15"/>
                </a:lnTo>
                <a:lnTo>
                  <a:pt x="910" y="15"/>
                </a:lnTo>
                <a:lnTo>
                  <a:pt x="899" y="15"/>
                </a:lnTo>
                <a:lnTo>
                  <a:pt x="887" y="15"/>
                </a:lnTo>
                <a:lnTo>
                  <a:pt x="876" y="17"/>
                </a:lnTo>
                <a:lnTo>
                  <a:pt x="863" y="17"/>
                </a:lnTo>
                <a:lnTo>
                  <a:pt x="849" y="19"/>
                </a:lnTo>
                <a:lnTo>
                  <a:pt x="836" y="21"/>
                </a:lnTo>
                <a:lnTo>
                  <a:pt x="823" y="23"/>
                </a:lnTo>
                <a:lnTo>
                  <a:pt x="809" y="26"/>
                </a:lnTo>
                <a:lnTo>
                  <a:pt x="796" y="28"/>
                </a:lnTo>
                <a:lnTo>
                  <a:pt x="782" y="32"/>
                </a:lnTo>
                <a:lnTo>
                  <a:pt x="769" y="34"/>
                </a:lnTo>
                <a:lnTo>
                  <a:pt x="758" y="38"/>
                </a:lnTo>
                <a:lnTo>
                  <a:pt x="744" y="40"/>
                </a:lnTo>
                <a:lnTo>
                  <a:pt x="733" y="44"/>
                </a:lnTo>
                <a:lnTo>
                  <a:pt x="723" y="47"/>
                </a:lnTo>
                <a:lnTo>
                  <a:pt x="714" y="49"/>
                </a:lnTo>
                <a:lnTo>
                  <a:pt x="714" y="49"/>
                </a:lnTo>
                <a:lnTo>
                  <a:pt x="710" y="51"/>
                </a:lnTo>
                <a:lnTo>
                  <a:pt x="706" y="55"/>
                </a:lnTo>
                <a:lnTo>
                  <a:pt x="704" y="57"/>
                </a:lnTo>
                <a:lnTo>
                  <a:pt x="702" y="61"/>
                </a:lnTo>
                <a:lnTo>
                  <a:pt x="699" y="63"/>
                </a:lnTo>
                <a:lnTo>
                  <a:pt x="697" y="66"/>
                </a:lnTo>
                <a:lnTo>
                  <a:pt x="693" y="66"/>
                </a:lnTo>
                <a:lnTo>
                  <a:pt x="689" y="68"/>
                </a:lnTo>
                <a:lnTo>
                  <a:pt x="689" y="68"/>
                </a:lnTo>
                <a:lnTo>
                  <a:pt x="685" y="68"/>
                </a:lnTo>
                <a:lnTo>
                  <a:pt x="681" y="68"/>
                </a:lnTo>
                <a:lnTo>
                  <a:pt x="679" y="68"/>
                </a:lnTo>
                <a:lnTo>
                  <a:pt x="678" y="68"/>
                </a:lnTo>
                <a:lnTo>
                  <a:pt x="674" y="68"/>
                </a:lnTo>
                <a:lnTo>
                  <a:pt x="672" y="68"/>
                </a:lnTo>
                <a:lnTo>
                  <a:pt x="668" y="68"/>
                </a:lnTo>
                <a:lnTo>
                  <a:pt x="664" y="68"/>
                </a:lnTo>
                <a:lnTo>
                  <a:pt x="664" y="68"/>
                </a:lnTo>
                <a:lnTo>
                  <a:pt x="657" y="68"/>
                </a:lnTo>
                <a:lnTo>
                  <a:pt x="647" y="70"/>
                </a:lnTo>
                <a:lnTo>
                  <a:pt x="639" y="72"/>
                </a:lnTo>
                <a:lnTo>
                  <a:pt x="634" y="76"/>
                </a:lnTo>
                <a:lnTo>
                  <a:pt x="626" y="80"/>
                </a:lnTo>
                <a:lnTo>
                  <a:pt x="620" y="84"/>
                </a:lnTo>
                <a:lnTo>
                  <a:pt x="613" y="87"/>
                </a:lnTo>
                <a:lnTo>
                  <a:pt x="607" y="93"/>
                </a:lnTo>
                <a:lnTo>
                  <a:pt x="601" y="97"/>
                </a:lnTo>
                <a:lnTo>
                  <a:pt x="594" y="103"/>
                </a:lnTo>
                <a:lnTo>
                  <a:pt x="588" y="106"/>
                </a:lnTo>
                <a:lnTo>
                  <a:pt x="580" y="110"/>
                </a:lnTo>
                <a:lnTo>
                  <a:pt x="573" y="114"/>
                </a:lnTo>
                <a:lnTo>
                  <a:pt x="565" y="116"/>
                </a:lnTo>
                <a:lnTo>
                  <a:pt x="557" y="118"/>
                </a:lnTo>
                <a:lnTo>
                  <a:pt x="550" y="118"/>
                </a:lnTo>
                <a:lnTo>
                  <a:pt x="550" y="118"/>
                </a:lnTo>
                <a:lnTo>
                  <a:pt x="546" y="118"/>
                </a:lnTo>
                <a:lnTo>
                  <a:pt x="544" y="118"/>
                </a:lnTo>
                <a:lnTo>
                  <a:pt x="540" y="118"/>
                </a:lnTo>
                <a:lnTo>
                  <a:pt x="538" y="118"/>
                </a:lnTo>
                <a:lnTo>
                  <a:pt x="534" y="118"/>
                </a:lnTo>
                <a:lnTo>
                  <a:pt x="531" y="118"/>
                </a:lnTo>
                <a:lnTo>
                  <a:pt x="527" y="118"/>
                </a:lnTo>
                <a:lnTo>
                  <a:pt x="521" y="116"/>
                </a:lnTo>
                <a:lnTo>
                  <a:pt x="521" y="116"/>
                </a:lnTo>
                <a:lnTo>
                  <a:pt x="525" y="120"/>
                </a:lnTo>
                <a:lnTo>
                  <a:pt x="529" y="122"/>
                </a:lnTo>
                <a:lnTo>
                  <a:pt x="533" y="126"/>
                </a:lnTo>
                <a:lnTo>
                  <a:pt x="536" y="127"/>
                </a:lnTo>
                <a:lnTo>
                  <a:pt x="540" y="131"/>
                </a:lnTo>
                <a:lnTo>
                  <a:pt x="544" y="135"/>
                </a:lnTo>
                <a:lnTo>
                  <a:pt x="546" y="139"/>
                </a:lnTo>
                <a:lnTo>
                  <a:pt x="550" y="143"/>
                </a:lnTo>
                <a:lnTo>
                  <a:pt x="554" y="147"/>
                </a:lnTo>
                <a:lnTo>
                  <a:pt x="555" y="152"/>
                </a:lnTo>
                <a:lnTo>
                  <a:pt x="559" y="158"/>
                </a:lnTo>
                <a:lnTo>
                  <a:pt x="561" y="162"/>
                </a:lnTo>
                <a:lnTo>
                  <a:pt x="563" y="169"/>
                </a:lnTo>
                <a:lnTo>
                  <a:pt x="563" y="175"/>
                </a:lnTo>
                <a:lnTo>
                  <a:pt x="563" y="183"/>
                </a:lnTo>
                <a:lnTo>
                  <a:pt x="565" y="190"/>
                </a:lnTo>
                <a:lnTo>
                  <a:pt x="565" y="190"/>
                </a:lnTo>
                <a:lnTo>
                  <a:pt x="565" y="194"/>
                </a:lnTo>
                <a:lnTo>
                  <a:pt x="563" y="200"/>
                </a:lnTo>
                <a:lnTo>
                  <a:pt x="563" y="204"/>
                </a:lnTo>
                <a:lnTo>
                  <a:pt x="563" y="209"/>
                </a:lnTo>
                <a:lnTo>
                  <a:pt x="563" y="213"/>
                </a:lnTo>
                <a:lnTo>
                  <a:pt x="561" y="219"/>
                </a:lnTo>
                <a:lnTo>
                  <a:pt x="561" y="223"/>
                </a:lnTo>
                <a:lnTo>
                  <a:pt x="559" y="227"/>
                </a:lnTo>
                <a:lnTo>
                  <a:pt x="559" y="230"/>
                </a:lnTo>
                <a:lnTo>
                  <a:pt x="557" y="236"/>
                </a:lnTo>
                <a:lnTo>
                  <a:pt x="557" y="240"/>
                </a:lnTo>
                <a:lnTo>
                  <a:pt x="555" y="244"/>
                </a:lnTo>
                <a:lnTo>
                  <a:pt x="555" y="250"/>
                </a:lnTo>
                <a:lnTo>
                  <a:pt x="555" y="253"/>
                </a:lnTo>
                <a:lnTo>
                  <a:pt x="555" y="257"/>
                </a:lnTo>
                <a:lnTo>
                  <a:pt x="555" y="263"/>
                </a:lnTo>
                <a:lnTo>
                  <a:pt x="555" y="263"/>
                </a:lnTo>
                <a:lnTo>
                  <a:pt x="555" y="272"/>
                </a:lnTo>
                <a:lnTo>
                  <a:pt x="557" y="284"/>
                </a:lnTo>
                <a:lnTo>
                  <a:pt x="561" y="292"/>
                </a:lnTo>
                <a:lnTo>
                  <a:pt x="565" y="299"/>
                </a:lnTo>
                <a:lnTo>
                  <a:pt x="569" y="307"/>
                </a:lnTo>
                <a:lnTo>
                  <a:pt x="575" y="314"/>
                </a:lnTo>
                <a:lnTo>
                  <a:pt x="578" y="322"/>
                </a:lnTo>
                <a:lnTo>
                  <a:pt x="582" y="328"/>
                </a:lnTo>
                <a:lnTo>
                  <a:pt x="582" y="328"/>
                </a:lnTo>
                <a:lnTo>
                  <a:pt x="578" y="332"/>
                </a:lnTo>
                <a:lnTo>
                  <a:pt x="575" y="335"/>
                </a:lnTo>
                <a:lnTo>
                  <a:pt x="573" y="339"/>
                </a:lnTo>
                <a:lnTo>
                  <a:pt x="571" y="343"/>
                </a:lnTo>
                <a:lnTo>
                  <a:pt x="569" y="347"/>
                </a:lnTo>
                <a:lnTo>
                  <a:pt x="567" y="351"/>
                </a:lnTo>
                <a:lnTo>
                  <a:pt x="563" y="353"/>
                </a:lnTo>
                <a:lnTo>
                  <a:pt x="561" y="354"/>
                </a:lnTo>
                <a:lnTo>
                  <a:pt x="561" y="354"/>
                </a:lnTo>
                <a:lnTo>
                  <a:pt x="555" y="356"/>
                </a:lnTo>
                <a:lnTo>
                  <a:pt x="552" y="356"/>
                </a:lnTo>
                <a:lnTo>
                  <a:pt x="548" y="358"/>
                </a:lnTo>
                <a:lnTo>
                  <a:pt x="544" y="358"/>
                </a:lnTo>
                <a:lnTo>
                  <a:pt x="538" y="358"/>
                </a:lnTo>
                <a:lnTo>
                  <a:pt x="534" y="356"/>
                </a:lnTo>
                <a:lnTo>
                  <a:pt x="531" y="356"/>
                </a:lnTo>
                <a:lnTo>
                  <a:pt x="527" y="356"/>
                </a:lnTo>
                <a:lnTo>
                  <a:pt x="523" y="356"/>
                </a:lnTo>
                <a:lnTo>
                  <a:pt x="519" y="354"/>
                </a:lnTo>
                <a:lnTo>
                  <a:pt x="515" y="354"/>
                </a:lnTo>
                <a:lnTo>
                  <a:pt x="512" y="353"/>
                </a:lnTo>
                <a:lnTo>
                  <a:pt x="508" y="353"/>
                </a:lnTo>
                <a:lnTo>
                  <a:pt x="504" y="353"/>
                </a:lnTo>
                <a:lnTo>
                  <a:pt x="498" y="351"/>
                </a:lnTo>
                <a:lnTo>
                  <a:pt x="494" y="351"/>
                </a:lnTo>
                <a:lnTo>
                  <a:pt x="494" y="351"/>
                </a:lnTo>
                <a:lnTo>
                  <a:pt x="489" y="351"/>
                </a:lnTo>
                <a:lnTo>
                  <a:pt x="485" y="351"/>
                </a:lnTo>
                <a:lnTo>
                  <a:pt x="481" y="351"/>
                </a:lnTo>
                <a:lnTo>
                  <a:pt x="477" y="351"/>
                </a:lnTo>
                <a:lnTo>
                  <a:pt x="473" y="349"/>
                </a:lnTo>
                <a:lnTo>
                  <a:pt x="470" y="349"/>
                </a:lnTo>
                <a:lnTo>
                  <a:pt x="466" y="351"/>
                </a:lnTo>
                <a:lnTo>
                  <a:pt x="460" y="351"/>
                </a:lnTo>
                <a:lnTo>
                  <a:pt x="441" y="372"/>
                </a:lnTo>
                <a:lnTo>
                  <a:pt x="384" y="387"/>
                </a:lnTo>
                <a:lnTo>
                  <a:pt x="384" y="387"/>
                </a:lnTo>
                <a:lnTo>
                  <a:pt x="380" y="393"/>
                </a:lnTo>
                <a:lnTo>
                  <a:pt x="380" y="400"/>
                </a:lnTo>
                <a:lnTo>
                  <a:pt x="380" y="406"/>
                </a:lnTo>
                <a:lnTo>
                  <a:pt x="380" y="412"/>
                </a:lnTo>
                <a:lnTo>
                  <a:pt x="382" y="417"/>
                </a:lnTo>
                <a:lnTo>
                  <a:pt x="382" y="423"/>
                </a:lnTo>
                <a:lnTo>
                  <a:pt x="380" y="429"/>
                </a:lnTo>
                <a:lnTo>
                  <a:pt x="378" y="435"/>
                </a:lnTo>
                <a:lnTo>
                  <a:pt x="378" y="435"/>
                </a:lnTo>
                <a:lnTo>
                  <a:pt x="374" y="438"/>
                </a:lnTo>
                <a:lnTo>
                  <a:pt x="370" y="442"/>
                </a:lnTo>
                <a:lnTo>
                  <a:pt x="367" y="444"/>
                </a:lnTo>
                <a:lnTo>
                  <a:pt x="363" y="448"/>
                </a:lnTo>
                <a:lnTo>
                  <a:pt x="359" y="450"/>
                </a:lnTo>
                <a:lnTo>
                  <a:pt x="353" y="452"/>
                </a:lnTo>
                <a:lnTo>
                  <a:pt x="349" y="452"/>
                </a:lnTo>
                <a:lnTo>
                  <a:pt x="346" y="454"/>
                </a:lnTo>
                <a:lnTo>
                  <a:pt x="340" y="456"/>
                </a:lnTo>
                <a:lnTo>
                  <a:pt x="336" y="456"/>
                </a:lnTo>
                <a:lnTo>
                  <a:pt x="330" y="457"/>
                </a:lnTo>
                <a:lnTo>
                  <a:pt x="327" y="457"/>
                </a:lnTo>
                <a:lnTo>
                  <a:pt x="321" y="459"/>
                </a:lnTo>
                <a:lnTo>
                  <a:pt x="317" y="461"/>
                </a:lnTo>
                <a:lnTo>
                  <a:pt x="311" y="461"/>
                </a:lnTo>
                <a:lnTo>
                  <a:pt x="307" y="463"/>
                </a:lnTo>
                <a:lnTo>
                  <a:pt x="307" y="463"/>
                </a:lnTo>
                <a:lnTo>
                  <a:pt x="302" y="467"/>
                </a:lnTo>
                <a:lnTo>
                  <a:pt x="296" y="471"/>
                </a:lnTo>
                <a:lnTo>
                  <a:pt x="292" y="475"/>
                </a:lnTo>
                <a:lnTo>
                  <a:pt x="290" y="480"/>
                </a:lnTo>
                <a:lnTo>
                  <a:pt x="287" y="484"/>
                </a:lnTo>
                <a:lnTo>
                  <a:pt x="283" y="490"/>
                </a:lnTo>
                <a:lnTo>
                  <a:pt x="279" y="496"/>
                </a:lnTo>
                <a:lnTo>
                  <a:pt x="275" y="499"/>
                </a:lnTo>
                <a:lnTo>
                  <a:pt x="275" y="499"/>
                </a:lnTo>
                <a:lnTo>
                  <a:pt x="273" y="501"/>
                </a:lnTo>
                <a:lnTo>
                  <a:pt x="267" y="501"/>
                </a:lnTo>
                <a:lnTo>
                  <a:pt x="260" y="503"/>
                </a:lnTo>
                <a:lnTo>
                  <a:pt x="252" y="505"/>
                </a:lnTo>
                <a:lnTo>
                  <a:pt x="243" y="509"/>
                </a:lnTo>
                <a:lnTo>
                  <a:pt x="233" y="511"/>
                </a:lnTo>
                <a:lnTo>
                  <a:pt x="224" y="513"/>
                </a:lnTo>
                <a:lnTo>
                  <a:pt x="212" y="515"/>
                </a:lnTo>
                <a:lnTo>
                  <a:pt x="203" y="519"/>
                </a:lnTo>
                <a:lnTo>
                  <a:pt x="191" y="520"/>
                </a:lnTo>
                <a:lnTo>
                  <a:pt x="182" y="520"/>
                </a:lnTo>
                <a:lnTo>
                  <a:pt x="174" y="522"/>
                </a:lnTo>
                <a:lnTo>
                  <a:pt x="166" y="524"/>
                </a:lnTo>
                <a:lnTo>
                  <a:pt x="161" y="526"/>
                </a:lnTo>
                <a:lnTo>
                  <a:pt x="159" y="526"/>
                </a:lnTo>
                <a:lnTo>
                  <a:pt x="157" y="526"/>
                </a:lnTo>
                <a:lnTo>
                  <a:pt x="157" y="526"/>
                </a:lnTo>
                <a:lnTo>
                  <a:pt x="153" y="526"/>
                </a:lnTo>
                <a:lnTo>
                  <a:pt x="149" y="526"/>
                </a:lnTo>
                <a:lnTo>
                  <a:pt x="147" y="526"/>
                </a:lnTo>
                <a:lnTo>
                  <a:pt x="145" y="526"/>
                </a:lnTo>
                <a:lnTo>
                  <a:pt x="143" y="526"/>
                </a:lnTo>
                <a:lnTo>
                  <a:pt x="142" y="526"/>
                </a:lnTo>
                <a:lnTo>
                  <a:pt x="140" y="526"/>
                </a:lnTo>
                <a:lnTo>
                  <a:pt x="140" y="526"/>
                </a:lnTo>
                <a:lnTo>
                  <a:pt x="140" y="526"/>
                </a:lnTo>
                <a:lnTo>
                  <a:pt x="132" y="526"/>
                </a:lnTo>
                <a:lnTo>
                  <a:pt x="122" y="528"/>
                </a:lnTo>
                <a:lnTo>
                  <a:pt x="115" y="530"/>
                </a:lnTo>
                <a:lnTo>
                  <a:pt x="105" y="534"/>
                </a:lnTo>
                <a:lnTo>
                  <a:pt x="98" y="536"/>
                </a:lnTo>
                <a:lnTo>
                  <a:pt x="90" y="540"/>
                </a:lnTo>
                <a:lnTo>
                  <a:pt x="81" y="545"/>
                </a:lnTo>
                <a:lnTo>
                  <a:pt x="71" y="549"/>
                </a:lnTo>
                <a:lnTo>
                  <a:pt x="63" y="555"/>
                </a:lnTo>
                <a:lnTo>
                  <a:pt x="56" y="561"/>
                </a:lnTo>
                <a:lnTo>
                  <a:pt x="48" y="564"/>
                </a:lnTo>
                <a:lnTo>
                  <a:pt x="40" y="570"/>
                </a:lnTo>
                <a:lnTo>
                  <a:pt x="33" y="576"/>
                </a:lnTo>
                <a:lnTo>
                  <a:pt x="25" y="582"/>
                </a:lnTo>
                <a:lnTo>
                  <a:pt x="18" y="585"/>
                </a:lnTo>
                <a:lnTo>
                  <a:pt x="12" y="591"/>
                </a:lnTo>
                <a:lnTo>
                  <a:pt x="12" y="591"/>
                </a:lnTo>
                <a:lnTo>
                  <a:pt x="6" y="595"/>
                </a:lnTo>
                <a:lnTo>
                  <a:pt x="4" y="601"/>
                </a:lnTo>
                <a:lnTo>
                  <a:pt x="2" y="606"/>
                </a:lnTo>
                <a:lnTo>
                  <a:pt x="2" y="614"/>
                </a:lnTo>
                <a:lnTo>
                  <a:pt x="2" y="620"/>
                </a:lnTo>
                <a:lnTo>
                  <a:pt x="2" y="625"/>
                </a:lnTo>
                <a:lnTo>
                  <a:pt x="2" y="633"/>
                </a:lnTo>
                <a:lnTo>
                  <a:pt x="0" y="639"/>
                </a:lnTo>
                <a:lnTo>
                  <a:pt x="6" y="664"/>
                </a:lnTo>
                <a:lnTo>
                  <a:pt x="2" y="698"/>
                </a:lnTo>
                <a:lnTo>
                  <a:pt x="245" y="898"/>
                </a:lnTo>
                <a:lnTo>
                  <a:pt x="239" y="898"/>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5" name="Freeform 45"/>
          <p:cNvSpPr>
            <a:spLocks/>
          </p:cNvSpPr>
          <p:nvPr/>
        </p:nvSpPr>
        <p:spPr bwMode="auto">
          <a:xfrm>
            <a:off x="2414588" y="1360389"/>
            <a:ext cx="263525" cy="488950"/>
          </a:xfrm>
          <a:custGeom>
            <a:avLst/>
            <a:gdLst>
              <a:gd name="T0" fmla="*/ 124 w 292"/>
              <a:gd name="T1" fmla="*/ 554 h 561"/>
              <a:gd name="T2" fmla="*/ 121 w 292"/>
              <a:gd name="T3" fmla="*/ 542 h 561"/>
              <a:gd name="T4" fmla="*/ 115 w 292"/>
              <a:gd name="T5" fmla="*/ 525 h 561"/>
              <a:gd name="T6" fmla="*/ 107 w 292"/>
              <a:gd name="T7" fmla="*/ 485 h 561"/>
              <a:gd name="T8" fmla="*/ 102 w 292"/>
              <a:gd name="T9" fmla="*/ 449 h 561"/>
              <a:gd name="T10" fmla="*/ 90 w 292"/>
              <a:gd name="T11" fmla="*/ 418 h 561"/>
              <a:gd name="T12" fmla="*/ 75 w 292"/>
              <a:gd name="T13" fmla="*/ 397 h 561"/>
              <a:gd name="T14" fmla="*/ 56 w 292"/>
              <a:gd name="T15" fmla="*/ 374 h 561"/>
              <a:gd name="T16" fmla="*/ 31 w 292"/>
              <a:gd name="T17" fmla="*/ 340 h 561"/>
              <a:gd name="T18" fmla="*/ 8 w 292"/>
              <a:gd name="T19" fmla="*/ 302 h 561"/>
              <a:gd name="T20" fmla="*/ 0 w 292"/>
              <a:gd name="T21" fmla="*/ 273 h 561"/>
              <a:gd name="T22" fmla="*/ 6 w 292"/>
              <a:gd name="T23" fmla="*/ 246 h 561"/>
              <a:gd name="T24" fmla="*/ 27 w 292"/>
              <a:gd name="T25" fmla="*/ 222 h 561"/>
              <a:gd name="T26" fmla="*/ 52 w 292"/>
              <a:gd name="T27" fmla="*/ 203 h 561"/>
              <a:gd name="T28" fmla="*/ 69 w 292"/>
              <a:gd name="T29" fmla="*/ 178 h 561"/>
              <a:gd name="T30" fmla="*/ 73 w 292"/>
              <a:gd name="T31" fmla="*/ 147 h 561"/>
              <a:gd name="T32" fmla="*/ 77 w 292"/>
              <a:gd name="T33" fmla="*/ 107 h 561"/>
              <a:gd name="T34" fmla="*/ 81 w 292"/>
              <a:gd name="T35" fmla="*/ 71 h 561"/>
              <a:gd name="T36" fmla="*/ 94 w 292"/>
              <a:gd name="T37" fmla="*/ 42 h 561"/>
              <a:gd name="T38" fmla="*/ 113 w 292"/>
              <a:gd name="T39" fmla="*/ 29 h 561"/>
              <a:gd name="T40" fmla="*/ 130 w 292"/>
              <a:gd name="T41" fmla="*/ 19 h 561"/>
              <a:gd name="T42" fmla="*/ 145 w 292"/>
              <a:gd name="T43" fmla="*/ 10 h 561"/>
              <a:gd name="T44" fmla="*/ 161 w 292"/>
              <a:gd name="T45" fmla="*/ 2 h 561"/>
              <a:gd name="T46" fmla="*/ 178 w 292"/>
              <a:gd name="T47" fmla="*/ 0 h 561"/>
              <a:gd name="T48" fmla="*/ 210 w 292"/>
              <a:gd name="T49" fmla="*/ 21 h 561"/>
              <a:gd name="T50" fmla="*/ 233 w 292"/>
              <a:gd name="T51" fmla="*/ 42 h 561"/>
              <a:gd name="T52" fmla="*/ 246 w 292"/>
              <a:gd name="T53" fmla="*/ 39 h 561"/>
              <a:gd name="T54" fmla="*/ 262 w 292"/>
              <a:gd name="T55" fmla="*/ 29 h 561"/>
              <a:gd name="T56" fmla="*/ 269 w 292"/>
              <a:gd name="T57" fmla="*/ 33 h 561"/>
              <a:gd name="T58" fmla="*/ 271 w 292"/>
              <a:gd name="T59" fmla="*/ 46 h 561"/>
              <a:gd name="T60" fmla="*/ 243 w 292"/>
              <a:gd name="T61" fmla="*/ 71 h 561"/>
              <a:gd name="T62" fmla="*/ 231 w 292"/>
              <a:gd name="T63" fmla="*/ 90 h 561"/>
              <a:gd name="T64" fmla="*/ 235 w 292"/>
              <a:gd name="T65" fmla="*/ 107 h 561"/>
              <a:gd name="T66" fmla="*/ 245 w 292"/>
              <a:gd name="T67" fmla="*/ 124 h 561"/>
              <a:gd name="T68" fmla="*/ 256 w 292"/>
              <a:gd name="T69" fmla="*/ 143 h 561"/>
              <a:gd name="T70" fmla="*/ 260 w 292"/>
              <a:gd name="T71" fmla="*/ 166 h 561"/>
              <a:gd name="T72" fmla="*/ 254 w 292"/>
              <a:gd name="T73" fmla="*/ 189 h 561"/>
              <a:gd name="T74" fmla="*/ 235 w 292"/>
              <a:gd name="T75" fmla="*/ 210 h 561"/>
              <a:gd name="T76" fmla="*/ 212 w 292"/>
              <a:gd name="T77" fmla="*/ 225 h 561"/>
              <a:gd name="T78" fmla="*/ 199 w 292"/>
              <a:gd name="T79" fmla="*/ 246 h 561"/>
              <a:gd name="T80" fmla="*/ 203 w 292"/>
              <a:gd name="T81" fmla="*/ 269 h 561"/>
              <a:gd name="T82" fmla="*/ 229 w 292"/>
              <a:gd name="T83" fmla="*/ 287 h 561"/>
              <a:gd name="T84" fmla="*/ 264 w 292"/>
              <a:gd name="T85" fmla="*/ 290 h 561"/>
              <a:gd name="T86" fmla="*/ 279 w 292"/>
              <a:gd name="T87" fmla="*/ 317 h 561"/>
              <a:gd name="T88" fmla="*/ 292 w 292"/>
              <a:gd name="T89" fmla="*/ 338 h 561"/>
              <a:gd name="T90" fmla="*/ 290 w 292"/>
              <a:gd name="T91" fmla="*/ 355 h 561"/>
              <a:gd name="T92" fmla="*/ 288 w 292"/>
              <a:gd name="T93" fmla="*/ 372 h 561"/>
              <a:gd name="T94" fmla="*/ 281 w 292"/>
              <a:gd name="T95" fmla="*/ 386 h 561"/>
              <a:gd name="T96" fmla="*/ 250 w 292"/>
              <a:gd name="T97" fmla="*/ 405 h 561"/>
              <a:gd name="T98" fmla="*/ 218 w 292"/>
              <a:gd name="T99" fmla="*/ 428 h 561"/>
              <a:gd name="T100" fmla="*/ 195 w 292"/>
              <a:gd name="T101" fmla="*/ 451 h 561"/>
              <a:gd name="T102" fmla="*/ 193 w 292"/>
              <a:gd name="T103" fmla="*/ 468 h 561"/>
              <a:gd name="T104" fmla="*/ 191 w 292"/>
              <a:gd name="T105" fmla="*/ 483 h 561"/>
              <a:gd name="T106" fmla="*/ 193 w 292"/>
              <a:gd name="T107" fmla="*/ 491 h 561"/>
              <a:gd name="T108" fmla="*/ 193 w 292"/>
              <a:gd name="T109" fmla="*/ 515 h 561"/>
              <a:gd name="T110" fmla="*/ 178 w 292"/>
              <a:gd name="T111" fmla="*/ 536 h 561"/>
              <a:gd name="T112" fmla="*/ 155 w 292"/>
              <a:gd name="T113" fmla="*/ 552 h 561"/>
              <a:gd name="T114" fmla="*/ 134 w 292"/>
              <a:gd name="T115" fmla="*/ 55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2" h="561">
                <a:moveTo>
                  <a:pt x="126" y="559"/>
                </a:moveTo>
                <a:lnTo>
                  <a:pt x="126" y="559"/>
                </a:lnTo>
                <a:lnTo>
                  <a:pt x="126" y="556"/>
                </a:lnTo>
                <a:lnTo>
                  <a:pt x="124" y="554"/>
                </a:lnTo>
                <a:lnTo>
                  <a:pt x="124" y="550"/>
                </a:lnTo>
                <a:lnTo>
                  <a:pt x="123" y="548"/>
                </a:lnTo>
                <a:lnTo>
                  <a:pt x="121" y="544"/>
                </a:lnTo>
                <a:lnTo>
                  <a:pt x="121" y="542"/>
                </a:lnTo>
                <a:lnTo>
                  <a:pt x="119" y="538"/>
                </a:lnTo>
                <a:lnTo>
                  <a:pt x="119" y="536"/>
                </a:lnTo>
                <a:lnTo>
                  <a:pt x="119" y="536"/>
                </a:lnTo>
                <a:lnTo>
                  <a:pt x="115" y="525"/>
                </a:lnTo>
                <a:lnTo>
                  <a:pt x="111" y="515"/>
                </a:lnTo>
                <a:lnTo>
                  <a:pt x="109" y="504"/>
                </a:lnTo>
                <a:lnTo>
                  <a:pt x="107" y="494"/>
                </a:lnTo>
                <a:lnTo>
                  <a:pt x="107" y="485"/>
                </a:lnTo>
                <a:lnTo>
                  <a:pt x="105" y="475"/>
                </a:lnTo>
                <a:lnTo>
                  <a:pt x="103" y="466"/>
                </a:lnTo>
                <a:lnTo>
                  <a:pt x="102" y="458"/>
                </a:lnTo>
                <a:lnTo>
                  <a:pt x="102" y="449"/>
                </a:lnTo>
                <a:lnTo>
                  <a:pt x="100" y="441"/>
                </a:lnTo>
                <a:lnTo>
                  <a:pt x="96" y="433"/>
                </a:lnTo>
                <a:lnTo>
                  <a:pt x="94" y="426"/>
                </a:lnTo>
                <a:lnTo>
                  <a:pt x="90" y="418"/>
                </a:lnTo>
                <a:lnTo>
                  <a:pt x="86" y="411"/>
                </a:lnTo>
                <a:lnTo>
                  <a:pt x="81" y="403"/>
                </a:lnTo>
                <a:lnTo>
                  <a:pt x="75" y="397"/>
                </a:lnTo>
                <a:lnTo>
                  <a:pt x="75" y="397"/>
                </a:lnTo>
                <a:lnTo>
                  <a:pt x="71" y="393"/>
                </a:lnTo>
                <a:lnTo>
                  <a:pt x="65" y="388"/>
                </a:lnTo>
                <a:lnTo>
                  <a:pt x="61" y="382"/>
                </a:lnTo>
                <a:lnTo>
                  <a:pt x="56" y="374"/>
                </a:lnTo>
                <a:lnTo>
                  <a:pt x="48" y="367"/>
                </a:lnTo>
                <a:lnTo>
                  <a:pt x="42" y="357"/>
                </a:lnTo>
                <a:lnTo>
                  <a:pt x="37" y="349"/>
                </a:lnTo>
                <a:lnTo>
                  <a:pt x="31" y="340"/>
                </a:lnTo>
                <a:lnTo>
                  <a:pt x="23" y="330"/>
                </a:lnTo>
                <a:lnTo>
                  <a:pt x="18" y="321"/>
                </a:lnTo>
                <a:lnTo>
                  <a:pt x="14" y="311"/>
                </a:lnTo>
                <a:lnTo>
                  <a:pt x="8" y="302"/>
                </a:lnTo>
                <a:lnTo>
                  <a:pt x="6" y="294"/>
                </a:lnTo>
                <a:lnTo>
                  <a:pt x="2" y="287"/>
                </a:lnTo>
                <a:lnTo>
                  <a:pt x="0" y="279"/>
                </a:lnTo>
                <a:lnTo>
                  <a:pt x="0" y="273"/>
                </a:lnTo>
                <a:lnTo>
                  <a:pt x="0" y="273"/>
                </a:lnTo>
                <a:lnTo>
                  <a:pt x="0" y="264"/>
                </a:lnTo>
                <a:lnTo>
                  <a:pt x="2" y="254"/>
                </a:lnTo>
                <a:lnTo>
                  <a:pt x="6" y="246"/>
                </a:lnTo>
                <a:lnTo>
                  <a:pt x="10" y="239"/>
                </a:lnTo>
                <a:lnTo>
                  <a:pt x="16" y="233"/>
                </a:lnTo>
                <a:lnTo>
                  <a:pt x="21" y="227"/>
                </a:lnTo>
                <a:lnTo>
                  <a:pt x="27" y="222"/>
                </a:lnTo>
                <a:lnTo>
                  <a:pt x="33" y="216"/>
                </a:lnTo>
                <a:lnTo>
                  <a:pt x="39" y="212"/>
                </a:lnTo>
                <a:lnTo>
                  <a:pt x="46" y="206"/>
                </a:lnTo>
                <a:lnTo>
                  <a:pt x="52" y="203"/>
                </a:lnTo>
                <a:lnTo>
                  <a:pt x="58" y="197"/>
                </a:lnTo>
                <a:lnTo>
                  <a:pt x="61" y="191"/>
                </a:lnTo>
                <a:lnTo>
                  <a:pt x="65" y="185"/>
                </a:lnTo>
                <a:lnTo>
                  <a:pt x="69" y="178"/>
                </a:lnTo>
                <a:lnTo>
                  <a:pt x="71" y="170"/>
                </a:lnTo>
                <a:lnTo>
                  <a:pt x="71" y="170"/>
                </a:lnTo>
                <a:lnTo>
                  <a:pt x="73" y="159"/>
                </a:lnTo>
                <a:lnTo>
                  <a:pt x="73" y="147"/>
                </a:lnTo>
                <a:lnTo>
                  <a:pt x="75" y="138"/>
                </a:lnTo>
                <a:lnTo>
                  <a:pt x="75" y="126"/>
                </a:lnTo>
                <a:lnTo>
                  <a:pt x="75" y="117"/>
                </a:lnTo>
                <a:lnTo>
                  <a:pt x="77" y="107"/>
                </a:lnTo>
                <a:lnTo>
                  <a:pt x="77" y="98"/>
                </a:lnTo>
                <a:lnTo>
                  <a:pt x="77" y="88"/>
                </a:lnTo>
                <a:lnTo>
                  <a:pt x="79" y="79"/>
                </a:lnTo>
                <a:lnTo>
                  <a:pt x="81" y="71"/>
                </a:lnTo>
                <a:lnTo>
                  <a:pt x="82" y="63"/>
                </a:lnTo>
                <a:lnTo>
                  <a:pt x="86" y="56"/>
                </a:lnTo>
                <a:lnTo>
                  <a:pt x="90" y="48"/>
                </a:lnTo>
                <a:lnTo>
                  <a:pt x="94" y="42"/>
                </a:lnTo>
                <a:lnTo>
                  <a:pt x="100" y="37"/>
                </a:lnTo>
                <a:lnTo>
                  <a:pt x="107" y="31"/>
                </a:lnTo>
                <a:lnTo>
                  <a:pt x="107" y="31"/>
                </a:lnTo>
                <a:lnTo>
                  <a:pt x="113" y="29"/>
                </a:lnTo>
                <a:lnTo>
                  <a:pt x="117" y="27"/>
                </a:lnTo>
                <a:lnTo>
                  <a:pt x="123" y="25"/>
                </a:lnTo>
                <a:lnTo>
                  <a:pt x="126" y="23"/>
                </a:lnTo>
                <a:lnTo>
                  <a:pt x="130" y="19"/>
                </a:lnTo>
                <a:lnTo>
                  <a:pt x="134" y="18"/>
                </a:lnTo>
                <a:lnTo>
                  <a:pt x="138" y="16"/>
                </a:lnTo>
                <a:lnTo>
                  <a:pt x="142" y="12"/>
                </a:lnTo>
                <a:lnTo>
                  <a:pt x="145" y="10"/>
                </a:lnTo>
                <a:lnTo>
                  <a:pt x="149" y="8"/>
                </a:lnTo>
                <a:lnTo>
                  <a:pt x="153" y="6"/>
                </a:lnTo>
                <a:lnTo>
                  <a:pt x="157" y="4"/>
                </a:lnTo>
                <a:lnTo>
                  <a:pt x="161" y="2"/>
                </a:lnTo>
                <a:lnTo>
                  <a:pt x="166" y="2"/>
                </a:lnTo>
                <a:lnTo>
                  <a:pt x="172" y="0"/>
                </a:lnTo>
                <a:lnTo>
                  <a:pt x="178" y="0"/>
                </a:lnTo>
                <a:lnTo>
                  <a:pt x="178" y="0"/>
                </a:lnTo>
                <a:lnTo>
                  <a:pt x="185" y="2"/>
                </a:lnTo>
                <a:lnTo>
                  <a:pt x="195" y="8"/>
                </a:lnTo>
                <a:lnTo>
                  <a:pt x="203" y="14"/>
                </a:lnTo>
                <a:lnTo>
                  <a:pt x="210" y="21"/>
                </a:lnTo>
                <a:lnTo>
                  <a:pt x="216" y="29"/>
                </a:lnTo>
                <a:lnTo>
                  <a:pt x="224" y="35"/>
                </a:lnTo>
                <a:lnTo>
                  <a:pt x="229" y="40"/>
                </a:lnTo>
                <a:lnTo>
                  <a:pt x="233" y="42"/>
                </a:lnTo>
                <a:lnTo>
                  <a:pt x="233" y="42"/>
                </a:lnTo>
                <a:lnTo>
                  <a:pt x="239" y="42"/>
                </a:lnTo>
                <a:lnTo>
                  <a:pt x="243" y="40"/>
                </a:lnTo>
                <a:lnTo>
                  <a:pt x="246" y="39"/>
                </a:lnTo>
                <a:lnTo>
                  <a:pt x="252" y="37"/>
                </a:lnTo>
                <a:lnTo>
                  <a:pt x="256" y="35"/>
                </a:lnTo>
                <a:lnTo>
                  <a:pt x="260" y="33"/>
                </a:lnTo>
                <a:lnTo>
                  <a:pt x="262" y="29"/>
                </a:lnTo>
                <a:lnTo>
                  <a:pt x="264" y="29"/>
                </a:lnTo>
                <a:lnTo>
                  <a:pt x="264" y="29"/>
                </a:lnTo>
                <a:lnTo>
                  <a:pt x="267" y="31"/>
                </a:lnTo>
                <a:lnTo>
                  <a:pt x="269" y="33"/>
                </a:lnTo>
                <a:lnTo>
                  <a:pt x="273" y="35"/>
                </a:lnTo>
                <a:lnTo>
                  <a:pt x="275" y="37"/>
                </a:lnTo>
                <a:lnTo>
                  <a:pt x="275" y="37"/>
                </a:lnTo>
                <a:lnTo>
                  <a:pt x="271" y="46"/>
                </a:lnTo>
                <a:lnTo>
                  <a:pt x="266" y="54"/>
                </a:lnTo>
                <a:lnTo>
                  <a:pt x="258" y="61"/>
                </a:lnTo>
                <a:lnTo>
                  <a:pt x="250" y="67"/>
                </a:lnTo>
                <a:lnTo>
                  <a:pt x="243" y="71"/>
                </a:lnTo>
                <a:lnTo>
                  <a:pt x="237" y="77"/>
                </a:lnTo>
                <a:lnTo>
                  <a:pt x="233" y="82"/>
                </a:lnTo>
                <a:lnTo>
                  <a:pt x="231" y="90"/>
                </a:lnTo>
                <a:lnTo>
                  <a:pt x="231" y="90"/>
                </a:lnTo>
                <a:lnTo>
                  <a:pt x="231" y="94"/>
                </a:lnTo>
                <a:lnTo>
                  <a:pt x="231" y="98"/>
                </a:lnTo>
                <a:lnTo>
                  <a:pt x="233" y="103"/>
                </a:lnTo>
                <a:lnTo>
                  <a:pt x="235" y="107"/>
                </a:lnTo>
                <a:lnTo>
                  <a:pt x="237" y="111"/>
                </a:lnTo>
                <a:lnTo>
                  <a:pt x="239" y="115"/>
                </a:lnTo>
                <a:lnTo>
                  <a:pt x="243" y="121"/>
                </a:lnTo>
                <a:lnTo>
                  <a:pt x="245" y="124"/>
                </a:lnTo>
                <a:lnTo>
                  <a:pt x="248" y="128"/>
                </a:lnTo>
                <a:lnTo>
                  <a:pt x="250" y="134"/>
                </a:lnTo>
                <a:lnTo>
                  <a:pt x="254" y="138"/>
                </a:lnTo>
                <a:lnTo>
                  <a:pt x="256" y="143"/>
                </a:lnTo>
                <a:lnTo>
                  <a:pt x="258" y="149"/>
                </a:lnTo>
                <a:lnTo>
                  <a:pt x="258" y="155"/>
                </a:lnTo>
                <a:lnTo>
                  <a:pt x="260" y="161"/>
                </a:lnTo>
                <a:lnTo>
                  <a:pt x="260" y="166"/>
                </a:lnTo>
                <a:lnTo>
                  <a:pt x="260" y="166"/>
                </a:lnTo>
                <a:lnTo>
                  <a:pt x="260" y="176"/>
                </a:lnTo>
                <a:lnTo>
                  <a:pt x="258" y="182"/>
                </a:lnTo>
                <a:lnTo>
                  <a:pt x="254" y="189"/>
                </a:lnTo>
                <a:lnTo>
                  <a:pt x="250" y="195"/>
                </a:lnTo>
                <a:lnTo>
                  <a:pt x="245" y="201"/>
                </a:lnTo>
                <a:lnTo>
                  <a:pt x="241" y="205"/>
                </a:lnTo>
                <a:lnTo>
                  <a:pt x="235" y="210"/>
                </a:lnTo>
                <a:lnTo>
                  <a:pt x="229" y="212"/>
                </a:lnTo>
                <a:lnTo>
                  <a:pt x="224" y="216"/>
                </a:lnTo>
                <a:lnTo>
                  <a:pt x="218" y="222"/>
                </a:lnTo>
                <a:lnTo>
                  <a:pt x="212" y="225"/>
                </a:lnTo>
                <a:lnTo>
                  <a:pt x="208" y="229"/>
                </a:lnTo>
                <a:lnTo>
                  <a:pt x="205" y="235"/>
                </a:lnTo>
                <a:lnTo>
                  <a:pt x="201" y="239"/>
                </a:lnTo>
                <a:lnTo>
                  <a:pt x="199" y="246"/>
                </a:lnTo>
                <a:lnTo>
                  <a:pt x="199" y="252"/>
                </a:lnTo>
                <a:lnTo>
                  <a:pt x="199" y="252"/>
                </a:lnTo>
                <a:lnTo>
                  <a:pt x="199" y="262"/>
                </a:lnTo>
                <a:lnTo>
                  <a:pt x="203" y="269"/>
                </a:lnTo>
                <a:lnTo>
                  <a:pt x="208" y="275"/>
                </a:lnTo>
                <a:lnTo>
                  <a:pt x="214" y="281"/>
                </a:lnTo>
                <a:lnTo>
                  <a:pt x="222" y="285"/>
                </a:lnTo>
                <a:lnTo>
                  <a:pt x="229" y="287"/>
                </a:lnTo>
                <a:lnTo>
                  <a:pt x="239" y="288"/>
                </a:lnTo>
                <a:lnTo>
                  <a:pt x="246" y="290"/>
                </a:lnTo>
                <a:lnTo>
                  <a:pt x="264" y="290"/>
                </a:lnTo>
                <a:lnTo>
                  <a:pt x="264" y="290"/>
                </a:lnTo>
                <a:lnTo>
                  <a:pt x="266" y="300"/>
                </a:lnTo>
                <a:lnTo>
                  <a:pt x="267" y="308"/>
                </a:lnTo>
                <a:lnTo>
                  <a:pt x="273" y="313"/>
                </a:lnTo>
                <a:lnTo>
                  <a:pt x="279" y="317"/>
                </a:lnTo>
                <a:lnTo>
                  <a:pt x="285" y="319"/>
                </a:lnTo>
                <a:lnTo>
                  <a:pt x="288" y="323"/>
                </a:lnTo>
                <a:lnTo>
                  <a:pt x="292" y="329"/>
                </a:lnTo>
                <a:lnTo>
                  <a:pt x="292" y="338"/>
                </a:lnTo>
                <a:lnTo>
                  <a:pt x="292" y="338"/>
                </a:lnTo>
                <a:lnTo>
                  <a:pt x="292" y="346"/>
                </a:lnTo>
                <a:lnTo>
                  <a:pt x="292" y="351"/>
                </a:lnTo>
                <a:lnTo>
                  <a:pt x="290" y="355"/>
                </a:lnTo>
                <a:lnTo>
                  <a:pt x="288" y="359"/>
                </a:lnTo>
                <a:lnTo>
                  <a:pt x="287" y="363"/>
                </a:lnTo>
                <a:lnTo>
                  <a:pt x="288" y="367"/>
                </a:lnTo>
                <a:lnTo>
                  <a:pt x="288" y="372"/>
                </a:lnTo>
                <a:lnTo>
                  <a:pt x="292" y="378"/>
                </a:lnTo>
                <a:lnTo>
                  <a:pt x="292" y="378"/>
                </a:lnTo>
                <a:lnTo>
                  <a:pt x="288" y="382"/>
                </a:lnTo>
                <a:lnTo>
                  <a:pt x="281" y="386"/>
                </a:lnTo>
                <a:lnTo>
                  <a:pt x="275" y="390"/>
                </a:lnTo>
                <a:lnTo>
                  <a:pt x="267" y="393"/>
                </a:lnTo>
                <a:lnTo>
                  <a:pt x="258" y="399"/>
                </a:lnTo>
                <a:lnTo>
                  <a:pt x="250" y="405"/>
                </a:lnTo>
                <a:lnTo>
                  <a:pt x="243" y="411"/>
                </a:lnTo>
                <a:lnTo>
                  <a:pt x="233" y="416"/>
                </a:lnTo>
                <a:lnTo>
                  <a:pt x="226" y="422"/>
                </a:lnTo>
                <a:lnTo>
                  <a:pt x="218" y="428"/>
                </a:lnTo>
                <a:lnTo>
                  <a:pt x="210" y="433"/>
                </a:lnTo>
                <a:lnTo>
                  <a:pt x="205" y="441"/>
                </a:lnTo>
                <a:lnTo>
                  <a:pt x="199" y="447"/>
                </a:lnTo>
                <a:lnTo>
                  <a:pt x="195" y="451"/>
                </a:lnTo>
                <a:lnTo>
                  <a:pt x="193" y="456"/>
                </a:lnTo>
                <a:lnTo>
                  <a:pt x="193" y="462"/>
                </a:lnTo>
                <a:lnTo>
                  <a:pt x="193" y="462"/>
                </a:lnTo>
                <a:lnTo>
                  <a:pt x="193" y="468"/>
                </a:lnTo>
                <a:lnTo>
                  <a:pt x="191" y="473"/>
                </a:lnTo>
                <a:lnTo>
                  <a:pt x="191" y="477"/>
                </a:lnTo>
                <a:lnTo>
                  <a:pt x="191" y="481"/>
                </a:lnTo>
                <a:lnTo>
                  <a:pt x="191" y="483"/>
                </a:lnTo>
                <a:lnTo>
                  <a:pt x="191" y="487"/>
                </a:lnTo>
                <a:lnTo>
                  <a:pt x="191" y="489"/>
                </a:lnTo>
                <a:lnTo>
                  <a:pt x="193" y="491"/>
                </a:lnTo>
                <a:lnTo>
                  <a:pt x="193" y="491"/>
                </a:lnTo>
                <a:lnTo>
                  <a:pt x="195" y="498"/>
                </a:lnTo>
                <a:lnTo>
                  <a:pt x="195" y="504"/>
                </a:lnTo>
                <a:lnTo>
                  <a:pt x="195" y="510"/>
                </a:lnTo>
                <a:lnTo>
                  <a:pt x="193" y="515"/>
                </a:lnTo>
                <a:lnTo>
                  <a:pt x="191" y="521"/>
                </a:lnTo>
                <a:lnTo>
                  <a:pt x="187" y="527"/>
                </a:lnTo>
                <a:lnTo>
                  <a:pt x="184" y="531"/>
                </a:lnTo>
                <a:lnTo>
                  <a:pt x="178" y="536"/>
                </a:lnTo>
                <a:lnTo>
                  <a:pt x="174" y="540"/>
                </a:lnTo>
                <a:lnTo>
                  <a:pt x="166" y="544"/>
                </a:lnTo>
                <a:lnTo>
                  <a:pt x="161" y="548"/>
                </a:lnTo>
                <a:lnTo>
                  <a:pt x="155" y="552"/>
                </a:lnTo>
                <a:lnTo>
                  <a:pt x="149" y="556"/>
                </a:lnTo>
                <a:lnTo>
                  <a:pt x="143" y="557"/>
                </a:lnTo>
                <a:lnTo>
                  <a:pt x="138" y="559"/>
                </a:lnTo>
                <a:lnTo>
                  <a:pt x="134" y="559"/>
                </a:lnTo>
                <a:lnTo>
                  <a:pt x="134" y="561"/>
                </a:lnTo>
                <a:lnTo>
                  <a:pt x="126" y="559"/>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6" name="Freeform 46"/>
          <p:cNvSpPr>
            <a:spLocks/>
          </p:cNvSpPr>
          <p:nvPr/>
        </p:nvSpPr>
        <p:spPr bwMode="auto">
          <a:xfrm>
            <a:off x="1433513" y="2866927"/>
            <a:ext cx="555625" cy="385763"/>
          </a:xfrm>
          <a:custGeom>
            <a:avLst/>
            <a:gdLst>
              <a:gd name="T0" fmla="*/ 596 w 618"/>
              <a:gd name="T1" fmla="*/ 238 h 442"/>
              <a:gd name="T2" fmla="*/ 594 w 618"/>
              <a:gd name="T3" fmla="*/ 219 h 442"/>
              <a:gd name="T4" fmla="*/ 605 w 618"/>
              <a:gd name="T5" fmla="*/ 219 h 442"/>
              <a:gd name="T6" fmla="*/ 605 w 618"/>
              <a:gd name="T7" fmla="*/ 200 h 442"/>
              <a:gd name="T8" fmla="*/ 584 w 618"/>
              <a:gd name="T9" fmla="*/ 193 h 442"/>
              <a:gd name="T10" fmla="*/ 567 w 618"/>
              <a:gd name="T11" fmla="*/ 200 h 442"/>
              <a:gd name="T12" fmla="*/ 536 w 618"/>
              <a:gd name="T13" fmla="*/ 185 h 442"/>
              <a:gd name="T14" fmla="*/ 517 w 618"/>
              <a:gd name="T15" fmla="*/ 160 h 442"/>
              <a:gd name="T16" fmla="*/ 535 w 618"/>
              <a:gd name="T17" fmla="*/ 151 h 442"/>
              <a:gd name="T18" fmla="*/ 514 w 618"/>
              <a:gd name="T19" fmla="*/ 124 h 442"/>
              <a:gd name="T20" fmla="*/ 472 w 618"/>
              <a:gd name="T21" fmla="*/ 76 h 442"/>
              <a:gd name="T22" fmla="*/ 462 w 618"/>
              <a:gd name="T23" fmla="*/ 15 h 442"/>
              <a:gd name="T24" fmla="*/ 426 w 618"/>
              <a:gd name="T25" fmla="*/ 4 h 442"/>
              <a:gd name="T26" fmla="*/ 386 w 618"/>
              <a:gd name="T27" fmla="*/ 0 h 442"/>
              <a:gd name="T28" fmla="*/ 346 w 618"/>
              <a:gd name="T29" fmla="*/ 17 h 442"/>
              <a:gd name="T30" fmla="*/ 308 w 618"/>
              <a:gd name="T31" fmla="*/ 40 h 442"/>
              <a:gd name="T32" fmla="*/ 290 w 618"/>
              <a:gd name="T33" fmla="*/ 53 h 442"/>
              <a:gd name="T34" fmla="*/ 275 w 618"/>
              <a:gd name="T35" fmla="*/ 69 h 442"/>
              <a:gd name="T36" fmla="*/ 260 w 618"/>
              <a:gd name="T37" fmla="*/ 59 h 442"/>
              <a:gd name="T38" fmla="*/ 233 w 618"/>
              <a:gd name="T39" fmla="*/ 70 h 442"/>
              <a:gd name="T40" fmla="*/ 206 w 618"/>
              <a:gd name="T41" fmla="*/ 105 h 442"/>
              <a:gd name="T42" fmla="*/ 184 w 618"/>
              <a:gd name="T43" fmla="*/ 109 h 442"/>
              <a:gd name="T44" fmla="*/ 180 w 618"/>
              <a:gd name="T45" fmla="*/ 128 h 442"/>
              <a:gd name="T46" fmla="*/ 163 w 618"/>
              <a:gd name="T47" fmla="*/ 141 h 442"/>
              <a:gd name="T48" fmla="*/ 140 w 618"/>
              <a:gd name="T49" fmla="*/ 126 h 442"/>
              <a:gd name="T50" fmla="*/ 117 w 618"/>
              <a:gd name="T51" fmla="*/ 130 h 442"/>
              <a:gd name="T52" fmla="*/ 102 w 618"/>
              <a:gd name="T53" fmla="*/ 147 h 442"/>
              <a:gd name="T54" fmla="*/ 107 w 618"/>
              <a:gd name="T55" fmla="*/ 158 h 442"/>
              <a:gd name="T56" fmla="*/ 58 w 618"/>
              <a:gd name="T57" fmla="*/ 233 h 442"/>
              <a:gd name="T58" fmla="*/ 23 w 618"/>
              <a:gd name="T59" fmla="*/ 254 h 442"/>
              <a:gd name="T60" fmla="*/ 23 w 618"/>
              <a:gd name="T61" fmla="*/ 263 h 442"/>
              <a:gd name="T62" fmla="*/ 21 w 618"/>
              <a:gd name="T63" fmla="*/ 288 h 442"/>
              <a:gd name="T64" fmla="*/ 0 w 618"/>
              <a:gd name="T65" fmla="*/ 318 h 442"/>
              <a:gd name="T66" fmla="*/ 4 w 618"/>
              <a:gd name="T67" fmla="*/ 341 h 442"/>
              <a:gd name="T68" fmla="*/ 18 w 618"/>
              <a:gd name="T69" fmla="*/ 362 h 442"/>
              <a:gd name="T70" fmla="*/ 42 w 618"/>
              <a:gd name="T71" fmla="*/ 387 h 442"/>
              <a:gd name="T72" fmla="*/ 67 w 618"/>
              <a:gd name="T73" fmla="*/ 414 h 442"/>
              <a:gd name="T74" fmla="*/ 109 w 618"/>
              <a:gd name="T75" fmla="*/ 412 h 442"/>
              <a:gd name="T76" fmla="*/ 145 w 618"/>
              <a:gd name="T77" fmla="*/ 401 h 442"/>
              <a:gd name="T78" fmla="*/ 193 w 618"/>
              <a:gd name="T79" fmla="*/ 429 h 442"/>
              <a:gd name="T80" fmla="*/ 203 w 618"/>
              <a:gd name="T81" fmla="*/ 433 h 442"/>
              <a:gd name="T82" fmla="*/ 201 w 618"/>
              <a:gd name="T83" fmla="*/ 420 h 442"/>
              <a:gd name="T84" fmla="*/ 201 w 618"/>
              <a:gd name="T85" fmla="*/ 391 h 442"/>
              <a:gd name="T86" fmla="*/ 201 w 618"/>
              <a:gd name="T87" fmla="*/ 370 h 442"/>
              <a:gd name="T88" fmla="*/ 203 w 618"/>
              <a:gd name="T89" fmla="*/ 343 h 442"/>
              <a:gd name="T90" fmla="*/ 225 w 618"/>
              <a:gd name="T91" fmla="*/ 317 h 442"/>
              <a:gd name="T92" fmla="*/ 359 w 618"/>
              <a:gd name="T93" fmla="*/ 332 h 442"/>
              <a:gd name="T94" fmla="*/ 390 w 618"/>
              <a:gd name="T95" fmla="*/ 336 h 442"/>
              <a:gd name="T96" fmla="*/ 414 w 618"/>
              <a:gd name="T97" fmla="*/ 322 h 442"/>
              <a:gd name="T98" fmla="*/ 432 w 618"/>
              <a:gd name="T99" fmla="*/ 320 h 442"/>
              <a:gd name="T100" fmla="*/ 458 w 618"/>
              <a:gd name="T101" fmla="*/ 324 h 442"/>
              <a:gd name="T102" fmla="*/ 494 w 618"/>
              <a:gd name="T103" fmla="*/ 336 h 442"/>
              <a:gd name="T104" fmla="*/ 514 w 618"/>
              <a:gd name="T105" fmla="*/ 311 h 442"/>
              <a:gd name="T106" fmla="*/ 542 w 618"/>
              <a:gd name="T107" fmla="*/ 297 h 442"/>
              <a:gd name="T108" fmla="*/ 576 w 618"/>
              <a:gd name="T109" fmla="*/ 294 h 442"/>
              <a:gd name="T110" fmla="*/ 609 w 618"/>
              <a:gd name="T111" fmla="*/ 254 h 442"/>
              <a:gd name="T112" fmla="*/ 618 w 618"/>
              <a:gd name="T113" fmla="*/ 236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442">
                <a:moveTo>
                  <a:pt x="609" y="248"/>
                </a:moveTo>
                <a:lnTo>
                  <a:pt x="609" y="248"/>
                </a:lnTo>
                <a:lnTo>
                  <a:pt x="605" y="246"/>
                </a:lnTo>
                <a:lnTo>
                  <a:pt x="601" y="244"/>
                </a:lnTo>
                <a:lnTo>
                  <a:pt x="597" y="240"/>
                </a:lnTo>
                <a:lnTo>
                  <a:pt x="596" y="238"/>
                </a:lnTo>
                <a:lnTo>
                  <a:pt x="594" y="235"/>
                </a:lnTo>
                <a:lnTo>
                  <a:pt x="592" y="231"/>
                </a:lnTo>
                <a:lnTo>
                  <a:pt x="592" y="225"/>
                </a:lnTo>
                <a:lnTo>
                  <a:pt x="592" y="217"/>
                </a:lnTo>
                <a:lnTo>
                  <a:pt x="592" y="217"/>
                </a:lnTo>
                <a:lnTo>
                  <a:pt x="594" y="219"/>
                </a:lnTo>
                <a:lnTo>
                  <a:pt x="596" y="221"/>
                </a:lnTo>
                <a:lnTo>
                  <a:pt x="597" y="221"/>
                </a:lnTo>
                <a:lnTo>
                  <a:pt x="597" y="221"/>
                </a:lnTo>
                <a:lnTo>
                  <a:pt x="599" y="221"/>
                </a:lnTo>
                <a:lnTo>
                  <a:pt x="603" y="219"/>
                </a:lnTo>
                <a:lnTo>
                  <a:pt x="605" y="219"/>
                </a:lnTo>
                <a:lnTo>
                  <a:pt x="609" y="217"/>
                </a:lnTo>
                <a:lnTo>
                  <a:pt x="609" y="217"/>
                </a:lnTo>
                <a:lnTo>
                  <a:pt x="609" y="214"/>
                </a:lnTo>
                <a:lnTo>
                  <a:pt x="607" y="208"/>
                </a:lnTo>
                <a:lnTo>
                  <a:pt x="607" y="204"/>
                </a:lnTo>
                <a:lnTo>
                  <a:pt x="605" y="200"/>
                </a:lnTo>
                <a:lnTo>
                  <a:pt x="601" y="196"/>
                </a:lnTo>
                <a:lnTo>
                  <a:pt x="599" y="194"/>
                </a:lnTo>
                <a:lnTo>
                  <a:pt x="594" y="193"/>
                </a:lnTo>
                <a:lnTo>
                  <a:pt x="590" y="193"/>
                </a:lnTo>
                <a:lnTo>
                  <a:pt x="590" y="193"/>
                </a:lnTo>
                <a:lnTo>
                  <a:pt x="584" y="193"/>
                </a:lnTo>
                <a:lnTo>
                  <a:pt x="580" y="193"/>
                </a:lnTo>
                <a:lnTo>
                  <a:pt x="578" y="194"/>
                </a:lnTo>
                <a:lnTo>
                  <a:pt x="575" y="196"/>
                </a:lnTo>
                <a:lnTo>
                  <a:pt x="573" y="198"/>
                </a:lnTo>
                <a:lnTo>
                  <a:pt x="571" y="198"/>
                </a:lnTo>
                <a:lnTo>
                  <a:pt x="567" y="200"/>
                </a:lnTo>
                <a:lnTo>
                  <a:pt x="565" y="200"/>
                </a:lnTo>
                <a:lnTo>
                  <a:pt x="565" y="200"/>
                </a:lnTo>
                <a:lnTo>
                  <a:pt x="559" y="198"/>
                </a:lnTo>
                <a:lnTo>
                  <a:pt x="552" y="196"/>
                </a:lnTo>
                <a:lnTo>
                  <a:pt x="544" y="191"/>
                </a:lnTo>
                <a:lnTo>
                  <a:pt x="536" y="185"/>
                </a:lnTo>
                <a:lnTo>
                  <a:pt x="529" y="179"/>
                </a:lnTo>
                <a:lnTo>
                  <a:pt x="523" y="173"/>
                </a:lnTo>
                <a:lnTo>
                  <a:pt x="517" y="168"/>
                </a:lnTo>
                <a:lnTo>
                  <a:pt x="514" y="162"/>
                </a:lnTo>
                <a:lnTo>
                  <a:pt x="514" y="162"/>
                </a:lnTo>
                <a:lnTo>
                  <a:pt x="517" y="160"/>
                </a:lnTo>
                <a:lnTo>
                  <a:pt x="519" y="158"/>
                </a:lnTo>
                <a:lnTo>
                  <a:pt x="523" y="158"/>
                </a:lnTo>
                <a:lnTo>
                  <a:pt x="525" y="156"/>
                </a:lnTo>
                <a:lnTo>
                  <a:pt x="529" y="154"/>
                </a:lnTo>
                <a:lnTo>
                  <a:pt x="531" y="153"/>
                </a:lnTo>
                <a:lnTo>
                  <a:pt x="535" y="151"/>
                </a:lnTo>
                <a:lnTo>
                  <a:pt x="538" y="149"/>
                </a:lnTo>
                <a:lnTo>
                  <a:pt x="538" y="149"/>
                </a:lnTo>
                <a:lnTo>
                  <a:pt x="533" y="143"/>
                </a:lnTo>
                <a:lnTo>
                  <a:pt x="527" y="137"/>
                </a:lnTo>
                <a:lnTo>
                  <a:pt x="521" y="132"/>
                </a:lnTo>
                <a:lnTo>
                  <a:pt x="514" y="124"/>
                </a:lnTo>
                <a:lnTo>
                  <a:pt x="506" y="118"/>
                </a:lnTo>
                <a:lnTo>
                  <a:pt x="498" y="111"/>
                </a:lnTo>
                <a:lnTo>
                  <a:pt x="493" y="103"/>
                </a:lnTo>
                <a:lnTo>
                  <a:pt x="485" y="93"/>
                </a:lnTo>
                <a:lnTo>
                  <a:pt x="477" y="86"/>
                </a:lnTo>
                <a:lnTo>
                  <a:pt x="472" y="76"/>
                </a:lnTo>
                <a:lnTo>
                  <a:pt x="468" y="67"/>
                </a:lnTo>
                <a:lnTo>
                  <a:pt x="462" y="57"/>
                </a:lnTo>
                <a:lnTo>
                  <a:pt x="460" y="48"/>
                </a:lnTo>
                <a:lnTo>
                  <a:pt x="458" y="36"/>
                </a:lnTo>
                <a:lnTo>
                  <a:pt x="458" y="27"/>
                </a:lnTo>
                <a:lnTo>
                  <a:pt x="462" y="15"/>
                </a:lnTo>
                <a:lnTo>
                  <a:pt x="462" y="15"/>
                </a:lnTo>
                <a:lnTo>
                  <a:pt x="454" y="13"/>
                </a:lnTo>
                <a:lnTo>
                  <a:pt x="447" y="11"/>
                </a:lnTo>
                <a:lnTo>
                  <a:pt x="439" y="9"/>
                </a:lnTo>
                <a:lnTo>
                  <a:pt x="433" y="6"/>
                </a:lnTo>
                <a:lnTo>
                  <a:pt x="426" y="4"/>
                </a:lnTo>
                <a:lnTo>
                  <a:pt x="418" y="2"/>
                </a:lnTo>
                <a:lnTo>
                  <a:pt x="409" y="0"/>
                </a:lnTo>
                <a:lnTo>
                  <a:pt x="399" y="0"/>
                </a:lnTo>
                <a:lnTo>
                  <a:pt x="399" y="0"/>
                </a:lnTo>
                <a:lnTo>
                  <a:pt x="393" y="0"/>
                </a:lnTo>
                <a:lnTo>
                  <a:pt x="386" y="0"/>
                </a:lnTo>
                <a:lnTo>
                  <a:pt x="378" y="2"/>
                </a:lnTo>
                <a:lnTo>
                  <a:pt x="372" y="4"/>
                </a:lnTo>
                <a:lnTo>
                  <a:pt x="365" y="8"/>
                </a:lnTo>
                <a:lnTo>
                  <a:pt x="359" y="9"/>
                </a:lnTo>
                <a:lnTo>
                  <a:pt x="351" y="13"/>
                </a:lnTo>
                <a:lnTo>
                  <a:pt x="346" y="17"/>
                </a:lnTo>
                <a:lnTo>
                  <a:pt x="340" y="21"/>
                </a:lnTo>
                <a:lnTo>
                  <a:pt x="332" y="25"/>
                </a:lnTo>
                <a:lnTo>
                  <a:pt x="327" y="29"/>
                </a:lnTo>
                <a:lnTo>
                  <a:pt x="321" y="32"/>
                </a:lnTo>
                <a:lnTo>
                  <a:pt x="313" y="36"/>
                </a:lnTo>
                <a:lnTo>
                  <a:pt x="308" y="40"/>
                </a:lnTo>
                <a:lnTo>
                  <a:pt x="302" y="44"/>
                </a:lnTo>
                <a:lnTo>
                  <a:pt x="296" y="46"/>
                </a:lnTo>
                <a:lnTo>
                  <a:pt x="296" y="46"/>
                </a:lnTo>
                <a:lnTo>
                  <a:pt x="294" y="48"/>
                </a:lnTo>
                <a:lnTo>
                  <a:pt x="292" y="51"/>
                </a:lnTo>
                <a:lnTo>
                  <a:pt x="290" y="53"/>
                </a:lnTo>
                <a:lnTo>
                  <a:pt x="288" y="57"/>
                </a:lnTo>
                <a:lnTo>
                  <a:pt x="285" y="61"/>
                </a:lnTo>
                <a:lnTo>
                  <a:pt x="283" y="65"/>
                </a:lnTo>
                <a:lnTo>
                  <a:pt x="279" y="67"/>
                </a:lnTo>
                <a:lnTo>
                  <a:pt x="275" y="69"/>
                </a:lnTo>
                <a:lnTo>
                  <a:pt x="275" y="69"/>
                </a:lnTo>
                <a:lnTo>
                  <a:pt x="273" y="67"/>
                </a:lnTo>
                <a:lnTo>
                  <a:pt x="269" y="67"/>
                </a:lnTo>
                <a:lnTo>
                  <a:pt x="267" y="65"/>
                </a:lnTo>
                <a:lnTo>
                  <a:pt x="266" y="63"/>
                </a:lnTo>
                <a:lnTo>
                  <a:pt x="264" y="61"/>
                </a:lnTo>
                <a:lnTo>
                  <a:pt x="260" y="59"/>
                </a:lnTo>
                <a:lnTo>
                  <a:pt x="258" y="59"/>
                </a:lnTo>
                <a:lnTo>
                  <a:pt x="254" y="59"/>
                </a:lnTo>
                <a:lnTo>
                  <a:pt x="254" y="59"/>
                </a:lnTo>
                <a:lnTo>
                  <a:pt x="246" y="59"/>
                </a:lnTo>
                <a:lnTo>
                  <a:pt x="239" y="65"/>
                </a:lnTo>
                <a:lnTo>
                  <a:pt x="233" y="70"/>
                </a:lnTo>
                <a:lnTo>
                  <a:pt x="227" y="80"/>
                </a:lnTo>
                <a:lnTo>
                  <a:pt x="224" y="88"/>
                </a:lnTo>
                <a:lnTo>
                  <a:pt x="220" y="95"/>
                </a:lnTo>
                <a:lnTo>
                  <a:pt x="214" y="101"/>
                </a:lnTo>
                <a:lnTo>
                  <a:pt x="206" y="105"/>
                </a:lnTo>
                <a:lnTo>
                  <a:pt x="206" y="105"/>
                </a:lnTo>
                <a:lnTo>
                  <a:pt x="205" y="105"/>
                </a:lnTo>
                <a:lnTo>
                  <a:pt x="201" y="105"/>
                </a:lnTo>
                <a:lnTo>
                  <a:pt x="197" y="105"/>
                </a:lnTo>
                <a:lnTo>
                  <a:pt x="191" y="105"/>
                </a:lnTo>
                <a:lnTo>
                  <a:pt x="187" y="107"/>
                </a:lnTo>
                <a:lnTo>
                  <a:pt x="184" y="109"/>
                </a:lnTo>
                <a:lnTo>
                  <a:pt x="182" y="111"/>
                </a:lnTo>
                <a:lnTo>
                  <a:pt x="182" y="114"/>
                </a:lnTo>
                <a:lnTo>
                  <a:pt x="182" y="114"/>
                </a:lnTo>
                <a:lnTo>
                  <a:pt x="182" y="118"/>
                </a:lnTo>
                <a:lnTo>
                  <a:pt x="182" y="124"/>
                </a:lnTo>
                <a:lnTo>
                  <a:pt x="180" y="128"/>
                </a:lnTo>
                <a:lnTo>
                  <a:pt x="180" y="132"/>
                </a:lnTo>
                <a:lnTo>
                  <a:pt x="176" y="135"/>
                </a:lnTo>
                <a:lnTo>
                  <a:pt x="174" y="137"/>
                </a:lnTo>
                <a:lnTo>
                  <a:pt x="168" y="139"/>
                </a:lnTo>
                <a:lnTo>
                  <a:pt x="163" y="141"/>
                </a:lnTo>
                <a:lnTo>
                  <a:pt x="163" y="141"/>
                </a:lnTo>
                <a:lnTo>
                  <a:pt x="159" y="139"/>
                </a:lnTo>
                <a:lnTo>
                  <a:pt x="155" y="137"/>
                </a:lnTo>
                <a:lnTo>
                  <a:pt x="151" y="135"/>
                </a:lnTo>
                <a:lnTo>
                  <a:pt x="147" y="132"/>
                </a:lnTo>
                <a:lnTo>
                  <a:pt x="143" y="130"/>
                </a:lnTo>
                <a:lnTo>
                  <a:pt x="140" y="126"/>
                </a:lnTo>
                <a:lnTo>
                  <a:pt x="136" y="124"/>
                </a:lnTo>
                <a:lnTo>
                  <a:pt x="130" y="124"/>
                </a:lnTo>
                <a:lnTo>
                  <a:pt x="130" y="124"/>
                </a:lnTo>
                <a:lnTo>
                  <a:pt x="126" y="124"/>
                </a:lnTo>
                <a:lnTo>
                  <a:pt x="121" y="126"/>
                </a:lnTo>
                <a:lnTo>
                  <a:pt x="117" y="130"/>
                </a:lnTo>
                <a:lnTo>
                  <a:pt x="111" y="132"/>
                </a:lnTo>
                <a:lnTo>
                  <a:pt x="107" y="135"/>
                </a:lnTo>
                <a:lnTo>
                  <a:pt x="103" y="139"/>
                </a:lnTo>
                <a:lnTo>
                  <a:pt x="102" y="143"/>
                </a:lnTo>
                <a:lnTo>
                  <a:pt x="102" y="147"/>
                </a:lnTo>
                <a:lnTo>
                  <a:pt x="102" y="147"/>
                </a:lnTo>
                <a:lnTo>
                  <a:pt x="102" y="149"/>
                </a:lnTo>
                <a:lnTo>
                  <a:pt x="102" y="151"/>
                </a:lnTo>
                <a:lnTo>
                  <a:pt x="103" y="153"/>
                </a:lnTo>
                <a:lnTo>
                  <a:pt x="103" y="154"/>
                </a:lnTo>
                <a:lnTo>
                  <a:pt x="105" y="156"/>
                </a:lnTo>
                <a:lnTo>
                  <a:pt x="107" y="158"/>
                </a:lnTo>
                <a:lnTo>
                  <a:pt x="109" y="160"/>
                </a:lnTo>
                <a:lnTo>
                  <a:pt x="111" y="162"/>
                </a:lnTo>
                <a:lnTo>
                  <a:pt x="75" y="229"/>
                </a:lnTo>
                <a:lnTo>
                  <a:pt x="75" y="229"/>
                </a:lnTo>
                <a:lnTo>
                  <a:pt x="67" y="233"/>
                </a:lnTo>
                <a:lnTo>
                  <a:pt x="58" y="233"/>
                </a:lnTo>
                <a:lnTo>
                  <a:pt x="50" y="235"/>
                </a:lnTo>
                <a:lnTo>
                  <a:pt x="42" y="236"/>
                </a:lnTo>
                <a:lnTo>
                  <a:pt x="35" y="238"/>
                </a:lnTo>
                <a:lnTo>
                  <a:pt x="29" y="242"/>
                </a:lnTo>
                <a:lnTo>
                  <a:pt x="25" y="246"/>
                </a:lnTo>
                <a:lnTo>
                  <a:pt x="23" y="254"/>
                </a:lnTo>
                <a:lnTo>
                  <a:pt x="23" y="254"/>
                </a:lnTo>
                <a:lnTo>
                  <a:pt x="23" y="254"/>
                </a:lnTo>
                <a:lnTo>
                  <a:pt x="23" y="256"/>
                </a:lnTo>
                <a:lnTo>
                  <a:pt x="23" y="257"/>
                </a:lnTo>
                <a:lnTo>
                  <a:pt x="23" y="259"/>
                </a:lnTo>
                <a:lnTo>
                  <a:pt x="23" y="263"/>
                </a:lnTo>
                <a:lnTo>
                  <a:pt x="23" y="267"/>
                </a:lnTo>
                <a:lnTo>
                  <a:pt x="23" y="271"/>
                </a:lnTo>
                <a:lnTo>
                  <a:pt x="23" y="275"/>
                </a:lnTo>
                <a:lnTo>
                  <a:pt x="23" y="275"/>
                </a:lnTo>
                <a:lnTo>
                  <a:pt x="23" y="282"/>
                </a:lnTo>
                <a:lnTo>
                  <a:pt x="21" y="288"/>
                </a:lnTo>
                <a:lnTo>
                  <a:pt x="18" y="294"/>
                </a:lnTo>
                <a:lnTo>
                  <a:pt x="14" y="297"/>
                </a:lnTo>
                <a:lnTo>
                  <a:pt x="10" y="301"/>
                </a:lnTo>
                <a:lnTo>
                  <a:pt x="6" y="307"/>
                </a:lnTo>
                <a:lnTo>
                  <a:pt x="2" y="313"/>
                </a:lnTo>
                <a:lnTo>
                  <a:pt x="0" y="318"/>
                </a:lnTo>
                <a:lnTo>
                  <a:pt x="0" y="318"/>
                </a:lnTo>
                <a:lnTo>
                  <a:pt x="0" y="324"/>
                </a:lnTo>
                <a:lnTo>
                  <a:pt x="0" y="328"/>
                </a:lnTo>
                <a:lnTo>
                  <a:pt x="2" y="334"/>
                </a:lnTo>
                <a:lnTo>
                  <a:pt x="2" y="338"/>
                </a:lnTo>
                <a:lnTo>
                  <a:pt x="4" y="341"/>
                </a:lnTo>
                <a:lnTo>
                  <a:pt x="4" y="347"/>
                </a:lnTo>
                <a:lnTo>
                  <a:pt x="4" y="353"/>
                </a:lnTo>
                <a:lnTo>
                  <a:pt x="4" y="360"/>
                </a:lnTo>
                <a:lnTo>
                  <a:pt x="4" y="360"/>
                </a:lnTo>
                <a:lnTo>
                  <a:pt x="12" y="360"/>
                </a:lnTo>
                <a:lnTo>
                  <a:pt x="18" y="362"/>
                </a:lnTo>
                <a:lnTo>
                  <a:pt x="23" y="364"/>
                </a:lnTo>
                <a:lnTo>
                  <a:pt x="27" y="368"/>
                </a:lnTo>
                <a:lnTo>
                  <a:pt x="31" y="374"/>
                </a:lnTo>
                <a:lnTo>
                  <a:pt x="35" y="378"/>
                </a:lnTo>
                <a:lnTo>
                  <a:pt x="39" y="383"/>
                </a:lnTo>
                <a:lnTo>
                  <a:pt x="42" y="387"/>
                </a:lnTo>
                <a:lnTo>
                  <a:pt x="46" y="393"/>
                </a:lnTo>
                <a:lnTo>
                  <a:pt x="48" y="399"/>
                </a:lnTo>
                <a:lnTo>
                  <a:pt x="52" y="402"/>
                </a:lnTo>
                <a:lnTo>
                  <a:pt x="58" y="408"/>
                </a:lnTo>
                <a:lnTo>
                  <a:pt x="61" y="410"/>
                </a:lnTo>
                <a:lnTo>
                  <a:pt x="67" y="414"/>
                </a:lnTo>
                <a:lnTo>
                  <a:pt x="75" y="416"/>
                </a:lnTo>
                <a:lnTo>
                  <a:pt x="82" y="416"/>
                </a:lnTo>
                <a:lnTo>
                  <a:pt x="82" y="416"/>
                </a:lnTo>
                <a:lnTo>
                  <a:pt x="94" y="416"/>
                </a:lnTo>
                <a:lnTo>
                  <a:pt x="102" y="414"/>
                </a:lnTo>
                <a:lnTo>
                  <a:pt x="109" y="412"/>
                </a:lnTo>
                <a:lnTo>
                  <a:pt x="117" y="408"/>
                </a:lnTo>
                <a:lnTo>
                  <a:pt x="122" y="406"/>
                </a:lnTo>
                <a:lnTo>
                  <a:pt x="130" y="404"/>
                </a:lnTo>
                <a:lnTo>
                  <a:pt x="138" y="402"/>
                </a:lnTo>
                <a:lnTo>
                  <a:pt x="145" y="401"/>
                </a:lnTo>
                <a:lnTo>
                  <a:pt x="145" y="401"/>
                </a:lnTo>
                <a:lnTo>
                  <a:pt x="157" y="402"/>
                </a:lnTo>
                <a:lnTo>
                  <a:pt x="168" y="406"/>
                </a:lnTo>
                <a:lnTo>
                  <a:pt x="176" y="410"/>
                </a:lnTo>
                <a:lnTo>
                  <a:pt x="182" y="416"/>
                </a:lnTo>
                <a:lnTo>
                  <a:pt x="187" y="423"/>
                </a:lnTo>
                <a:lnTo>
                  <a:pt x="193" y="429"/>
                </a:lnTo>
                <a:lnTo>
                  <a:pt x="199" y="437"/>
                </a:lnTo>
                <a:lnTo>
                  <a:pt x="205" y="442"/>
                </a:lnTo>
                <a:lnTo>
                  <a:pt x="205" y="442"/>
                </a:lnTo>
                <a:lnTo>
                  <a:pt x="205" y="441"/>
                </a:lnTo>
                <a:lnTo>
                  <a:pt x="205" y="437"/>
                </a:lnTo>
                <a:lnTo>
                  <a:pt x="203" y="433"/>
                </a:lnTo>
                <a:lnTo>
                  <a:pt x="203" y="431"/>
                </a:lnTo>
                <a:lnTo>
                  <a:pt x="203" y="427"/>
                </a:lnTo>
                <a:lnTo>
                  <a:pt x="203" y="425"/>
                </a:lnTo>
                <a:lnTo>
                  <a:pt x="201" y="421"/>
                </a:lnTo>
                <a:lnTo>
                  <a:pt x="201" y="420"/>
                </a:lnTo>
                <a:lnTo>
                  <a:pt x="201" y="420"/>
                </a:lnTo>
                <a:lnTo>
                  <a:pt x="201" y="414"/>
                </a:lnTo>
                <a:lnTo>
                  <a:pt x="201" y="408"/>
                </a:lnTo>
                <a:lnTo>
                  <a:pt x="201" y="402"/>
                </a:lnTo>
                <a:lnTo>
                  <a:pt x="201" y="399"/>
                </a:lnTo>
                <a:lnTo>
                  <a:pt x="201" y="395"/>
                </a:lnTo>
                <a:lnTo>
                  <a:pt x="201" y="391"/>
                </a:lnTo>
                <a:lnTo>
                  <a:pt x="201" y="387"/>
                </a:lnTo>
                <a:lnTo>
                  <a:pt x="201" y="385"/>
                </a:lnTo>
                <a:lnTo>
                  <a:pt x="201" y="381"/>
                </a:lnTo>
                <a:lnTo>
                  <a:pt x="201" y="378"/>
                </a:lnTo>
                <a:lnTo>
                  <a:pt x="201" y="374"/>
                </a:lnTo>
                <a:lnTo>
                  <a:pt x="201" y="370"/>
                </a:lnTo>
                <a:lnTo>
                  <a:pt x="201" y="366"/>
                </a:lnTo>
                <a:lnTo>
                  <a:pt x="201" y="362"/>
                </a:lnTo>
                <a:lnTo>
                  <a:pt x="201" y="357"/>
                </a:lnTo>
                <a:lnTo>
                  <a:pt x="201" y="351"/>
                </a:lnTo>
                <a:lnTo>
                  <a:pt x="201" y="351"/>
                </a:lnTo>
                <a:lnTo>
                  <a:pt x="203" y="343"/>
                </a:lnTo>
                <a:lnTo>
                  <a:pt x="205" y="338"/>
                </a:lnTo>
                <a:lnTo>
                  <a:pt x="206" y="332"/>
                </a:lnTo>
                <a:lnTo>
                  <a:pt x="210" y="326"/>
                </a:lnTo>
                <a:lnTo>
                  <a:pt x="214" y="322"/>
                </a:lnTo>
                <a:lnTo>
                  <a:pt x="220" y="320"/>
                </a:lnTo>
                <a:lnTo>
                  <a:pt x="225" y="317"/>
                </a:lnTo>
                <a:lnTo>
                  <a:pt x="231" y="317"/>
                </a:lnTo>
                <a:lnTo>
                  <a:pt x="330" y="330"/>
                </a:lnTo>
                <a:lnTo>
                  <a:pt x="330" y="330"/>
                </a:lnTo>
                <a:lnTo>
                  <a:pt x="342" y="330"/>
                </a:lnTo>
                <a:lnTo>
                  <a:pt x="351" y="330"/>
                </a:lnTo>
                <a:lnTo>
                  <a:pt x="359" y="332"/>
                </a:lnTo>
                <a:lnTo>
                  <a:pt x="365" y="332"/>
                </a:lnTo>
                <a:lnTo>
                  <a:pt x="372" y="334"/>
                </a:lnTo>
                <a:lnTo>
                  <a:pt x="378" y="336"/>
                </a:lnTo>
                <a:lnTo>
                  <a:pt x="384" y="336"/>
                </a:lnTo>
                <a:lnTo>
                  <a:pt x="390" y="336"/>
                </a:lnTo>
                <a:lnTo>
                  <a:pt x="390" y="336"/>
                </a:lnTo>
                <a:lnTo>
                  <a:pt x="391" y="336"/>
                </a:lnTo>
                <a:lnTo>
                  <a:pt x="395" y="332"/>
                </a:lnTo>
                <a:lnTo>
                  <a:pt x="399" y="330"/>
                </a:lnTo>
                <a:lnTo>
                  <a:pt x="403" y="326"/>
                </a:lnTo>
                <a:lnTo>
                  <a:pt x="409" y="324"/>
                </a:lnTo>
                <a:lnTo>
                  <a:pt x="414" y="322"/>
                </a:lnTo>
                <a:lnTo>
                  <a:pt x="422" y="324"/>
                </a:lnTo>
                <a:lnTo>
                  <a:pt x="430" y="330"/>
                </a:lnTo>
                <a:lnTo>
                  <a:pt x="426" y="328"/>
                </a:lnTo>
                <a:lnTo>
                  <a:pt x="426" y="328"/>
                </a:lnTo>
                <a:lnTo>
                  <a:pt x="428" y="324"/>
                </a:lnTo>
                <a:lnTo>
                  <a:pt x="432" y="320"/>
                </a:lnTo>
                <a:lnTo>
                  <a:pt x="433" y="318"/>
                </a:lnTo>
                <a:lnTo>
                  <a:pt x="437" y="318"/>
                </a:lnTo>
                <a:lnTo>
                  <a:pt x="437" y="318"/>
                </a:lnTo>
                <a:lnTo>
                  <a:pt x="445" y="318"/>
                </a:lnTo>
                <a:lnTo>
                  <a:pt x="452" y="320"/>
                </a:lnTo>
                <a:lnTo>
                  <a:pt x="458" y="324"/>
                </a:lnTo>
                <a:lnTo>
                  <a:pt x="464" y="326"/>
                </a:lnTo>
                <a:lnTo>
                  <a:pt x="472" y="330"/>
                </a:lnTo>
                <a:lnTo>
                  <a:pt x="477" y="334"/>
                </a:lnTo>
                <a:lnTo>
                  <a:pt x="485" y="336"/>
                </a:lnTo>
                <a:lnTo>
                  <a:pt x="494" y="336"/>
                </a:lnTo>
                <a:lnTo>
                  <a:pt x="494" y="336"/>
                </a:lnTo>
                <a:lnTo>
                  <a:pt x="496" y="330"/>
                </a:lnTo>
                <a:lnTo>
                  <a:pt x="498" y="326"/>
                </a:lnTo>
                <a:lnTo>
                  <a:pt x="502" y="322"/>
                </a:lnTo>
                <a:lnTo>
                  <a:pt x="506" y="317"/>
                </a:lnTo>
                <a:lnTo>
                  <a:pt x="510" y="315"/>
                </a:lnTo>
                <a:lnTo>
                  <a:pt x="514" y="311"/>
                </a:lnTo>
                <a:lnTo>
                  <a:pt x="517" y="307"/>
                </a:lnTo>
                <a:lnTo>
                  <a:pt x="523" y="305"/>
                </a:lnTo>
                <a:lnTo>
                  <a:pt x="527" y="301"/>
                </a:lnTo>
                <a:lnTo>
                  <a:pt x="533" y="299"/>
                </a:lnTo>
                <a:lnTo>
                  <a:pt x="536" y="297"/>
                </a:lnTo>
                <a:lnTo>
                  <a:pt x="542" y="297"/>
                </a:lnTo>
                <a:lnTo>
                  <a:pt x="548" y="296"/>
                </a:lnTo>
                <a:lnTo>
                  <a:pt x="554" y="296"/>
                </a:lnTo>
                <a:lnTo>
                  <a:pt x="559" y="296"/>
                </a:lnTo>
                <a:lnTo>
                  <a:pt x="565" y="296"/>
                </a:lnTo>
                <a:lnTo>
                  <a:pt x="565" y="296"/>
                </a:lnTo>
                <a:lnTo>
                  <a:pt x="576" y="294"/>
                </a:lnTo>
                <a:lnTo>
                  <a:pt x="586" y="290"/>
                </a:lnTo>
                <a:lnTo>
                  <a:pt x="594" y="284"/>
                </a:lnTo>
                <a:lnTo>
                  <a:pt x="599" y="278"/>
                </a:lnTo>
                <a:lnTo>
                  <a:pt x="603" y="271"/>
                </a:lnTo>
                <a:lnTo>
                  <a:pt x="607" y="263"/>
                </a:lnTo>
                <a:lnTo>
                  <a:pt x="609" y="254"/>
                </a:lnTo>
                <a:lnTo>
                  <a:pt x="609" y="246"/>
                </a:lnTo>
                <a:lnTo>
                  <a:pt x="609" y="246"/>
                </a:lnTo>
                <a:lnTo>
                  <a:pt x="609" y="244"/>
                </a:lnTo>
                <a:lnTo>
                  <a:pt x="611" y="242"/>
                </a:lnTo>
                <a:lnTo>
                  <a:pt x="615" y="238"/>
                </a:lnTo>
                <a:lnTo>
                  <a:pt x="618" y="236"/>
                </a:lnTo>
                <a:lnTo>
                  <a:pt x="609" y="248"/>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7" name="Freeform 47"/>
          <p:cNvSpPr>
            <a:spLocks/>
          </p:cNvSpPr>
          <p:nvPr/>
        </p:nvSpPr>
        <p:spPr bwMode="auto">
          <a:xfrm>
            <a:off x="982663" y="2157314"/>
            <a:ext cx="1157288" cy="1039813"/>
          </a:xfrm>
          <a:custGeom>
            <a:avLst/>
            <a:gdLst>
              <a:gd name="T0" fmla="*/ 910 w 1287"/>
              <a:gd name="T1" fmla="*/ 813 h 1191"/>
              <a:gd name="T2" fmla="*/ 852 w 1287"/>
              <a:gd name="T3" fmla="*/ 826 h 1191"/>
              <a:gd name="T4" fmla="*/ 797 w 1287"/>
              <a:gd name="T5" fmla="*/ 859 h 1191"/>
              <a:gd name="T6" fmla="*/ 776 w 1287"/>
              <a:gd name="T7" fmla="*/ 882 h 1191"/>
              <a:gd name="T8" fmla="*/ 755 w 1287"/>
              <a:gd name="T9" fmla="*/ 872 h 1191"/>
              <a:gd name="T10" fmla="*/ 707 w 1287"/>
              <a:gd name="T11" fmla="*/ 918 h 1191"/>
              <a:gd name="T12" fmla="*/ 683 w 1287"/>
              <a:gd name="T13" fmla="*/ 927 h 1191"/>
              <a:gd name="T14" fmla="*/ 664 w 1287"/>
              <a:gd name="T15" fmla="*/ 954 h 1191"/>
              <a:gd name="T16" fmla="*/ 631 w 1287"/>
              <a:gd name="T17" fmla="*/ 937 h 1191"/>
              <a:gd name="T18" fmla="*/ 603 w 1287"/>
              <a:gd name="T19" fmla="*/ 960 h 1191"/>
              <a:gd name="T20" fmla="*/ 612 w 1287"/>
              <a:gd name="T21" fmla="*/ 975 h 1191"/>
              <a:gd name="T22" fmla="*/ 526 w 1287"/>
              <a:gd name="T23" fmla="*/ 1059 h 1191"/>
              <a:gd name="T24" fmla="*/ 524 w 1287"/>
              <a:gd name="T25" fmla="*/ 1084 h 1191"/>
              <a:gd name="T26" fmla="*/ 503 w 1287"/>
              <a:gd name="T27" fmla="*/ 1126 h 1191"/>
              <a:gd name="T28" fmla="*/ 505 w 1287"/>
              <a:gd name="T29" fmla="*/ 1166 h 1191"/>
              <a:gd name="T30" fmla="*/ 463 w 1287"/>
              <a:gd name="T31" fmla="*/ 1189 h 1191"/>
              <a:gd name="T32" fmla="*/ 444 w 1287"/>
              <a:gd name="T33" fmla="*/ 1160 h 1191"/>
              <a:gd name="T34" fmla="*/ 414 w 1287"/>
              <a:gd name="T35" fmla="*/ 1156 h 1191"/>
              <a:gd name="T36" fmla="*/ 385 w 1287"/>
              <a:gd name="T37" fmla="*/ 1187 h 1191"/>
              <a:gd name="T38" fmla="*/ 343 w 1287"/>
              <a:gd name="T39" fmla="*/ 1173 h 1191"/>
              <a:gd name="T40" fmla="*/ 313 w 1287"/>
              <a:gd name="T41" fmla="*/ 1183 h 1191"/>
              <a:gd name="T42" fmla="*/ 295 w 1287"/>
              <a:gd name="T43" fmla="*/ 1152 h 1191"/>
              <a:gd name="T44" fmla="*/ 265 w 1287"/>
              <a:gd name="T45" fmla="*/ 1116 h 1191"/>
              <a:gd name="T46" fmla="*/ 280 w 1287"/>
              <a:gd name="T47" fmla="*/ 1099 h 1191"/>
              <a:gd name="T48" fmla="*/ 257 w 1287"/>
              <a:gd name="T49" fmla="*/ 1048 h 1191"/>
              <a:gd name="T50" fmla="*/ 231 w 1287"/>
              <a:gd name="T51" fmla="*/ 996 h 1191"/>
              <a:gd name="T52" fmla="*/ 181 w 1287"/>
              <a:gd name="T53" fmla="*/ 1030 h 1191"/>
              <a:gd name="T54" fmla="*/ 147 w 1287"/>
              <a:gd name="T55" fmla="*/ 1017 h 1191"/>
              <a:gd name="T56" fmla="*/ 122 w 1287"/>
              <a:gd name="T57" fmla="*/ 1034 h 1191"/>
              <a:gd name="T58" fmla="*/ 93 w 1287"/>
              <a:gd name="T59" fmla="*/ 1013 h 1191"/>
              <a:gd name="T60" fmla="*/ 70 w 1287"/>
              <a:gd name="T61" fmla="*/ 1023 h 1191"/>
              <a:gd name="T62" fmla="*/ 57 w 1287"/>
              <a:gd name="T63" fmla="*/ 1007 h 1191"/>
              <a:gd name="T64" fmla="*/ 57 w 1287"/>
              <a:gd name="T65" fmla="*/ 994 h 1191"/>
              <a:gd name="T66" fmla="*/ 65 w 1287"/>
              <a:gd name="T67" fmla="*/ 960 h 1191"/>
              <a:gd name="T68" fmla="*/ 36 w 1287"/>
              <a:gd name="T69" fmla="*/ 918 h 1191"/>
              <a:gd name="T70" fmla="*/ 19 w 1287"/>
              <a:gd name="T71" fmla="*/ 887 h 1191"/>
              <a:gd name="T72" fmla="*/ 26 w 1287"/>
              <a:gd name="T73" fmla="*/ 853 h 1191"/>
              <a:gd name="T74" fmla="*/ 9 w 1287"/>
              <a:gd name="T75" fmla="*/ 826 h 1191"/>
              <a:gd name="T76" fmla="*/ 0 w 1287"/>
              <a:gd name="T77" fmla="*/ 800 h 1191"/>
              <a:gd name="T78" fmla="*/ 47 w 1287"/>
              <a:gd name="T79" fmla="*/ 780 h 1191"/>
              <a:gd name="T80" fmla="*/ 80 w 1287"/>
              <a:gd name="T81" fmla="*/ 729 h 1191"/>
              <a:gd name="T82" fmla="*/ 122 w 1287"/>
              <a:gd name="T83" fmla="*/ 769 h 1191"/>
              <a:gd name="T84" fmla="*/ 147 w 1287"/>
              <a:gd name="T85" fmla="*/ 750 h 1191"/>
              <a:gd name="T86" fmla="*/ 194 w 1287"/>
              <a:gd name="T87" fmla="*/ 759 h 1191"/>
              <a:gd name="T88" fmla="*/ 236 w 1287"/>
              <a:gd name="T89" fmla="*/ 738 h 1191"/>
              <a:gd name="T90" fmla="*/ 528 w 1287"/>
              <a:gd name="T91" fmla="*/ 765 h 1191"/>
              <a:gd name="T92" fmla="*/ 1039 w 1287"/>
              <a:gd name="T93" fmla="*/ 325 h 1191"/>
              <a:gd name="T94" fmla="*/ 1068 w 1287"/>
              <a:gd name="T95" fmla="*/ 349 h 1191"/>
              <a:gd name="T96" fmla="*/ 1076 w 1287"/>
              <a:gd name="T97" fmla="*/ 378 h 1191"/>
              <a:gd name="T98" fmla="*/ 1102 w 1287"/>
              <a:gd name="T99" fmla="*/ 399 h 1191"/>
              <a:gd name="T100" fmla="*/ 1188 w 1287"/>
              <a:gd name="T101" fmla="*/ 437 h 1191"/>
              <a:gd name="T102" fmla="*/ 1211 w 1287"/>
              <a:gd name="T103" fmla="*/ 489 h 1191"/>
              <a:gd name="T104" fmla="*/ 1207 w 1287"/>
              <a:gd name="T105" fmla="*/ 506 h 1191"/>
              <a:gd name="T106" fmla="*/ 1283 w 1287"/>
              <a:gd name="T107" fmla="*/ 519 h 1191"/>
              <a:gd name="T108" fmla="*/ 1283 w 1287"/>
              <a:gd name="T109" fmla="*/ 586 h 1191"/>
              <a:gd name="T110" fmla="*/ 1285 w 1287"/>
              <a:gd name="T111" fmla="*/ 677 h 1191"/>
              <a:gd name="T112" fmla="*/ 1242 w 1287"/>
              <a:gd name="T113" fmla="*/ 775 h 1191"/>
              <a:gd name="T114" fmla="*/ 1047 w 1287"/>
              <a:gd name="T115" fmla="*/ 807 h 1191"/>
              <a:gd name="T116" fmla="*/ 1005 w 1287"/>
              <a:gd name="T117" fmla="*/ 834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7" h="1191">
                <a:moveTo>
                  <a:pt x="963" y="828"/>
                </a:moveTo>
                <a:lnTo>
                  <a:pt x="963" y="828"/>
                </a:lnTo>
                <a:lnTo>
                  <a:pt x="955" y="826"/>
                </a:lnTo>
                <a:lnTo>
                  <a:pt x="948" y="824"/>
                </a:lnTo>
                <a:lnTo>
                  <a:pt x="940" y="822"/>
                </a:lnTo>
                <a:lnTo>
                  <a:pt x="934" y="819"/>
                </a:lnTo>
                <a:lnTo>
                  <a:pt x="927" y="817"/>
                </a:lnTo>
                <a:lnTo>
                  <a:pt x="919" y="815"/>
                </a:lnTo>
                <a:lnTo>
                  <a:pt x="910" y="813"/>
                </a:lnTo>
                <a:lnTo>
                  <a:pt x="900" y="813"/>
                </a:lnTo>
                <a:lnTo>
                  <a:pt x="900" y="813"/>
                </a:lnTo>
                <a:lnTo>
                  <a:pt x="894" y="813"/>
                </a:lnTo>
                <a:lnTo>
                  <a:pt x="887" y="813"/>
                </a:lnTo>
                <a:lnTo>
                  <a:pt x="879" y="815"/>
                </a:lnTo>
                <a:lnTo>
                  <a:pt x="873" y="817"/>
                </a:lnTo>
                <a:lnTo>
                  <a:pt x="866" y="821"/>
                </a:lnTo>
                <a:lnTo>
                  <a:pt x="860" y="822"/>
                </a:lnTo>
                <a:lnTo>
                  <a:pt x="852" y="826"/>
                </a:lnTo>
                <a:lnTo>
                  <a:pt x="847" y="830"/>
                </a:lnTo>
                <a:lnTo>
                  <a:pt x="841" y="834"/>
                </a:lnTo>
                <a:lnTo>
                  <a:pt x="833" y="838"/>
                </a:lnTo>
                <a:lnTo>
                  <a:pt x="828" y="842"/>
                </a:lnTo>
                <a:lnTo>
                  <a:pt x="822" y="845"/>
                </a:lnTo>
                <a:lnTo>
                  <a:pt x="814" y="849"/>
                </a:lnTo>
                <a:lnTo>
                  <a:pt x="809" y="853"/>
                </a:lnTo>
                <a:lnTo>
                  <a:pt x="803" y="857"/>
                </a:lnTo>
                <a:lnTo>
                  <a:pt x="797" y="859"/>
                </a:lnTo>
                <a:lnTo>
                  <a:pt x="797" y="859"/>
                </a:lnTo>
                <a:lnTo>
                  <a:pt x="795" y="861"/>
                </a:lnTo>
                <a:lnTo>
                  <a:pt x="793" y="864"/>
                </a:lnTo>
                <a:lnTo>
                  <a:pt x="791" y="866"/>
                </a:lnTo>
                <a:lnTo>
                  <a:pt x="789" y="870"/>
                </a:lnTo>
                <a:lnTo>
                  <a:pt x="786" y="874"/>
                </a:lnTo>
                <a:lnTo>
                  <a:pt x="784" y="878"/>
                </a:lnTo>
                <a:lnTo>
                  <a:pt x="780" y="880"/>
                </a:lnTo>
                <a:lnTo>
                  <a:pt x="776" y="882"/>
                </a:lnTo>
                <a:lnTo>
                  <a:pt x="776" y="882"/>
                </a:lnTo>
                <a:lnTo>
                  <a:pt x="774" y="880"/>
                </a:lnTo>
                <a:lnTo>
                  <a:pt x="770" y="880"/>
                </a:lnTo>
                <a:lnTo>
                  <a:pt x="768" y="878"/>
                </a:lnTo>
                <a:lnTo>
                  <a:pt x="767" y="876"/>
                </a:lnTo>
                <a:lnTo>
                  <a:pt x="765" y="874"/>
                </a:lnTo>
                <a:lnTo>
                  <a:pt x="761" y="872"/>
                </a:lnTo>
                <a:lnTo>
                  <a:pt x="759" y="872"/>
                </a:lnTo>
                <a:lnTo>
                  <a:pt x="755" y="872"/>
                </a:lnTo>
                <a:lnTo>
                  <a:pt x="755" y="872"/>
                </a:lnTo>
                <a:lnTo>
                  <a:pt x="747" y="872"/>
                </a:lnTo>
                <a:lnTo>
                  <a:pt x="740" y="878"/>
                </a:lnTo>
                <a:lnTo>
                  <a:pt x="734" y="883"/>
                </a:lnTo>
                <a:lnTo>
                  <a:pt x="728" y="893"/>
                </a:lnTo>
                <a:lnTo>
                  <a:pt x="725" y="901"/>
                </a:lnTo>
                <a:lnTo>
                  <a:pt x="721" y="908"/>
                </a:lnTo>
                <a:lnTo>
                  <a:pt x="715" y="914"/>
                </a:lnTo>
                <a:lnTo>
                  <a:pt x="707" y="918"/>
                </a:lnTo>
                <a:lnTo>
                  <a:pt x="707" y="918"/>
                </a:lnTo>
                <a:lnTo>
                  <a:pt x="706" y="918"/>
                </a:lnTo>
                <a:lnTo>
                  <a:pt x="702" y="918"/>
                </a:lnTo>
                <a:lnTo>
                  <a:pt x="698" y="918"/>
                </a:lnTo>
                <a:lnTo>
                  <a:pt x="692" y="918"/>
                </a:lnTo>
                <a:lnTo>
                  <a:pt x="688" y="920"/>
                </a:lnTo>
                <a:lnTo>
                  <a:pt x="685" y="922"/>
                </a:lnTo>
                <a:lnTo>
                  <a:pt x="683" y="924"/>
                </a:lnTo>
                <a:lnTo>
                  <a:pt x="683" y="927"/>
                </a:lnTo>
                <a:lnTo>
                  <a:pt x="683" y="927"/>
                </a:lnTo>
                <a:lnTo>
                  <a:pt x="683" y="931"/>
                </a:lnTo>
                <a:lnTo>
                  <a:pt x="683" y="937"/>
                </a:lnTo>
                <a:lnTo>
                  <a:pt x="681" y="941"/>
                </a:lnTo>
                <a:lnTo>
                  <a:pt x="681" y="945"/>
                </a:lnTo>
                <a:lnTo>
                  <a:pt x="677" y="948"/>
                </a:lnTo>
                <a:lnTo>
                  <a:pt x="675" y="950"/>
                </a:lnTo>
                <a:lnTo>
                  <a:pt x="669" y="952"/>
                </a:lnTo>
                <a:lnTo>
                  <a:pt x="664" y="954"/>
                </a:lnTo>
                <a:lnTo>
                  <a:pt x="664" y="954"/>
                </a:lnTo>
                <a:lnTo>
                  <a:pt x="660" y="952"/>
                </a:lnTo>
                <a:lnTo>
                  <a:pt x="656" y="950"/>
                </a:lnTo>
                <a:lnTo>
                  <a:pt x="652" y="948"/>
                </a:lnTo>
                <a:lnTo>
                  <a:pt x="648" y="945"/>
                </a:lnTo>
                <a:lnTo>
                  <a:pt x="644" y="943"/>
                </a:lnTo>
                <a:lnTo>
                  <a:pt x="641" y="939"/>
                </a:lnTo>
                <a:lnTo>
                  <a:pt x="637" y="937"/>
                </a:lnTo>
                <a:lnTo>
                  <a:pt x="631" y="937"/>
                </a:lnTo>
                <a:lnTo>
                  <a:pt x="631" y="937"/>
                </a:lnTo>
                <a:lnTo>
                  <a:pt x="627" y="937"/>
                </a:lnTo>
                <a:lnTo>
                  <a:pt x="622" y="939"/>
                </a:lnTo>
                <a:lnTo>
                  <a:pt x="618" y="943"/>
                </a:lnTo>
                <a:lnTo>
                  <a:pt x="612" y="945"/>
                </a:lnTo>
                <a:lnTo>
                  <a:pt x="608" y="948"/>
                </a:lnTo>
                <a:lnTo>
                  <a:pt x="604" y="952"/>
                </a:lnTo>
                <a:lnTo>
                  <a:pt x="603" y="956"/>
                </a:lnTo>
                <a:lnTo>
                  <a:pt x="603" y="960"/>
                </a:lnTo>
                <a:lnTo>
                  <a:pt x="603" y="960"/>
                </a:lnTo>
                <a:lnTo>
                  <a:pt x="603" y="962"/>
                </a:lnTo>
                <a:lnTo>
                  <a:pt x="603" y="964"/>
                </a:lnTo>
                <a:lnTo>
                  <a:pt x="604" y="966"/>
                </a:lnTo>
                <a:lnTo>
                  <a:pt x="604" y="967"/>
                </a:lnTo>
                <a:lnTo>
                  <a:pt x="606" y="969"/>
                </a:lnTo>
                <a:lnTo>
                  <a:pt x="608" y="971"/>
                </a:lnTo>
                <a:lnTo>
                  <a:pt x="610" y="973"/>
                </a:lnTo>
                <a:lnTo>
                  <a:pt x="612" y="975"/>
                </a:lnTo>
                <a:lnTo>
                  <a:pt x="576" y="1042"/>
                </a:lnTo>
                <a:lnTo>
                  <a:pt x="576" y="1042"/>
                </a:lnTo>
                <a:lnTo>
                  <a:pt x="568" y="1046"/>
                </a:lnTo>
                <a:lnTo>
                  <a:pt x="559" y="1046"/>
                </a:lnTo>
                <a:lnTo>
                  <a:pt x="551" y="1048"/>
                </a:lnTo>
                <a:lnTo>
                  <a:pt x="543" y="1049"/>
                </a:lnTo>
                <a:lnTo>
                  <a:pt x="536" y="1051"/>
                </a:lnTo>
                <a:lnTo>
                  <a:pt x="530" y="1055"/>
                </a:lnTo>
                <a:lnTo>
                  <a:pt x="526" y="1059"/>
                </a:lnTo>
                <a:lnTo>
                  <a:pt x="524" y="1067"/>
                </a:lnTo>
                <a:lnTo>
                  <a:pt x="524" y="1067"/>
                </a:lnTo>
                <a:lnTo>
                  <a:pt x="524" y="1067"/>
                </a:lnTo>
                <a:lnTo>
                  <a:pt x="524" y="1069"/>
                </a:lnTo>
                <a:lnTo>
                  <a:pt x="524" y="1070"/>
                </a:lnTo>
                <a:lnTo>
                  <a:pt x="524" y="1072"/>
                </a:lnTo>
                <a:lnTo>
                  <a:pt x="524" y="1076"/>
                </a:lnTo>
                <a:lnTo>
                  <a:pt x="524" y="1080"/>
                </a:lnTo>
                <a:lnTo>
                  <a:pt x="524" y="1084"/>
                </a:lnTo>
                <a:lnTo>
                  <a:pt x="524" y="1088"/>
                </a:lnTo>
                <a:lnTo>
                  <a:pt x="524" y="1088"/>
                </a:lnTo>
                <a:lnTo>
                  <a:pt x="524" y="1095"/>
                </a:lnTo>
                <a:lnTo>
                  <a:pt x="522" y="1101"/>
                </a:lnTo>
                <a:lnTo>
                  <a:pt x="519" y="1107"/>
                </a:lnTo>
                <a:lnTo>
                  <a:pt x="515" y="1110"/>
                </a:lnTo>
                <a:lnTo>
                  <a:pt x="511" y="1114"/>
                </a:lnTo>
                <a:lnTo>
                  <a:pt x="507" y="1120"/>
                </a:lnTo>
                <a:lnTo>
                  <a:pt x="503" y="1126"/>
                </a:lnTo>
                <a:lnTo>
                  <a:pt x="501" y="1131"/>
                </a:lnTo>
                <a:lnTo>
                  <a:pt x="501" y="1131"/>
                </a:lnTo>
                <a:lnTo>
                  <a:pt x="501" y="1137"/>
                </a:lnTo>
                <a:lnTo>
                  <a:pt x="501" y="1141"/>
                </a:lnTo>
                <a:lnTo>
                  <a:pt x="503" y="1147"/>
                </a:lnTo>
                <a:lnTo>
                  <a:pt x="503" y="1151"/>
                </a:lnTo>
                <a:lnTo>
                  <a:pt x="505" y="1154"/>
                </a:lnTo>
                <a:lnTo>
                  <a:pt x="505" y="1160"/>
                </a:lnTo>
                <a:lnTo>
                  <a:pt x="505" y="1166"/>
                </a:lnTo>
                <a:lnTo>
                  <a:pt x="505" y="1173"/>
                </a:lnTo>
                <a:lnTo>
                  <a:pt x="505" y="1173"/>
                </a:lnTo>
                <a:lnTo>
                  <a:pt x="498" y="1173"/>
                </a:lnTo>
                <a:lnTo>
                  <a:pt x="492" y="1175"/>
                </a:lnTo>
                <a:lnTo>
                  <a:pt x="486" y="1179"/>
                </a:lnTo>
                <a:lnTo>
                  <a:pt x="480" y="1181"/>
                </a:lnTo>
                <a:lnTo>
                  <a:pt x="475" y="1185"/>
                </a:lnTo>
                <a:lnTo>
                  <a:pt x="469" y="1187"/>
                </a:lnTo>
                <a:lnTo>
                  <a:pt x="463" y="1189"/>
                </a:lnTo>
                <a:lnTo>
                  <a:pt x="458" y="1191"/>
                </a:lnTo>
                <a:lnTo>
                  <a:pt x="458" y="1191"/>
                </a:lnTo>
                <a:lnTo>
                  <a:pt x="454" y="1189"/>
                </a:lnTo>
                <a:lnTo>
                  <a:pt x="450" y="1187"/>
                </a:lnTo>
                <a:lnTo>
                  <a:pt x="448" y="1183"/>
                </a:lnTo>
                <a:lnTo>
                  <a:pt x="446" y="1177"/>
                </a:lnTo>
                <a:lnTo>
                  <a:pt x="446" y="1172"/>
                </a:lnTo>
                <a:lnTo>
                  <a:pt x="446" y="1166"/>
                </a:lnTo>
                <a:lnTo>
                  <a:pt x="444" y="1160"/>
                </a:lnTo>
                <a:lnTo>
                  <a:pt x="444" y="1154"/>
                </a:lnTo>
                <a:lnTo>
                  <a:pt x="444" y="1154"/>
                </a:lnTo>
                <a:lnTo>
                  <a:pt x="440" y="1154"/>
                </a:lnTo>
                <a:lnTo>
                  <a:pt x="438" y="1154"/>
                </a:lnTo>
                <a:lnTo>
                  <a:pt x="433" y="1154"/>
                </a:lnTo>
                <a:lnTo>
                  <a:pt x="429" y="1154"/>
                </a:lnTo>
                <a:lnTo>
                  <a:pt x="423" y="1154"/>
                </a:lnTo>
                <a:lnTo>
                  <a:pt x="417" y="1156"/>
                </a:lnTo>
                <a:lnTo>
                  <a:pt x="414" y="1156"/>
                </a:lnTo>
                <a:lnTo>
                  <a:pt x="410" y="1158"/>
                </a:lnTo>
                <a:lnTo>
                  <a:pt x="410" y="1158"/>
                </a:lnTo>
                <a:lnTo>
                  <a:pt x="408" y="1162"/>
                </a:lnTo>
                <a:lnTo>
                  <a:pt x="404" y="1166"/>
                </a:lnTo>
                <a:lnTo>
                  <a:pt x="402" y="1172"/>
                </a:lnTo>
                <a:lnTo>
                  <a:pt x="400" y="1175"/>
                </a:lnTo>
                <a:lnTo>
                  <a:pt x="396" y="1181"/>
                </a:lnTo>
                <a:lnTo>
                  <a:pt x="391" y="1185"/>
                </a:lnTo>
                <a:lnTo>
                  <a:pt x="385" y="1187"/>
                </a:lnTo>
                <a:lnTo>
                  <a:pt x="376" y="1189"/>
                </a:lnTo>
                <a:lnTo>
                  <a:pt x="376" y="1189"/>
                </a:lnTo>
                <a:lnTo>
                  <a:pt x="370" y="1187"/>
                </a:lnTo>
                <a:lnTo>
                  <a:pt x="364" y="1185"/>
                </a:lnTo>
                <a:lnTo>
                  <a:pt x="358" y="1183"/>
                </a:lnTo>
                <a:lnTo>
                  <a:pt x="355" y="1179"/>
                </a:lnTo>
                <a:lnTo>
                  <a:pt x="351" y="1177"/>
                </a:lnTo>
                <a:lnTo>
                  <a:pt x="347" y="1175"/>
                </a:lnTo>
                <a:lnTo>
                  <a:pt x="343" y="1173"/>
                </a:lnTo>
                <a:lnTo>
                  <a:pt x="339" y="1173"/>
                </a:lnTo>
                <a:lnTo>
                  <a:pt x="339" y="1173"/>
                </a:lnTo>
                <a:lnTo>
                  <a:pt x="335" y="1173"/>
                </a:lnTo>
                <a:lnTo>
                  <a:pt x="332" y="1173"/>
                </a:lnTo>
                <a:lnTo>
                  <a:pt x="328" y="1175"/>
                </a:lnTo>
                <a:lnTo>
                  <a:pt x="324" y="1175"/>
                </a:lnTo>
                <a:lnTo>
                  <a:pt x="320" y="1177"/>
                </a:lnTo>
                <a:lnTo>
                  <a:pt x="316" y="1179"/>
                </a:lnTo>
                <a:lnTo>
                  <a:pt x="313" y="1183"/>
                </a:lnTo>
                <a:lnTo>
                  <a:pt x="311" y="1185"/>
                </a:lnTo>
                <a:lnTo>
                  <a:pt x="311" y="1185"/>
                </a:lnTo>
                <a:lnTo>
                  <a:pt x="307" y="1181"/>
                </a:lnTo>
                <a:lnTo>
                  <a:pt x="305" y="1177"/>
                </a:lnTo>
                <a:lnTo>
                  <a:pt x="303" y="1172"/>
                </a:lnTo>
                <a:lnTo>
                  <a:pt x="301" y="1168"/>
                </a:lnTo>
                <a:lnTo>
                  <a:pt x="299" y="1162"/>
                </a:lnTo>
                <a:lnTo>
                  <a:pt x="297" y="1158"/>
                </a:lnTo>
                <a:lnTo>
                  <a:pt x="295" y="1152"/>
                </a:lnTo>
                <a:lnTo>
                  <a:pt x="293" y="1149"/>
                </a:lnTo>
                <a:lnTo>
                  <a:pt x="292" y="1143"/>
                </a:lnTo>
                <a:lnTo>
                  <a:pt x="290" y="1139"/>
                </a:lnTo>
                <a:lnTo>
                  <a:pt x="286" y="1133"/>
                </a:lnTo>
                <a:lnTo>
                  <a:pt x="284" y="1130"/>
                </a:lnTo>
                <a:lnTo>
                  <a:pt x="280" y="1126"/>
                </a:lnTo>
                <a:lnTo>
                  <a:pt x="276" y="1122"/>
                </a:lnTo>
                <a:lnTo>
                  <a:pt x="271" y="1118"/>
                </a:lnTo>
                <a:lnTo>
                  <a:pt x="265" y="1116"/>
                </a:lnTo>
                <a:lnTo>
                  <a:pt x="265" y="1116"/>
                </a:lnTo>
                <a:lnTo>
                  <a:pt x="267" y="1114"/>
                </a:lnTo>
                <a:lnTo>
                  <a:pt x="271" y="1112"/>
                </a:lnTo>
                <a:lnTo>
                  <a:pt x="273" y="1110"/>
                </a:lnTo>
                <a:lnTo>
                  <a:pt x="276" y="1110"/>
                </a:lnTo>
                <a:lnTo>
                  <a:pt x="278" y="1109"/>
                </a:lnTo>
                <a:lnTo>
                  <a:pt x="278" y="1107"/>
                </a:lnTo>
                <a:lnTo>
                  <a:pt x="280" y="1103"/>
                </a:lnTo>
                <a:lnTo>
                  <a:pt x="280" y="1099"/>
                </a:lnTo>
                <a:lnTo>
                  <a:pt x="280" y="1099"/>
                </a:lnTo>
                <a:lnTo>
                  <a:pt x="280" y="1099"/>
                </a:lnTo>
                <a:lnTo>
                  <a:pt x="278" y="1095"/>
                </a:lnTo>
                <a:lnTo>
                  <a:pt x="276" y="1090"/>
                </a:lnTo>
                <a:lnTo>
                  <a:pt x="274" y="1084"/>
                </a:lnTo>
                <a:lnTo>
                  <a:pt x="271" y="1076"/>
                </a:lnTo>
                <a:lnTo>
                  <a:pt x="267" y="1067"/>
                </a:lnTo>
                <a:lnTo>
                  <a:pt x="263" y="1057"/>
                </a:lnTo>
                <a:lnTo>
                  <a:pt x="257" y="1048"/>
                </a:lnTo>
                <a:lnTo>
                  <a:pt x="253" y="1038"/>
                </a:lnTo>
                <a:lnTo>
                  <a:pt x="250" y="1028"/>
                </a:lnTo>
                <a:lnTo>
                  <a:pt x="246" y="1019"/>
                </a:lnTo>
                <a:lnTo>
                  <a:pt x="240" y="1011"/>
                </a:lnTo>
                <a:lnTo>
                  <a:pt x="238" y="1006"/>
                </a:lnTo>
                <a:lnTo>
                  <a:pt x="234" y="1000"/>
                </a:lnTo>
                <a:lnTo>
                  <a:pt x="232" y="996"/>
                </a:lnTo>
                <a:lnTo>
                  <a:pt x="231" y="996"/>
                </a:lnTo>
                <a:lnTo>
                  <a:pt x="231" y="996"/>
                </a:lnTo>
                <a:lnTo>
                  <a:pt x="225" y="996"/>
                </a:lnTo>
                <a:lnTo>
                  <a:pt x="219" y="1000"/>
                </a:lnTo>
                <a:lnTo>
                  <a:pt x="213" y="1006"/>
                </a:lnTo>
                <a:lnTo>
                  <a:pt x="210" y="1013"/>
                </a:lnTo>
                <a:lnTo>
                  <a:pt x="204" y="1019"/>
                </a:lnTo>
                <a:lnTo>
                  <a:pt x="196" y="1025"/>
                </a:lnTo>
                <a:lnTo>
                  <a:pt x="189" y="1028"/>
                </a:lnTo>
                <a:lnTo>
                  <a:pt x="181" y="1030"/>
                </a:lnTo>
                <a:lnTo>
                  <a:pt x="181" y="1030"/>
                </a:lnTo>
                <a:lnTo>
                  <a:pt x="175" y="1030"/>
                </a:lnTo>
                <a:lnTo>
                  <a:pt x="171" y="1028"/>
                </a:lnTo>
                <a:lnTo>
                  <a:pt x="168" y="1027"/>
                </a:lnTo>
                <a:lnTo>
                  <a:pt x="164" y="1025"/>
                </a:lnTo>
                <a:lnTo>
                  <a:pt x="160" y="1021"/>
                </a:lnTo>
                <a:lnTo>
                  <a:pt x="156" y="1019"/>
                </a:lnTo>
                <a:lnTo>
                  <a:pt x="152" y="1017"/>
                </a:lnTo>
                <a:lnTo>
                  <a:pt x="147" y="1017"/>
                </a:lnTo>
                <a:lnTo>
                  <a:pt x="147" y="1017"/>
                </a:lnTo>
                <a:lnTo>
                  <a:pt x="143" y="1017"/>
                </a:lnTo>
                <a:lnTo>
                  <a:pt x="141" y="1019"/>
                </a:lnTo>
                <a:lnTo>
                  <a:pt x="137" y="1023"/>
                </a:lnTo>
                <a:lnTo>
                  <a:pt x="135" y="1025"/>
                </a:lnTo>
                <a:lnTo>
                  <a:pt x="133" y="1028"/>
                </a:lnTo>
                <a:lnTo>
                  <a:pt x="129" y="1030"/>
                </a:lnTo>
                <a:lnTo>
                  <a:pt x="126" y="1034"/>
                </a:lnTo>
                <a:lnTo>
                  <a:pt x="122" y="1034"/>
                </a:lnTo>
                <a:lnTo>
                  <a:pt x="122" y="1034"/>
                </a:lnTo>
                <a:lnTo>
                  <a:pt x="118" y="1034"/>
                </a:lnTo>
                <a:lnTo>
                  <a:pt x="114" y="1032"/>
                </a:lnTo>
                <a:lnTo>
                  <a:pt x="108" y="1030"/>
                </a:lnTo>
                <a:lnTo>
                  <a:pt x="107" y="1027"/>
                </a:lnTo>
                <a:lnTo>
                  <a:pt x="103" y="1025"/>
                </a:lnTo>
                <a:lnTo>
                  <a:pt x="99" y="1021"/>
                </a:lnTo>
                <a:lnTo>
                  <a:pt x="97" y="1017"/>
                </a:lnTo>
                <a:lnTo>
                  <a:pt x="93" y="1013"/>
                </a:lnTo>
                <a:lnTo>
                  <a:pt x="93" y="1013"/>
                </a:lnTo>
                <a:lnTo>
                  <a:pt x="91" y="1015"/>
                </a:lnTo>
                <a:lnTo>
                  <a:pt x="87" y="1017"/>
                </a:lnTo>
                <a:lnTo>
                  <a:pt x="86" y="1017"/>
                </a:lnTo>
                <a:lnTo>
                  <a:pt x="84" y="1019"/>
                </a:lnTo>
                <a:lnTo>
                  <a:pt x="80" y="1021"/>
                </a:lnTo>
                <a:lnTo>
                  <a:pt x="78" y="1021"/>
                </a:lnTo>
                <a:lnTo>
                  <a:pt x="74" y="1023"/>
                </a:lnTo>
                <a:lnTo>
                  <a:pt x="70" y="1023"/>
                </a:lnTo>
                <a:lnTo>
                  <a:pt x="70" y="1023"/>
                </a:lnTo>
                <a:lnTo>
                  <a:pt x="66" y="1023"/>
                </a:lnTo>
                <a:lnTo>
                  <a:pt x="63" y="1021"/>
                </a:lnTo>
                <a:lnTo>
                  <a:pt x="61" y="1019"/>
                </a:lnTo>
                <a:lnTo>
                  <a:pt x="59" y="1015"/>
                </a:lnTo>
                <a:lnTo>
                  <a:pt x="57" y="1013"/>
                </a:lnTo>
                <a:lnTo>
                  <a:pt x="57" y="1011"/>
                </a:lnTo>
                <a:lnTo>
                  <a:pt x="57" y="1009"/>
                </a:lnTo>
                <a:lnTo>
                  <a:pt x="57" y="1007"/>
                </a:lnTo>
                <a:lnTo>
                  <a:pt x="57" y="1007"/>
                </a:lnTo>
                <a:lnTo>
                  <a:pt x="55" y="1006"/>
                </a:lnTo>
                <a:lnTo>
                  <a:pt x="55" y="1006"/>
                </a:lnTo>
                <a:lnTo>
                  <a:pt x="55" y="1004"/>
                </a:lnTo>
                <a:lnTo>
                  <a:pt x="53" y="1002"/>
                </a:lnTo>
                <a:lnTo>
                  <a:pt x="53" y="1002"/>
                </a:lnTo>
                <a:lnTo>
                  <a:pt x="53" y="1000"/>
                </a:lnTo>
                <a:lnTo>
                  <a:pt x="55" y="998"/>
                </a:lnTo>
                <a:lnTo>
                  <a:pt x="57" y="994"/>
                </a:lnTo>
                <a:lnTo>
                  <a:pt x="57" y="994"/>
                </a:lnTo>
                <a:lnTo>
                  <a:pt x="55" y="992"/>
                </a:lnTo>
                <a:lnTo>
                  <a:pt x="55" y="988"/>
                </a:lnTo>
                <a:lnTo>
                  <a:pt x="55" y="985"/>
                </a:lnTo>
                <a:lnTo>
                  <a:pt x="59" y="979"/>
                </a:lnTo>
                <a:lnTo>
                  <a:pt x="61" y="975"/>
                </a:lnTo>
                <a:lnTo>
                  <a:pt x="63" y="969"/>
                </a:lnTo>
                <a:lnTo>
                  <a:pt x="65" y="964"/>
                </a:lnTo>
                <a:lnTo>
                  <a:pt x="65" y="960"/>
                </a:lnTo>
                <a:lnTo>
                  <a:pt x="65" y="960"/>
                </a:lnTo>
                <a:lnTo>
                  <a:pt x="65" y="954"/>
                </a:lnTo>
                <a:lnTo>
                  <a:pt x="63" y="948"/>
                </a:lnTo>
                <a:lnTo>
                  <a:pt x="61" y="943"/>
                </a:lnTo>
                <a:lnTo>
                  <a:pt x="57" y="937"/>
                </a:lnTo>
                <a:lnTo>
                  <a:pt x="53" y="933"/>
                </a:lnTo>
                <a:lnTo>
                  <a:pt x="49" y="929"/>
                </a:lnTo>
                <a:lnTo>
                  <a:pt x="46" y="925"/>
                </a:lnTo>
                <a:lnTo>
                  <a:pt x="42" y="922"/>
                </a:lnTo>
                <a:lnTo>
                  <a:pt x="36" y="918"/>
                </a:lnTo>
                <a:lnTo>
                  <a:pt x="32" y="914"/>
                </a:lnTo>
                <a:lnTo>
                  <a:pt x="28" y="910"/>
                </a:lnTo>
                <a:lnTo>
                  <a:pt x="25" y="906"/>
                </a:lnTo>
                <a:lnTo>
                  <a:pt x="23" y="903"/>
                </a:lnTo>
                <a:lnTo>
                  <a:pt x="19" y="897"/>
                </a:lnTo>
                <a:lnTo>
                  <a:pt x="19" y="893"/>
                </a:lnTo>
                <a:lnTo>
                  <a:pt x="17" y="889"/>
                </a:lnTo>
                <a:lnTo>
                  <a:pt x="17" y="889"/>
                </a:lnTo>
                <a:lnTo>
                  <a:pt x="19" y="887"/>
                </a:lnTo>
                <a:lnTo>
                  <a:pt x="19" y="883"/>
                </a:lnTo>
                <a:lnTo>
                  <a:pt x="21" y="880"/>
                </a:lnTo>
                <a:lnTo>
                  <a:pt x="23" y="874"/>
                </a:lnTo>
                <a:lnTo>
                  <a:pt x="25" y="870"/>
                </a:lnTo>
                <a:lnTo>
                  <a:pt x="25" y="864"/>
                </a:lnTo>
                <a:lnTo>
                  <a:pt x="26" y="861"/>
                </a:lnTo>
                <a:lnTo>
                  <a:pt x="26" y="857"/>
                </a:lnTo>
                <a:lnTo>
                  <a:pt x="26" y="857"/>
                </a:lnTo>
                <a:lnTo>
                  <a:pt x="26" y="853"/>
                </a:lnTo>
                <a:lnTo>
                  <a:pt x="25" y="849"/>
                </a:lnTo>
                <a:lnTo>
                  <a:pt x="23" y="847"/>
                </a:lnTo>
                <a:lnTo>
                  <a:pt x="21" y="843"/>
                </a:lnTo>
                <a:lnTo>
                  <a:pt x="17" y="840"/>
                </a:lnTo>
                <a:lnTo>
                  <a:pt x="15" y="838"/>
                </a:lnTo>
                <a:lnTo>
                  <a:pt x="13" y="834"/>
                </a:lnTo>
                <a:lnTo>
                  <a:pt x="11" y="830"/>
                </a:lnTo>
                <a:lnTo>
                  <a:pt x="11" y="830"/>
                </a:lnTo>
                <a:lnTo>
                  <a:pt x="9" y="826"/>
                </a:lnTo>
                <a:lnTo>
                  <a:pt x="9" y="822"/>
                </a:lnTo>
                <a:lnTo>
                  <a:pt x="7" y="819"/>
                </a:lnTo>
                <a:lnTo>
                  <a:pt x="5" y="815"/>
                </a:lnTo>
                <a:lnTo>
                  <a:pt x="5" y="811"/>
                </a:lnTo>
                <a:lnTo>
                  <a:pt x="4" y="807"/>
                </a:lnTo>
                <a:lnTo>
                  <a:pt x="2" y="803"/>
                </a:lnTo>
                <a:lnTo>
                  <a:pt x="0" y="800"/>
                </a:lnTo>
                <a:lnTo>
                  <a:pt x="0" y="800"/>
                </a:lnTo>
                <a:lnTo>
                  <a:pt x="0" y="800"/>
                </a:lnTo>
                <a:lnTo>
                  <a:pt x="5" y="800"/>
                </a:lnTo>
                <a:lnTo>
                  <a:pt x="11" y="800"/>
                </a:lnTo>
                <a:lnTo>
                  <a:pt x="19" y="798"/>
                </a:lnTo>
                <a:lnTo>
                  <a:pt x="26" y="796"/>
                </a:lnTo>
                <a:lnTo>
                  <a:pt x="34" y="794"/>
                </a:lnTo>
                <a:lnTo>
                  <a:pt x="40" y="790"/>
                </a:lnTo>
                <a:lnTo>
                  <a:pt x="44" y="786"/>
                </a:lnTo>
                <a:lnTo>
                  <a:pt x="47" y="780"/>
                </a:lnTo>
                <a:lnTo>
                  <a:pt x="47" y="780"/>
                </a:lnTo>
                <a:lnTo>
                  <a:pt x="49" y="773"/>
                </a:lnTo>
                <a:lnTo>
                  <a:pt x="49" y="763"/>
                </a:lnTo>
                <a:lnTo>
                  <a:pt x="51" y="756"/>
                </a:lnTo>
                <a:lnTo>
                  <a:pt x="55" y="746"/>
                </a:lnTo>
                <a:lnTo>
                  <a:pt x="57" y="740"/>
                </a:lnTo>
                <a:lnTo>
                  <a:pt x="63" y="735"/>
                </a:lnTo>
                <a:lnTo>
                  <a:pt x="70" y="731"/>
                </a:lnTo>
                <a:lnTo>
                  <a:pt x="80" y="729"/>
                </a:lnTo>
                <a:lnTo>
                  <a:pt x="80" y="729"/>
                </a:lnTo>
                <a:lnTo>
                  <a:pt x="87" y="731"/>
                </a:lnTo>
                <a:lnTo>
                  <a:pt x="93" y="735"/>
                </a:lnTo>
                <a:lnTo>
                  <a:pt x="97" y="738"/>
                </a:lnTo>
                <a:lnTo>
                  <a:pt x="103" y="746"/>
                </a:lnTo>
                <a:lnTo>
                  <a:pt x="107" y="752"/>
                </a:lnTo>
                <a:lnTo>
                  <a:pt x="110" y="758"/>
                </a:lnTo>
                <a:lnTo>
                  <a:pt x="116" y="763"/>
                </a:lnTo>
                <a:lnTo>
                  <a:pt x="122" y="769"/>
                </a:lnTo>
                <a:lnTo>
                  <a:pt x="122" y="769"/>
                </a:lnTo>
                <a:lnTo>
                  <a:pt x="124" y="765"/>
                </a:lnTo>
                <a:lnTo>
                  <a:pt x="126" y="763"/>
                </a:lnTo>
                <a:lnTo>
                  <a:pt x="129" y="759"/>
                </a:lnTo>
                <a:lnTo>
                  <a:pt x="131" y="758"/>
                </a:lnTo>
                <a:lnTo>
                  <a:pt x="135" y="754"/>
                </a:lnTo>
                <a:lnTo>
                  <a:pt x="139" y="752"/>
                </a:lnTo>
                <a:lnTo>
                  <a:pt x="143" y="752"/>
                </a:lnTo>
                <a:lnTo>
                  <a:pt x="147" y="750"/>
                </a:lnTo>
                <a:lnTo>
                  <a:pt x="147" y="750"/>
                </a:lnTo>
                <a:lnTo>
                  <a:pt x="154" y="752"/>
                </a:lnTo>
                <a:lnTo>
                  <a:pt x="160" y="752"/>
                </a:lnTo>
                <a:lnTo>
                  <a:pt x="164" y="754"/>
                </a:lnTo>
                <a:lnTo>
                  <a:pt x="169" y="756"/>
                </a:lnTo>
                <a:lnTo>
                  <a:pt x="175" y="756"/>
                </a:lnTo>
                <a:lnTo>
                  <a:pt x="181" y="758"/>
                </a:lnTo>
                <a:lnTo>
                  <a:pt x="187" y="759"/>
                </a:lnTo>
                <a:lnTo>
                  <a:pt x="194" y="759"/>
                </a:lnTo>
                <a:lnTo>
                  <a:pt x="194" y="759"/>
                </a:lnTo>
                <a:lnTo>
                  <a:pt x="202" y="759"/>
                </a:lnTo>
                <a:lnTo>
                  <a:pt x="210" y="759"/>
                </a:lnTo>
                <a:lnTo>
                  <a:pt x="215" y="759"/>
                </a:lnTo>
                <a:lnTo>
                  <a:pt x="221" y="758"/>
                </a:lnTo>
                <a:lnTo>
                  <a:pt x="227" y="756"/>
                </a:lnTo>
                <a:lnTo>
                  <a:pt x="231" y="752"/>
                </a:lnTo>
                <a:lnTo>
                  <a:pt x="234" y="746"/>
                </a:lnTo>
                <a:lnTo>
                  <a:pt x="236" y="738"/>
                </a:lnTo>
                <a:lnTo>
                  <a:pt x="236" y="738"/>
                </a:lnTo>
                <a:lnTo>
                  <a:pt x="238" y="738"/>
                </a:lnTo>
                <a:lnTo>
                  <a:pt x="238" y="740"/>
                </a:lnTo>
                <a:lnTo>
                  <a:pt x="240" y="742"/>
                </a:lnTo>
                <a:lnTo>
                  <a:pt x="242" y="744"/>
                </a:lnTo>
                <a:lnTo>
                  <a:pt x="244" y="746"/>
                </a:lnTo>
                <a:lnTo>
                  <a:pt x="246" y="746"/>
                </a:lnTo>
                <a:lnTo>
                  <a:pt x="246" y="750"/>
                </a:lnTo>
                <a:lnTo>
                  <a:pt x="248" y="750"/>
                </a:lnTo>
                <a:lnTo>
                  <a:pt x="528" y="765"/>
                </a:lnTo>
                <a:lnTo>
                  <a:pt x="547" y="700"/>
                </a:lnTo>
                <a:lnTo>
                  <a:pt x="524" y="679"/>
                </a:lnTo>
                <a:lnTo>
                  <a:pt x="534" y="0"/>
                </a:lnTo>
                <a:lnTo>
                  <a:pt x="664" y="0"/>
                </a:lnTo>
                <a:lnTo>
                  <a:pt x="658" y="0"/>
                </a:lnTo>
                <a:lnTo>
                  <a:pt x="1034" y="315"/>
                </a:lnTo>
                <a:lnTo>
                  <a:pt x="1034" y="315"/>
                </a:lnTo>
                <a:lnTo>
                  <a:pt x="1036" y="321"/>
                </a:lnTo>
                <a:lnTo>
                  <a:pt x="1039" y="325"/>
                </a:lnTo>
                <a:lnTo>
                  <a:pt x="1043" y="326"/>
                </a:lnTo>
                <a:lnTo>
                  <a:pt x="1049" y="328"/>
                </a:lnTo>
                <a:lnTo>
                  <a:pt x="1053" y="330"/>
                </a:lnTo>
                <a:lnTo>
                  <a:pt x="1058" y="332"/>
                </a:lnTo>
                <a:lnTo>
                  <a:pt x="1062" y="334"/>
                </a:lnTo>
                <a:lnTo>
                  <a:pt x="1066" y="340"/>
                </a:lnTo>
                <a:lnTo>
                  <a:pt x="1066" y="340"/>
                </a:lnTo>
                <a:lnTo>
                  <a:pt x="1068" y="345"/>
                </a:lnTo>
                <a:lnTo>
                  <a:pt x="1068" y="349"/>
                </a:lnTo>
                <a:lnTo>
                  <a:pt x="1068" y="355"/>
                </a:lnTo>
                <a:lnTo>
                  <a:pt x="1068" y="359"/>
                </a:lnTo>
                <a:lnTo>
                  <a:pt x="1066" y="363"/>
                </a:lnTo>
                <a:lnTo>
                  <a:pt x="1068" y="368"/>
                </a:lnTo>
                <a:lnTo>
                  <a:pt x="1068" y="372"/>
                </a:lnTo>
                <a:lnTo>
                  <a:pt x="1072" y="374"/>
                </a:lnTo>
                <a:lnTo>
                  <a:pt x="1072" y="374"/>
                </a:lnTo>
                <a:lnTo>
                  <a:pt x="1074" y="376"/>
                </a:lnTo>
                <a:lnTo>
                  <a:pt x="1076" y="378"/>
                </a:lnTo>
                <a:lnTo>
                  <a:pt x="1079" y="378"/>
                </a:lnTo>
                <a:lnTo>
                  <a:pt x="1081" y="380"/>
                </a:lnTo>
                <a:lnTo>
                  <a:pt x="1085" y="380"/>
                </a:lnTo>
                <a:lnTo>
                  <a:pt x="1089" y="380"/>
                </a:lnTo>
                <a:lnTo>
                  <a:pt x="1093" y="382"/>
                </a:lnTo>
                <a:lnTo>
                  <a:pt x="1097" y="382"/>
                </a:lnTo>
                <a:lnTo>
                  <a:pt x="1097" y="382"/>
                </a:lnTo>
                <a:lnTo>
                  <a:pt x="1098" y="391"/>
                </a:lnTo>
                <a:lnTo>
                  <a:pt x="1102" y="399"/>
                </a:lnTo>
                <a:lnTo>
                  <a:pt x="1110" y="407"/>
                </a:lnTo>
                <a:lnTo>
                  <a:pt x="1118" y="412"/>
                </a:lnTo>
                <a:lnTo>
                  <a:pt x="1127" y="416"/>
                </a:lnTo>
                <a:lnTo>
                  <a:pt x="1137" y="420"/>
                </a:lnTo>
                <a:lnTo>
                  <a:pt x="1148" y="424"/>
                </a:lnTo>
                <a:lnTo>
                  <a:pt x="1158" y="426"/>
                </a:lnTo>
                <a:lnTo>
                  <a:pt x="1169" y="429"/>
                </a:lnTo>
                <a:lnTo>
                  <a:pt x="1179" y="433"/>
                </a:lnTo>
                <a:lnTo>
                  <a:pt x="1188" y="437"/>
                </a:lnTo>
                <a:lnTo>
                  <a:pt x="1196" y="443"/>
                </a:lnTo>
                <a:lnTo>
                  <a:pt x="1203" y="449"/>
                </a:lnTo>
                <a:lnTo>
                  <a:pt x="1209" y="458"/>
                </a:lnTo>
                <a:lnTo>
                  <a:pt x="1213" y="468"/>
                </a:lnTo>
                <a:lnTo>
                  <a:pt x="1215" y="481"/>
                </a:lnTo>
                <a:lnTo>
                  <a:pt x="1215" y="481"/>
                </a:lnTo>
                <a:lnTo>
                  <a:pt x="1213" y="485"/>
                </a:lnTo>
                <a:lnTo>
                  <a:pt x="1213" y="487"/>
                </a:lnTo>
                <a:lnTo>
                  <a:pt x="1211" y="489"/>
                </a:lnTo>
                <a:lnTo>
                  <a:pt x="1209" y="489"/>
                </a:lnTo>
                <a:lnTo>
                  <a:pt x="1207" y="490"/>
                </a:lnTo>
                <a:lnTo>
                  <a:pt x="1205" y="492"/>
                </a:lnTo>
                <a:lnTo>
                  <a:pt x="1205" y="496"/>
                </a:lnTo>
                <a:lnTo>
                  <a:pt x="1205" y="498"/>
                </a:lnTo>
                <a:lnTo>
                  <a:pt x="1205" y="498"/>
                </a:lnTo>
                <a:lnTo>
                  <a:pt x="1205" y="502"/>
                </a:lnTo>
                <a:lnTo>
                  <a:pt x="1205" y="504"/>
                </a:lnTo>
                <a:lnTo>
                  <a:pt x="1207" y="506"/>
                </a:lnTo>
                <a:lnTo>
                  <a:pt x="1209" y="508"/>
                </a:lnTo>
                <a:lnTo>
                  <a:pt x="1211" y="510"/>
                </a:lnTo>
                <a:lnTo>
                  <a:pt x="1213" y="511"/>
                </a:lnTo>
                <a:lnTo>
                  <a:pt x="1215" y="513"/>
                </a:lnTo>
                <a:lnTo>
                  <a:pt x="1217" y="517"/>
                </a:lnTo>
                <a:lnTo>
                  <a:pt x="1287" y="504"/>
                </a:lnTo>
                <a:lnTo>
                  <a:pt x="1287" y="504"/>
                </a:lnTo>
                <a:lnTo>
                  <a:pt x="1285" y="511"/>
                </a:lnTo>
                <a:lnTo>
                  <a:pt x="1283" y="519"/>
                </a:lnTo>
                <a:lnTo>
                  <a:pt x="1282" y="529"/>
                </a:lnTo>
                <a:lnTo>
                  <a:pt x="1282" y="534"/>
                </a:lnTo>
                <a:lnTo>
                  <a:pt x="1282" y="542"/>
                </a:lnTo>
                <a:lnTo>
                  <a:pt x="1282" y="550"/>
                </a:lnTo>
                <a:lnTo>
                  <a:pt x="1282" y="557"/>
                </a:lnTo>
                <a:lnTo>
                  <a:pt x="1282" y="563"/>
                </a:lnTo>
                <a:lnTo>
                  <a:pt x="1283" y="571"/>
                </a:lnTo>
                <a:lnTo>
                  <a:pt x="1283" y="578"/>
                </a:lnTo>
                <a:lnTo>
                  <a:pt x="1283" y="586"/>
                </a:lnTo>
                <a:lnTo>
                  <a:pt x="1285" y="593"/>
                </a:lnTo>
                <a:lnTo>
                  <a:pt x="1285" y="603"/>
                </a:lnTo>
                <a:lnTo>
                  <a:pt x="1287" y="611"/>
                </a:lnTo>
                <a:lnTo>
                  <a:pt x="1287" y="620"/>
                </a:lnTo>
                <a:lnTo>
                  <a:pt x="1287" y="630"/>
                </a:lnTo>
                <a:lnTo>
                  <a:pt x="1287" y="630"/>
                </a:lnTo>
                <a:lnTo>
                  <a:pt x="1287" y="645"/>
                </a:lnTo>
                <a:lnTo>
                  <a:pt x="1285" y="662"/>
                </a:lnTo>
                <a:lnTo>
                  <a:pt x="1285" y="677"/>
                </a:lnTo>
                <a:lnTo>
                  <a:pt x="1283" y="691"/>
                </a:lnTo>
                <a:lnTo>
                  <a:pt x="1282" y="704"/>
                </a:lnTo>
                <a:lnTo>
                  <a:pt x="1278" y="716"/>
                </a:lnTo>
                <a:lnTo>
                  <a:pt x="1274" y="727"/>
                </a:lnTo>
                <a:lnTo>
                  <a:pt x="1270" y="738"/>
                </a:lnTo>
                <a:lnTo>
                  <a:pt x="1264" y="748"/>
                </a:lnTo>
                <a:lnTo>
                  <a:pt x="1259" y="758"/>
                </a:lnTo>
                <a:lnTo>
                  <a:pt x="1251" y="767"/>
                </a:lnTo>
                <a:lnTo>
                  <a:pt x="1242" y="775"/>
                </a:lnTo>
                <a:lnTo>
                  <a:pt x="1234" y="782"/>
                </a:lnTo>
                <a:lnTo>
                  <a:pt x="1222" y="788"/>
                </a:lnTo>
                <a:lnTo>
                  <a:pt x="1211" y="794"/>
                </a:lnTo>
                <a:lnTo>
                  <a:pt x="1198" y="800"/>
                </a:lnTo>
                <a:lnTo>
                  <a:pt x="1133" y="800"/>
                </a:lnTo>
                <a:lnTo>
                  <a:pt x="1133" y="803"/>
                </a:lnTo>
                <a:lnTo>
                  <a:pt x="1051" y="803"/>
                </a:lnTo>
                <a:lnTo>
                  <a:pt x="1051" y="803"/>
                </a:lnTo>
                <a:lnTo>
                  <a:pt x="1047" y="807"/>
                </a:lnTo>
                <a:lnTo>
                  <a:pt x="1043" y="811"/>
                </a:lnTo>
                <a:lnTo>
                  <a:pt x="1039" y="815"/>
                </a:lnTo>
                <a:lnTo>
                  <a:pt x="1034" y="821"/>
                </a:lnTo>
                <a:lnTo>
                  <a:pt x="1028" y="826"/>
                </a:lnTo>
                <a:lnTo>
                  <a:pt x="1024" y="830"/>
                </a:lnTo>
                <a:lnTo>
                  <a:pt x="1018" y="832"/>
                </a:lnTo>
                <a:lnTo>
                  <a:pt x="1013" y="834"/>
                </a:lnTo>
                <a:lnTo>
                  <a:pt x="1013" y="834"/>
                </a:lnTo>
                <a:lnTo>
                  <a:pt x="1005" y="834"/>
                </a:lnTo>
                <a:lnTo>
                  <a:pt x="997" y="832"/>
                </a:lnTo>
                <a:lnTo>
                  <a:pt x="990" y="830"/>
                </a:lnTo>
                <a:lnTo>
                  <a:pt x="984" y="828"/>
                </a:lnTo>
                <a:lnTo>
                  <a:pt x="978" y="826"/>
                </a:lnTo>
                <a:lnTo>
                  <a:pt x="973" y="824"/>
                </a:lnTo>
                <a:lnTo>
                  <a:pt x="967" y="826"/>
                </a:lnTo>
                <a:lnTo>
                  <a:pt x="963" y="828"/>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8" name="Freeform 48"/>
          <p:cNvSpPr>
            <a:spLocks/>
          </p:cNvSpPr>
          <p:nvPr/>
        </p:nvSpPr>
        <p:spPr bwMode="auto">
          <a:xfrm>
            <a:off x="2765425" y="2304952"/>
            <a:ext cx="741363" cy="1117600"/>
          </a:xfrm>
          <a:custGeom>
            <a:avLst/>
            <a:gdLst>
              <a:gd name="T0" fmla="*/ 145 w 824"/>
              <a:gd name="T1" fmla="*/ 177 h 1282"/>
              <a:gd name="T2" fmla="*/ 173 w 824"/>
              <a:gd name="T3" fmla="*/ 221 h 1282"/>
              <a:gd name="T4" fmla="*/ 186 w 824"/>
              <a:gd name="T5" fmla="*/ 252 h 1282"/>
              <a:gd name="T6" fmla="*/ 173 w 824"/>
              <a:gd name="T7" fmla="*/ 271 h 1282"/>
              <a:gd name="T8" fmla="*/ 129 w 824"/>
              <a:gd name="T9" fmla="*/ 548 h 1282"/>
              <a:gd name="T10" fmla="*/ 72 w 824"/>
              <a:gd name="T11" fmla="*/ 624 h 1282"/>
              <a:gd name="T12" fmla="*/ 21 w 824"/>
              <a:gd name="T13" fmla="*/ 694 h 1282"/>
              <a:gd name="T14" fmla="*/ 0 w 824"/>
              <a:gd name="T15" fmla="*/ 725 h 1282"/>
              <a:gd name="T16" fmla="*/ 7 w 824"/>
              <a:gd name="T17" fmla="*/ 769 h 1282"/>
              <a:gd name="T18" fmla="*/ 36 w 824"/>
              <a:gd name="T19" fmla="*/ 807 h 1282"/>
              <a:gd name="T20" fmla="*/ 70 w 824"/>
              <a:gd name="T21" fmla="*/ 843 h 1282"/>
              <a:gd name="T22" fmla="*/ 106 w 824"/>
              <a:gd name="T23" fmla="*/ 948 h 1282"/>
              <a:gd name="T24" fmla="*/ 124 w 824"/>
              <a:gd name="T25" fmla="*/ 992 h 1282"/>
              <a:gd name="T26" fmla="*/ 137 w 824"/>
              <a:gd name="T27" fmla="*/ 1042 h 1282"/>
              <a:gd name="T28" fmla="*/ 120 w 824"/>
              <a:gd name="T29" fmla="*/ 1063 h 1282"/>
              <a:gd name="T30" fmla="*/ 63 w 824"/>
              <a:gd name="T31" fmla="*/ 1068 h 1282"/>
              <a:gd name="T32" fmla="*/ 42 w 824"/>
              <a:gd name="T33" fmla="*/ 1099 h 1282"/>
              <a:gd name="T34" fmla="*/ 57 w 824"/>
              <a:gd name="T35" fmla="*/ 1139 h 1282"/>
              <a:gd name="T36" fmla="*/ 89 w 824"/>
              <a:gd name="T37" fmla="*/ 1164 h 1282"/>
              <a:gd name="T38" fmla="*/ 120 w 824"/>
              <a:gd name="T39" fmla="*/ 1194 h 1282"/>
              <a:gd name="T40" fmla="*/ 146 w 824"/>
              <a:gd name="T41" fmla="*/ 1240 h 1282"/>
              <a:gd name="T42" fmla="*/ 167 w 824"/>
              <a:gd name="T43" fmla="*/ 1280 h 1282"/>
              <a:gd name="T44" fmla="*/ 204 w 824"/>
              <a:gd name="T45" fmla="*/ 1271 h 1282"/>
              <a:gd name="T46" fmla="*/ 234 w 824"/>
              <a:gd name="T47" fmla="*/ 1259 h 1282"/>
              <a:gd name="T48" fmla="*/ 249 w 824"/>
              <a:gd name="T49" fmla="*/ 1271 h 1282"/>
              <a:gd name="T50" fmla="*/ 274 w 824"/>
              <a:gd name="T51" fmla="*/ 1271 h 1282"/>
              <a:gd name="T52" fmla="*/ 299 w 824"/>
              <a:gd name="T53" fmla="*/ 1253 h 1282"/>
              <a:gd name="T54" fmla="*/ 354 w 824"/>
              <a:gd name="T55" fmla="*/ 1246 h 1282"/>
              <a:gd name="T56" fmla="*/ 406 w 824"/>
              <a:gd name="T57" fmla="*/ 1236 h 1282"/>
              <a:gd name="T58" fmla="*/ 440 w 824"/>
              <a:gd name="T59" fmla="*/ 1200 h 1282"/>
              <a:gd name="T60" fmla="*/ 448 w 824"/>
              <a:gd name="T61" fmla="*/ 1173 h 1282"/>
              <a:gd name="T62" fmla="*/ 459 w 824"/>
              <a:gd name="T63" fmla="*/ 1164 h 1282"/>
              <a:gd name="T64" fmla="*/ 543 w 824"/>
              <a:gd name="T65" fmla="*/ 1143 h 1282"/>
              <a:gd name="T66" fmla="*/ 604 w 824"/>
              <a:gd name="T67" fmla="*/ 1095 h 1282"/>
              <a:gd name="T68" fmla="*/ 652 w 824"/>
              <a:gd name="T69" fmla="*/ 1057 h 1282"/>
              <a:gd name="T70" fmla="*/ 679 w 824"/>
              <a:gd name="T71" fmla="*/ 1017 h 1282"/>
              <a:gd name="T72" fmla="*/ 717 w 824"/>
              <a:gd name="T73" fmla="*/ 1002 h 1282"/>
              <a:gd name="T74" fmla="*/ 751 w 824"/>
              <a:gd name="T75" fmla="*/ 1015 h 1282"/>
              <a:gd name="T76" fmla="*/ 743 w 824"/>
              <a:gd name="T77" fmla="*/ 1002 h 1282"/>
              <a:gd name="T78" fmla="*/ 749 w 824"/>
              <a:gd name="T79" fmla="*/ 986 h 1282"/>
              <a:gd name="T80" fmla="*/ 749 w 824"/>
              <a:gd name="T81" fmla="*/ 965 h 1282"/>
              <a:gd name="T82" fmla="*/ 730 w 824"/>
              <a:gd name="T83" fmla="*/ 948 h 1282"/>
              <a:gd name="T84" fmla="*/ 715 w 824"/>
              <a:gd name="T85" fmla="*/ 901 h 1282"/>
              <a:gd name="T86" fmla="*/ 688 w 824"/>
              <a:gd name="T87" fmla="*/ 860 h 1282"/>
              <a:gd name="T88" fmla="*/ 663 w 824"/>
              <a:gd name="T89" fmla="*/ 853 h 1282"/>
              <a:gd name="T90" fmla="*/ 663 w 824"/>
              <a:gd name="T91" fmla="*/ 832 h 1282"/>
              <a:gd name="T92" fmla="*/ 682 w 824"/>
              <a:gd name="T93" fmla="*/ 813 h 1282"/>
              <a:gd name="T94" fmla="*/ 694 w 824"/>
              <a:gd name="T95" fmla="*/ 803 h 1282"/>
              <a:gd name="T96" fmla="*/ 690 w 824"/>
              <a:gd name="T97" fmla="*/ 780 h 1282"/>
              <a:gd name="T98" fmla="*/ 690 w 824"/>
              <a:gd name="T99" fmla="*/ 763 h 1282"/>
              <a:gd name="T100" fmla="*/ 721 w 824"/>
              <a:gd name="T101" fmla="*/ 736 h 1282"/>
              <a:gd name="T102" fmla="*/ 705 w 824"/>
              <a:gd name="T103" fmla="*/ 717 h 1282"/>
              <a:gd name="T104" fmla="*/ 723 w 824"/>
              <a:gd name="T105" fmla="*/ 700 h 1282"/>
              <a:gd name="T106" fmla="*/ 736 w 824"/>
              <a:gd name="T107" fmla="*/ 677 h 1282"/>
              <a:gd name="T108" fmla="*/ 745 w 824"/>
              <a:gd name="T109" fmla="*/ 641 h 1282"/>
              <a:gd name="T110" fmla="*/ 761 w 824"/>
              <a:gd name="T111" fmla="*/ 624 h 1282"/>
              <a:gd name="T112" fmla="*/ 793 w 824"/>
              <a:gd name="T113" fmla="*/ 620 h 1282"/>
              <a:gd name="T114" fmla="*/ 816 w 824"/>
              <a:gd name="T115" fmla="*/ 307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4" h="1282">
                <a:moveTo>
                  <a:pt x="209" y="0"/>
                </a:moveTo>
                <a:lnTo>
                  <a:pt x="135" y="42"/>
                </a:lnTo>
                <a:lnTo>
                  <a:pt x="135" y="170"/>
                </a:lnTo>
                <a:lnTo>
                  <a:pt x="135" y="170"/>
                </a:lnTo>
                <a:lnTo>
                  <a:pt x="137" y="172"/>
                </a:lnTo>
                <a:lnTo>
                  <a:pt x="141" y="174"/>
                </a:lnTo>
                <a:lnTo>
                  <a:pt x="145" y="177"/>
                </a:lnTo>
                <a:lnTo>
                  <a:pt x="146" y="183"/>
                </a:lnTo>
                <a:lnTo>
                  <a:pt x="150" y="189"/>
                </a:lnTo>
                <a:lnTo>
                  <a:pt x="156" y="195"/>
                </a:lnTo>
                <a:lnTo>
                  <a:pt x="160" y="200"/>
                </a:lnTo>
                <a:lnTo>
                  <a:pt x="164" y="208"/>
                </a:lnTo>
                <a:lnTo>
                  <a:pt x="169" y="214"/>
                </a:lnTo>
                <a:lnTo>
                  <a:pt x="173" y="221"/>
                </a:lnTo>
                <a:lnTo>
                  <a:pt x="177" y="227"/>
                </a:lnTo>
                <a:lnTo>
                  <a:pt x="181" y="235"/>
                </a:lnTo>
                <a:lnTo>
                  <a:pt x="183" y="240"/>
                </a:lnTo>
                <a:lnTo>
                  <a:pt x="185" y="244"/>
                </a:lnTo>
                <a:lnTo>
                  <a:pt x="186" y="248"/>
                </a:lnTo>
                <a:lnTo>
                  <a:pt x="186" y="252"/>
                </a:lnTo>
                <a:lnTo>
                  <a:pt x="186" y="252"/>
                </a:lnTo>
                <a:lnTo>
                  <a:pt x="186" y="256"/>
                </a:lnTo>
                <a:lnTo>
                  <a:pt x="185" y="258"/>
                </a:lnTo>
                <a:lnTo>
                  <a:pt x="183" y="261"/>
                </a:lnTo>
                <a:lnTo>
                  <a:pt x="181" y="263"/>
                </a:lnTo>
                <a:lnTo>
                  <a:pt x="179" y="267"/>
                </a:lnTo>
                <a:lnTo>
                  <a:pt x="175" y="269"/>
                </a:lnTo>
                <a:lnTo>
                  <a:pt x="173" y="271"/>
                </a:lnTo>
                <a:lnTo>
                  <a:pt x="171" y="271"/>
                </a:lnTo>
                <a:lnTo>
                  <a:pt x="171" y="382"/>
                </a:lnTo>
                <a:lnTo>
                  <a:pt x="154" y="519"/>
                </a:lnTo>
                <a:lnTo>
                  <a:pt x="154" y="519"/>
                </a:lnTo>
                <a:lnTo>
                  <a:pt x="145" y="529"/>
                </a:lnTo>
                <a:lnTo>
                  <a:pt x="137" y="538"/>
                </a:lnTo>
                <a:lnTo>
                  <a:pt x="129" y="548"/>
                </a:lnTo>
                <a:lnTo>
                  <a:pt x="120" y="557"/>
                </a:lnTo>
                <a:lnTo>
                  <a:pt x="112" y="569"/>
                </a:lnTo>
                <a:lnTo>
                  <a:pt x="104" y="578"/>
                </a:lnTo>
                <a:lnTo>
                  <a:pt x="95" y="590"/>
                </a:lnTo>
                <a:lnTo>
                  <a:pt x="87" y="601"/>
                </a:lnTo>
                <a:lnTo>
                  <a:pt x="80" y="612"/>
                </a:lnTo>
                <a:lnTo>
                  <a:pt x="72" y="624"/>
                </a:lnTo>
                <a:lnTo>
                  <a:pt x="63" y="635"/>
                </a:lnTo>
                <a:lnTo>
                  <a:pt x="55" y="647"/>
                </a:lnTo>
                <a:lnTo>
                  <a:pt x="47" y="660"/>
                </a:lnTo>
                <a:lnTo>
                  <a:pt x="38" y="672"/>
                </a:lnTo>
                <a:lnTo>
                  <a:pt x="30" y="683"/>
                </a:lnTo>
                <a:lnTo>
                  <a:pt x="21" y="694"/>
                </a:lnTo>
                <a:lnTo>
                  <a:pt x="21" y="694"/>
                </a:lnTo>
                <a:lnTo>
                  <a:pt x="19" y="700"/>
                </a:lnTo>
                <a:lnTo>
                  <a:pt x="15" y="704"/>
                </a:lnTo>
                <a:lnTo>
                  <a:pt x="11" y="708"/>
                </a:lnTo>
                <a:lnTo>
                  <a:pt x="7" y="712"/>
                </a:lnTo>
                <a:lnTo>
                  <a:pt x="3" y="715"/>
                </a:lnTo>
                <a:lnTo>
                  <a:pt x="1" y="719"/>
                </a:lnTo>
                <a:lnTo>
                  <a:pt x="0" y="725"/>
                </a:lnTo>
                <a:lnTo>
                  <a:pt x="0" y="731"/>
                </a:lnTo>
                <a:lnTo>
                  <a:pt x="0" y="731"/>
                </a:lnTo>
                <a:lnTo>
                  <a:pt x="0" y="738"/>
                </a:lnTo>
                <a:lnTo>
                  <a:pt x="1" y="748"/>
                </a:lnTo>
                <a:lnTo>
                  <a:pt x="3" y="756"/>
                </a:lnTo>
                <a:lnTo>
                  <a:pt x="5" y="761"/>
                </a:lnTo>
                <a:lnTo>
                  <a:pt x="7" y="769"/>
                </a:lnTo>
                <a:lnTo>
                  <a:pt x="11" y="775"/>
                </a:lnTo>
                <a:lnTo>
                  <a:pt x="15" y="780"/>
                </a:lnTo>
                <a:lnTo>
                  <a:pt x="19" y="786"/>
                </a:lnTo>
                <a:lnTo>
                  <a:pt x="22" y="792"/>
                </a:lnTo>
                <a:lnTo>
                  <a:pt x="28" y="798"/>
                </a:lnTo>
                <a:lnTo>
                  <a:pt x="32" y="801"/>
                </a:lnTo>
                <a:lnTo>
                  <a:pt x="36" y="807"/>
                </a:lnTo>
                <a:lnTo>
                  <a:pt x="42" y="811"/>
                </a:lnTo>
                <a:lnTo>
                  <a:pt x="45" y="817"/>
                </a:lnTo>
                <a:lnTo>
                  <a:pt x="49" y="822"/>
                </a:lnTo>
                <a:lnTo>
                  <a:pt x="53" y="828"/>
                </a:lnTo>
                <a:lnTo>
                  <a:pt x="53" y="828"/>
                </a:lnTo>
                <a:lnTo>
                  <a:pt x="63" y="836"/>
                </a:lnTo>
                <a:lnTo>
                  <a:pt x="70" y="843"/>
                </a:lnTo>
                <a:lnTo>
                  <a:pt x="76" y="849"/>
                </a:lnTo>
                <a:lnTo>
                  <a:pt x="82" y="859"/>
                </a:lnTo>
                <a:lnTo>
                  <a:pt x="87" y="866"/>
                </a:lnTo>
                <a:lnTo>
                  <a:pt x="93" y="874"/>
                </a:lnTo>
                <a:lnTo>
                  <a:pt x="101" y="883"/>
                </a:lnTo>
                <a:lnTo>
                  <a:pt x="106" y="893"/>
                </a:lnTo>
                <a:lnTo>
                  <a:pt x="106" y="948"/>
                </a:lnTo>
                <a:lnTo>
                  <a:pt x="106" y="948"/>
                </a:lnTo>
                <a:lnTo>
                  <a:pt x="110" y="956"/>
                </a:lnTo>
                <a:lnTo>
                  <a:pt x="114" y="963"/>
                </a:lnTo>
                <a:lnTo>
                  <a:pt x="116" y="971"/>
                </a:lnTo>
                <a:lnTo>
                  <a:pt x="120" y="979"/>
                </a:lnTo>
                <a:lnTo>
                  <a:pt x="122" y="984"/>
                </a:lnTo>
                <a:lnTo>
                  <a:pt x="124" y="992"/>
                </a:lnTo>
                <a:lnTo>
                  <a:pt x="125" y="1000"/>
                </a:lnTo>
                <a:lnTo>
                  <a:pt x="127" y="1007"/>
                </a:lnTo>
                <a:lnTo>
                  <a:pt x="129" y="1013"/>
                </a:lnTo>
                <a:lnTo>
                  <a:pt x="131" y="1021"/>
                </a:lnTo>
                <a:lnTo>
                  <a:pt x="133" y="1028"/>
                </a:lnTo>
                <a:lnTo>
                  <a:pt x="135" y="1034"/>
                </a:lnTo>
                <a:lnTo>
                  <a:pt x="137" y="1042"/>
                </a:lnTo>
                <a:lnTo>
                  <a:pt x="139" y="1049"/>
                </a:lnTo>
                <a:lnTo>
                  <a:pt x="143" y="1055"/>
                </a:lnTo>
                <a:lnTo>
                  <a:pt x="145" y="1063"/>
                </a:lnTo>
                <a:lnTo>
                  <a:pt x="145" y="1063"/>
                </a:lnTo>
                <a:lnTo>
                  <a:pt x="137" y="1063"/>
                </a:lnTo>
                <a:lnTo>
                  <a:pt x="129" y="1063"/>
                </a:lnTo>
                <a:lnTo>
                  <a:pt x="120" y="1063"/>
                </a:lnTo>
                <a:lnTo>
                  <a:pt x="112" y="1063"/>
                </a:lnTo>
                <a:lnTo>
                  <a:pt x="103" y="1063"/>
                </a:lnTo>
                <a:lnTo>
                  <a:pt x="95" y="1065"/>
                </a:lnTo>
                <a:lnTo>
                  <a:pt x="85" y="1065"/>
                </a:lnTo>
                <a:lnTo>
                  <a:pt x="78" y="1065"/>
                </a:lnTo>
                <a:lnTo>
                  <a:pt x="70" y="1066"/>
                </a:lnTo>
                <a:lnTo>
                  <a:pt x="63" y="1068"/>
                </a:lnTo>
                <a:lnTo>
                  <a:pt x="57" y="1070"/>
                </a:lnTo>
                <a:lnTo>
                  <a:pt x="51" y="1074"/>
                </a:lnTo>
                <a:lnTo>
                  <a:pt x="47" y="1078"/>
                </a:lnTo>
                <a:lnTo>
                  <a:pt x="43" y="1084"/>
                </a:lnTo>
                <a:lnTo>
                  <a:pt x="42" y="1091"/>
                </a:lnTo>
                <a:lnTo>
                  <a:pt x="42" y="1099"/>
                </a:lnTo>
                <a:lnTo>
                  <a:pt x="42" y="1099"/>
                </a:lnTo>
                <a:lnTo>
                  <a:pt x="42" y="1107"/>
                </a:lnTo>
                <a:lnTo>
                  <a:pt x="43" y="1114"/>
                </a:lnTo>
                <a:lnTo>
                  <a:pt x="45" y="1120"/>
                </a:lnTo>
                <a:lnTo>
                  <a:pt x="47" y="1126"/>
                </a:lnTo>
                <a:lnTo>
                  <a:pt x="51" y="1131"/>
                </a:lnTo>
                <a:lnTo>
                  <a:pt x="53" y="1135"/>
                </a:lnTo>
                <a:lnTo>
                  <a:pt x="57" y="1139"/>
                </a:lnTo>
                <a:lnTo>
                  <a:pt x="63" y="1143"/>
                </a:lnTo>
                <a:lnTo>
                  <a:pt x="66" y="1147"/>
                </a:lnTo>
                <a:lnTo>
                  <a:pt x="72" y="1150"/>
                </a:lnTo>
                <a:lnTo>
                  <a:pt x="76" y="1154"/>
                </a:lnTo>
                <a:lnTo>
                  <a:pt x="80" y="1156"/>
                </a:lnTo>
                <a:lnTo>
                  <a:pt x="85" y="1160"/>
                </a:lnTo>
                <a:lnTo>
                  <a:pt x="89" y="1164"/>
                </a:lnTo>
                <a:lnTo>
                  <a:pt x="95" y="1166"/>
                </a:lnTo>
                <a:lnTo>
                  <a:pt x="97" y="1170"/>
                </a:lnTo>
                <a:lnTo>
                  <a:pt x="97" y="1170"/>
                </a:lnTo>
                <a:lnTo>
                  <a:pt x="103" y="1175"/>
                </a:lnTo>
                <a:lnTo>
                  <a:pt x="108" y="1183"/>
                </a:lnTo>
                <a:lnTo>
                  <a:pt x="114" y="1189"/>
                </a:lnTo>
                <a:lnTo>
                  <a:pt x="120" y="1194"/>
                </a:lnTo>
                <a:lnTo>
                  <a:pt x="124" y="1200"/>
                </a:lnTo>
                <a:lnTo>
                  <a:pt x="127" y="1206"/>
                </a:lnTo>
                <a:lnTo>
                  <a:pt x="133" y="1213"/>
                </a:lnTo>
                <a:lnTo>
                  <a:pt x="137" y="1219"/>
                </a:lnTo>
                <a:lnTo>
                  <a:pt x="141" y="1227"/>
                </a:lnTo>
                <a:lnTo>
                  <a:pt x="145" y="1232"/>
                </a:lnTo>
                <a:lnTo>
                  <a:pt x="146" y="1240"/>
                </a:lnTo>
                <a:lnTo>
                  <a:pt x="150" y="1248"/>
                </a:lnTo>
                <a:lnTo>
                  <a:pt x="154" y="1255"/>
                </a:lnTo>
                <a:lnTo>
                  <a:pt x="156" y="1265"/>
                </a:lnTo>
                <a:lnTo>
                  <a:pt x="160" y="1273"/>
                </a:lnTo>
                <a:lnTo>
                  <a:pt x="162" y="1282"/>
                </a:lnTo>
                <a:lnTo>
                  <a:pt x="162" y="1282"/>
                </a:lnTo>
                <a:lnTo>
                  <a:pt x="167" y="1280"/>
                </a:lnTo>
                <a:lnTo>
                  <a:pt x="173" y="1278"/>
                </a:lnTo>
                <a:lnTo>
                  <a:pt x="177" y="1276"/>
                </a:lnTo>
                <a:lnTo>
                  <a:pt x="183" y="1274"/>
                </a:lnTo>
                <a:lnTo>
                  <a:pt x="188" y="1274"/>
                </a:lnTo>
                <a:lnTo>
                  <a:pt x="192" y="1273"/>
                </a:lnTo>
                <a:lnTo>
                  <a:pt x="198" y="1273"/>
                </a:lnTo>
                <a:lnTo>
                  <a:pt x="204" y="1271"/>
                </a:lnTo>
                <a:lnTo>
                  <a:pt x="207" y="1271"/>
                </a:lnTo>
                <a:lnTo>
                  <a:pt x="213" y="1269"/>
                </a:lnTo>
                <a:lnTo>
                  <a:pt x="217" y="1269"/>
                </a:lnTo>
                <a:lnTo>
                  <a:pt x="221" y="1267"/>
                </a:lnTo>
                <a:lnTo>
                  <a:pt x="227" y="1265"/>
                </a:lnTo>
                <a:lnTo>
                  <a:pt x="230" y="1263"/>
                </a:lnTo>
                <a:lnTo>
                  <a:pt x="234" y="1259"/>
                </a:lnTo>
                <a:lnTo>
                  <a:pt x="238" y="1255"/>
                </a:lnTo>
                <a:lnTo>
                  <a:pt x="238" y="1255"/>
                </a:lnTo>
                <a:lnTo>
                  <a:pt x="240" y="1259"/>
                </a:lnTo>
                <a:lnTo>
                  <a:pt x="244" y="1261"/>
                </a:lnTo>
                <a:lnTo>
                  <a:pt x="246" y="1265"/>
                </a:lnTo>
                <a:lnTo>
                  <a:pt x="248" y="1267"/>
                </a:lnTo>
                <a:lnTo>
                  <a:pt x="249" y="1271"/>
                </a:lnTo>
                <a:lnTo>
                  <a:pt x="253" y="1273"/>
                </a:lnTo>
                <a:lnTo>
                  <a:pt x="255" y="1273"/>
                </a:lnTo>
                <a:lnTo>
                  <a:pt x="259" y="1274"/>
                </a:lnTo>
                <a:lnTo>
                  <a:pt x="259" y="1274"/>
                </a:lnTo>
                <a:lnTo>
                  <a:pt x="265" y="1273"/>
                </a:lnTo>
                <a:lnTo>
                  <a:pt x="270" y="1273"/>
                </a:lnTo>
                <a:lnTo>
                  <a:pt x="274" y="1271"/>
                </a:lnTo>
                <a:lnTo>
                  <a:pt x="278" y="1267"/>
                </a:lnTo>
                <a:lnTo>
                  <a:pt x="280" y="1265"/>
                </a:lnTo>
                <a:lnTo>
                  <a:pt x="284" y="1261"/>
                </a:lnTo>
                <a:lnTo>
                  <a:pt x="288" y="1257"/>
                </a:lnTo>
                <a:lnTo>
                  <a:pt x="293" y="1255"/>
                </a:lnTo>
                <a:lnTo>
                  <a:pt x="293" y="1255"/>
                </a:lnTo>
                <a:lnTo>
                  <a:pt x="299" y="1253"/>
                </a:lnTo>
                <a:lnTo>
                  <a:pt x="309" y="1252"/>
                </a:lnTo>
                <a:lnTo>
                  <a:pt x="316" y="1252"/>
                </a:lnTo>
                <a:lnTo>
                  <a:pt x="324" y="1250"/>
                </a:lnTo>
                <a:lnTo>
                  <a:pt x="331" y="1248"/>
                </a:lnTo>
                <a:lnTo>
                  <a:pt x="339" y="1248"/>
                </a:lnTo>
                <a:lnTo>
                  <a:pt x="347" y="1248"/>
                </a:lnTo>
                <a:lnTo>
                  <a:pt x="354" y="1246"/>
                </a:lnTo>
                <a:lnTo>
                  <a:pt x="364" y="1246"/>
                </a:lnTo>
                <a:lnTo>
                  <a:pt x="372" y="1246"/>
                </a:lnTo>
                <a:lnTo>
                  <a:pt x="379" y="1244"/>
                </a:lnTo>
                <a:lnTo>
                  <a:pt x="385" y="1242"/>
                </a:lnTo>
                <a:lnTo>
                  <a:pt x="393" y="1240"/>
                </a:lnTo>
                <a:lnTo>
                  <a:pt x="400" y="1238"/>
                </a:lnTo>
                <a:lnTo>
                  <a:pt x="406" y="1236"/>
                </a:lnTo>
                <a:lnTo>
                  <a:pt x="413" y="1232"/>
                </a:lnTo>
                <a:lnTo>
                  <a:pt x="413" y="1232"/>
                </a:lnTo>
                <a:lnTo>
                  <a:pt x="421" y="1227"/>
                </a:lnTo>
                <a:lnTo>
                  <a:pt x="427" y="1221"/>
                </a:lnTo>
                <a:lnTo>
                  <a:pt x="433" y="1213"/>
                </a:lnTo>
                <a:lnTo>
                  <a:pt x="436" y="1208"/>
                </a:lnTo>
                <a:lnTo>
                  <a:pt x="440" y="1200"/>
                </a:lnTo>
                <a:lnTo>
                  <a:pt x="444" y="1192"/>
                </a:lnTo>
                <a:lnTo>
                  <a:pt x="448" y="1187"/>
                </a:lnTo>
                <a:lnTo>
                  <a:pt x="454" y="1179"/>
                </a:lnTo>
                <a:lnTo>
                  <a:pt x="454" y="1179"/>
                </a:lnTo>
                <a:lnTo>
                  <a:pt x="452" y="1177"/>
                </a:lnTo>
                <a:lnTo>
                  <a:pt x="450" y="1175"/>
                </a:lnTo>
                <a:lnTo>
                  <a:pt x="448" y="1173"/>
                </a:lnTo>
                <a:lnTo>
                  <a:pt x="448" y="1171"/>
                </a:lnTo>
                <a:lnTo>
                  <a:pt x="446" y="1170"/>
                </a:lnTo>
                <a:lnTo>
                  <a:pt x="444" y="1168"/>
                </a:lnTo>
                <a:lnTo>
                  <a:pt x="444" y="1166"/>
                </a:lnTo>
                <a:lnTo>
                  <a:pt x="442" y="1164"/>
                </a:lnTo>
                <a:lnTo>
                  <a:pt x="442" y="1164"/>
                </a:lnTo>
                <a:lnTo>
                  <a:pt x="459" y="1164"/>
                </a:lnTo>
                <a:lnTo>
                  <a:pt x="473" y="1162"/>
                </a:lnTo>
                <a:lnTo>
                  <a:pt x="488" y="1162"/>
                </a:lnTo>
                <a:lnTo>
                  <a:pt x="501" y="1158"/>
                </a:lnTo>
                <a:lnTo>
                  <a:pt x="513" y="1156"/>
                </a:lnTo>
                <a:lnTo>
                  <a:pt x="524" y="1152"/>
                </a:lnTo>
                <a:lnTo>
                  <a:pt x="534" y="1149"/>
                </a:lnTo>
                <a:lnTo>
                  <a:pt x="543" y="1143"/>
                </a:lnTo>
                <a:lnTo>
                  <a:pt x="553" y="1139"/>
                </a:lnTo>
                <a:lnTo>
                  <a:pt x="562" y="1133"/>
                </a:lnTo>
                <a:lnTo>
                  <a:pt x="570" y="1128"/>
                </a:lnTo>
                <a:lnTo>
                  <a:pt x="579" y="1120"/>
                </a:lnTo>
                <a:lnTo>
                  <a:pt x="587" y="1112"/>
                </a:lnTo>
                <a:lnTo>
                  <a:pt x="597" y="1105"/>
                </a:lnTo>
                <a:lnTo>
                  <a:pt x="604" y="1095"/>
                </a:lnTo>
                <a:lnTo>
                  <a:pt x="614" y="1087"/>
                </a:lnTo>
                <a:lnTo>
                  <a:pt x="614" y="1087"/>
                </a:lnTo>
                <a:lnTo>
                  <a:pt x="621" y="1082"/>
                </a:lnTo>
                <a:lnTo>
                  <a:pt x="629" y="1076"/>
                </a:lnTo>
                <a:lnTo>
                  <a:pt x="637" y="1070"/>
                </a:lnTo>
                <a:lnTo>
                  <a:pt x="644" y="1063"/>
                </a:lnTo>
                <a:lnTo>
                  <a:pt x="652" y="1057"/>
                </a:lnTo>
                <a:lnTo>
                  <a:pt x="656" y="1047"/>
                </a:lnTo>
                <a:lnTo>
                  <a:pt x="660" y="1038"/>
                </a:lnTo>
                <a:lnTo>
                  <a:pt x="658" y="1026"/>
                </a:lnTo>
                <a:lnTo>
                  <a:pt x="658" y="1026"/>
                </a:lnTo>
                <a:lnTo>
                  <a:pt x="665" y="1025"/>
                </a:lnTo>
                <a:lnTo>
                  <a:pt x="673" y="1021"/>
                </a:lnTo>
                <a:lnTo>
                  <a:pt x="679" y="1017"/>
                </a:lnTo>
                <a:lnTo>
                  <a:pt x="684" y="1013"/>
                </a:lnTo>
                <a:lnTo>
                  <a:pt x="690" y="1009"/>
                </a:lnTo>
                <a:lnTo>
                  <a:pt x="698" y="1005"/>
                </a:lnTo>
                <a:lnTo>
                  <a:pt x="703" y="1004"/>
                </a:lnTo>
                <a:lnTo>
                  <a:pt x="711" y="1002"/>
                </a:lnTo>
                <a:lnTo>
                  <a:pt x="711" y="1002"/>
                </a:lnTo>
                <a:lnTo>
                  <a:pt x="717" y="1002"/>
                </a:lnTo>
                <a:lnTo>
                  <a:pt x="723" y="1004"/>
                </a:lnTo>
                <a:lnTo>
                  <a:pt x="728" y="1005"/>
                </a:lnTo>
                <a:lnTo>
                  <a:pt x="734" y="1007"/>
                </a:lnTo>
                <a:lnTo>
                  <a:pt x="740" y="1011"/>
                </a:lnTo>
                <a:lnTo>
                  <a:pt x="743" y="1013"/>
                </a:lnTo>
                <a:lnTo>
                  <a:pt x="747" y="1015"/>
                </a:lnTo>
                <a:lnTo>
                  <a:pt x="751" y="1015"/>
                </a:lnTo>
                <a:lnTo>
                  <a:pt x="751" y="1015"/>
                </a:lnTo>
                <a:lnTo>
                  <a:pt x="749" y="1013"/>
                </a:lnTo>
                <a:lnTo>
                  <a:pt x="749" y="1011"/>
                </a:lnTo>
                <a:lnTo>
                  <a:pt x="747" y="1009"/>
                </a:lnTo>
                <a:lnTo>
                  <a:pt x="745" y="1005"/>
                </a:lnTo>
                <a:lnTo>
                  <a:pt x="745" y="1004"/>
                </a:lnTo>
                <a:lnTo>
                  <a:pt x="743" y="1002"/>
                </a:lnTo>
                <a:lnTo>
                  <a:pt x="743" y="998"/>
                </a:lnTo>
                <a:lnTo>
                  <a:pt x="743" y="996"/>
                </a:lnTo>
                <a:lnTo>
                  <a:pt x="743" y="996"/>
                </a:lnTo>
                <a:lnTo>
                  <a:pt x="743" y="994"/>
                </a:lnTo>
                <a:lnTo>
                  <a:pt x="745" y="992"/>
                </a:lnTo>
                <a:lnTo>
                  <a:pt x="747" y="990"/>
                </a:lnTo>
                <a:lnTo>
                  <a:pt x="749" y="986"/>
                </a:lnTo>
                <a:lnTo>
                  <a:pt x="749" y="986"/>
                </a:lnTo>
                <a:lnTo>
                  <a:pt x="751" y="983"/>
                </a:lnTo>
                <a:lnTo>
                  <a:pt x="753" y="981"/>
                </a:lnTo>
                <a:lnTo>
                  <a:pt x="753" y="979"/>
                </a:lnTo>
                <a:lnTo>
                  <a:pt x="753" y="979"/>
                </a:lnTo>
                <a:lnTo>
                  <a:pt x="753" y="971"/>
                </a:lnTo>
                <a:lnTo>
                  <a:pt x="749" y="965"/>
                </a:lnTo>
                <a:lnTo>
                  <a:pt x="747" y="962"/>
                </a:lnTo>
                <a:lnTo>
                  <a:pt x="743" y="960"/>
                </a:lnTo>
                <a:lnTo>
                  <a:pt x="740" y="956"/>
                </a:lnTo>
                <a:lnTo>
                  <a:pt x="736" y="954"/>
                </a:lnTo>
                <a:lnTo>
                  <a:pt x="732" y="952"/>
                </a:lnTo>
                <a:lnTo>
                  <a:pt x="730" y="948"/>
                </a:lnTo>
                <a:lnTo>
                  <a:pt x="730" y="948"/>
                </a:lnTo>
                <a:lnTo>
                  <a:pt x="726" y="944"/>
                </a:lnTo>
                <a:lnTo>
                  <a:pt x="724" y="937"/>
                </a:lnTo>
                <a:lnTo>
                  <a:pt x="723" y="931"/>
                </a:lnTo>
                <a:lnTo>
                  <a:pt x="721" y="923"/>
                </a:lnTo>
                <a:lnTo>
                  <a:pt x="719" y="916"/>
                </a:lnTo>
                <a:lnTo>
                  <a:pt x="717" y="908"/>
                </a:lnTo>
                <a:lnTo>
                  <a:pt x="715" y="901"/>
                </a:lnTo>
                <a:lnTo>
                  <a:pt x="713" y="893"/>
                </a:lnTo>
                <a:lnTo>
                  <a:pt x="711" y="887"/>
                </a:lnTo>
                <a:lnTo>
                  <a:pt x="709" y="880"/>
                </a:lnTo>
                <a:lnTo>
                  <a:pt x="705" y="874"/>
                </a:lnTo>
                <a:lnTo>
                  <a:pt x="700" y="868"/>
                </a:lnTo>
                <a:lnTo>
                  <a:pt x="696" y="862"/>
                </a:lnTo>
                <a:lnTo>
                  <a:pt x="688" y="860"/>
                </a:lnTo>
                <a:lnTo>
                  <a:pt x="681" y="859"/>
                </a:lnTo>
                <a:lnTo>
                  <a:pt x="673" y="857"/>
                </a:lnTo>
                <a:lnTo>
                  <a:pt x="673" y="857"/>
                </a:lnTo>
                <a:lnTo>
                  <a:pt x="669" y="857"/>
                </a:lnTo>
                <a:lnTo>
                  <a:pt x="667" y="857"/>
                </a:lnTo>
                <a:lnTo>
                  <a:pt x="665" y="855"/>
                </a:lnTo>
                <a:lnTo>
                  <a:pt x="663" y="853"/>
                </a:lnTo>
                <a:lnTo>
                  <a:pt x="661" y="851"/>
                </a:lnTo>
                <a:lnTo>
                  <a:pt x="661" y="849"/>
                </a:lnTo>
                <a:lnTo>
                  <a:pt x="661" y="845"/>
                </a:lnTo>
                <a:lnTo>
                  <a:pt x="661" y="843"/>
                </a:lnTo>
                <a:lnTo>
                  <a:pt x="661" y="843"/>
                </a:lnTo>
                <a:lnTo>
                  <a:pt x="661" y="838"/>
                </a:lnTo>
                <a:lnTo>
                  <a:pt x="663" y="832"/>
                </a:lnTo>
                <a:lnTo>
                  <a:pt x="667" y="828"/>
                </a:lnTo>
                <a:lnTo>
                  <a:pt x="669" y="824"/>
                </a:lnTo>
                <a:lnTo>
                  <a:pt x="673" y="820"/>
                </a:lnTo>
                <a:lnTo>
                  <a:pt x="679" y="817"/>
                </a:lnTo>
                <a:lnTo>
                  <a:pt x="681" y="815"/>
                </a:lnTo>
                <a:lnTo>
                  <a:pt x="684" y="813"/>
                </a:lnTo>
                <a:lnTo>
                  <a:pt x="682" y="813"/>
                </a:lnTo>
                <a:lnTo>
                  <a:pt x="682" y="813"/>
                </a:lnTo>
                <a:lnTo>
                  <a:pt x="684" y="813"/>
                </a:lnTo>
                <a:lnTo>
                  <a:pt x="688" y="811"/>
                </a:lnTo>
                <a:lnTo>
                  <a:pt x="688" y="809"/>
                </a:lnTo>
                <a:lnTo>
                  <a:pt x="690" y="807"/>
                </a:lnTo>
                <a:lnTo>
                  <a:pt x="692" y="805"/>
                </a:lnTo>
                <a:lnTo>
                  <a:pt x="694" y="803"/>
                </a:lnTo>
                <a:lnTo>
                  <a:pt x="694" y="799"/>
                </a:lnTo>
                <a:lnTo>
                  <a:pt x="694" y="798"/>
                </a:lnTo>
                <a:lnTo>
                  <a:pt x="694" y="798"/>
                </a:lnTo>
                <a:lnTo>
                  <a:pt x="694" y="794"/>
                </a:lnTo>
                <a:lnTo>
                  <a:pt x="692" y="790"/>
                </a:lnTo>
                <a:lnTo>
                  <a:pt x="690" y="784"/>
                </a:lnTo>
                <a:lnTo>
                  <a:pt x="690" y="780"/>
                </a:lnTo>
                <a:lnTo>
                  <a:pt x="688" y="778"/>
                </a:lnTo>
                <a:lnTo>
                  <a:pt x="686" y="775"/>
                </a:lnTo>
                <a:lnTo>
                  <a:pt x="684" y="771"/>
                </a:lnTo>
                <a:lnTo>
                  <a:pt x="682" y="769"/>
                </a:lnTo>
                <a:lnTo>
                  <a:pt x="682" y="769"/>
                </a:lnTo>
                <a:lnTo>
                  <a:pt x="686" y="765"/>
                </a:lnTo>
                <a:lnTo>
                  <a:pt x="690" y="763"/>
                </a:lnTo>
                <a:lnTo>
                  <a:pt x="698" y="759"/>
                </a:lnTo>
                <a:lnTo>
                  <a:pt x="703" y="756"/>
                </a:lnTo>
                <a:lnTo>
                  <a:pt x="709" y="750"/>
                </a:lnTo>
                <a:lnTo>
                  <a:pt x="715" y="746"/>
                </a:lnTo>
                <a:lnTo>
                  <a:pt x="719" y="740"/>
                </a:lnTo>
                <a:lnTo>
                  <a:pt x="721" y="736"/>
                </a:lnTo>
                <a:lnTo>
                  <a:pt x="721" y="736"/>
                </a:lnTo>
                <a:lnTo>
                  <a:pt x="719" y="735"/>
                </a:lnTo>
                <a:lnTo>
                  <a:pt x="719" y="731"/>
                </a:lnTo>
                <a:lnTo>
                  <a:pt x="715" y="729"/>
                </a:lnTo>
                <a:lnTo>
                  <a:pt x="713" y="727"/>
                </a:lnTo>
                <a:lnTo>
                  <a:pt x="711" y="723"/>
                </a:lnTo>
                <a:lnTo>
                  <a:pt x="707" y="721"/>
                </a:lnTo>
                <a:lnTo>
                  <a:pt x="705" y="717"/>
                </a:lnTo>
                <a:lnTo>
                  <a:pt x="705" y="714"/>
                </a:lnTo>
                <a:lnTo>
                  <a:pt x="705" y="714"/>
                </a:lnTo>
                <a:lnTo>
                  <a:pt x="705" y="710"/>
                </a:lnTo>
                <a:lnTo>
                  <a:pt x="705" y="708"/>
                </a:lnTo>
                <a:lnTo>
                  <a:pt x="705" y="706"/>
                </a:lnTo>
                <a:lnTo>
                  <a:pt x="705" y="704"/>
                </a:lnTo>
                <a:lnTo>
                  <a:pt x="723" y="700"/>
                </a:lnTo>
                <a:lnTo>
                  <a:pt x="723" y="700"/>
                </a:lnTo>
                <a:lnTo>
                  <a:pt x="726" y="698"/>
                </a:lnTo>
                <a:lnTo>
                  <a:pt x="728" y="694"/>
                </a:lnTo>
                <a:lnTo>
                  <a:pt x="730" y="691"/>
                </a:lnTo>
                <a:lnTo>
                  <a:pt x="732" y="687"/>
                </a:lnTo>
                <a:lnTo>
                  <a:pt x="734" y="683"/>
                </a:lnTo>
                <a:lnTo>
                  <a:pt x="736" y="677"/>
                </a:lnTo>
                <a:lnTo>
                  <a:pt x="738" y="674"/>
                </a:lnTo>
                <a:lnTo>
                  <a:pt x="740" y="668"/>
                </a:lnTo>
                <a:lnTo>
                  <a:pt x="742" y="662"/>
                </a:lnTo>
                <a:lnTo>
                  <a:pt x="743" y="656"/>
                </a:lnTo>
                <a:lnTo>
                  <a:pt x="743" y="653"/>
                </a:lnTo>
                <a:lnTo>
                  <a:pt x="745" y="647"/>
                </a:lnTo>
                <a:lnTo>
                  <a:pt x="745" y="641"/>
                </a:lnTo>
                <a:lnTo>
                  <a:pt x="747" y="635"/>
                </a:lnTo>
                <a:lnTo>
                  <a:pt x="747" y="632"/>
                </a:lnTo>
                <a:lnTo>
                  <a:pt x="747" y="626"/>
                </a:lnTo>
                <a:lnTo>
                  <a:pt x="747" y="626"/>
                </a:lnTo>
                <a:lnTo>
                  <a:pt x="751" y="626"/>
                </a:lnTo>
                <a:lnTo>
                  <a:pt x="757" y="624"/>
                </a:lnTo>
                <a:lnTo>
                  <a:pt x="761" y="624"/>
                </a:lnTo>
                <a:lnTo>
                  <a:pt x="764" y="622"/>
                </a:lnTo>
                <a:lnTo>
                  <a:pt x="770" y="622"/>
                </a:lnTo>
                <a:lnTo>
                  <a:pt x="774" y="622"/>
                </a:lnTo>
                <a:lnTo>
                  <a:pt x="778" y="620"/>
                </a:lnTo>
                <a:lnTo>
                  <a:pt x="784" y="620"/>
                </a:lnTo>
                <a:lnTo>
                  <a:pt x="787" y="620"/>
                </a:lnTo>
                <a:lnTo>
                  <a:pt x="793" y="620"/>
                </a:lnTo>
                <a:lnTo>
                  <a:pt x="797" y="618"/>
                </a:lnTo>
                <a:lnTo>
                  <a:pt x="803" y="618"/>
                </a:lnTo>
                <a:lnTo>
                  <a:pt x="806" y="618"/>
                </a:lnTo>
                <a:lnTo>
                  <a:pt x="812" y="618"/>
                </a:lnTo>
                <a:lnTo>
                  <a:pt x="818" y="618"/>
                </a:lnTo>
                <a:lnTo>
                  <a:pt x="824" y="618"/>
                </a:lnTo>
                <a:lnTo>
                  <a:pt x="816" y="307"/>
                </a:lnTo>
                <a:lnTo>
                  <a:pt x="209" y="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49" name="Freeform 49"/>
          <p:cNvSpPr>
            <a:spLocks/>
          </p:cNvSpPr>
          <p:nvPr/>
        </p:nvSpPr>
        <p:spPr bwMode="auto">
          <a:xfrm>
            <a:off x="1844675" y="2306539"/>
            <a:ext cx="1089025" cy="798513"/>
          </a:xfrm>
          <a:custGeom>
            <a:avLst/>
            <a:gdLst>
              <a:gd name="T0" fmla="*/ 225 w 1211"/>
              <a:gd name="T1" fmla="*/ 883 h 916"/>
              <a:gd name="T2" fmla="*/ 183 w 1211"/>
              <a:gd name="T3" fmla="*/ 862 h 916"/>
              <a:gd name="T4" fmla="*/ 151 w 1211"/>
              <a:gd name="T5" fmla="*/ 887 h 916"/>
              <a:gd name="T6" fmla="*/ 134 w 1211"/>
              <a:gd name="T7" fmla="*/ 864 h 916"/>
              <a:gd name="T8" fmla="*/ 141 w 1211"/>
              <a:gd name="T9" fmla="*/ 862 h 916"/>
              <a:gd name="T10" fmla="*/ 149 w 1211"/>
              <a:gd name="T11" fmla="*/ 845 h 916"/>
              <a:gd name="T12" fmla="*/ 126 w 1211"/>
              <a:gd name="T13" fmla="*/ 834 h 916"/>
              <a:gd name="T14" fmla="*/ 107 w 1211"/>
              <a:gd name="T15" fmla="*/ 841 h 916"/>
              <a:gd name="T16" fmla="*/ 65 w 1211"/>
              <a:gd name="T17" fmla="*/ 814 h 916"/>
              <a:gd name="T18" fmla="*/ 67 w 1211"/>
              <a:gd name="T19" fmla="*/ 797 h 916"/>
              <a:gd name="T20" fmla="*/ 69 w 1211"/>
              <a:gd name="T21" fmla="*/ 778 h 916"/>
              <a:gd name="T22" fmla="*/ 19 w 1211"/>
              <a:gd name="T23" fmla="*/ 727 h 916"/>
              <a:gd name="T24" fmla="*/ 4 w 1211"/>
              <a:gd name="T25" fmla="*/ 656 h 916"/>
              <a:gd name="T26" fmla="*/ 38 w 1211"/>
              <a:gd name="T27" fmla="*/ 660 h 916"/>
              <a:gd name="T28" fmla="*/ 75 w 1211"/>
              <a:gd name="T29" fmla="*/ 649 h 916"/>
              <a:gd name="T30" fmla="*/ 239 w 1211"/>
              <a:gd name="T31" fmla="*/ 628 h 916"/>
              <a:gd name="T32" fmla="*/ 300 w 1211"/>
              <a:gd name="T33" fmla="*/ 586 h 916"/>
              <a:gd name="T34" fmla="*/ 326 w 1211"/>
              <a:gd name="T35" fmla="*/ 505 h 916"/>
              <a:gd name="T36" fmla="*/ 326 w 1211"/>
              <a:gd name="T37" fmla="*/ 431 h 916"/>
              <a:gd name="T38" fmla="*/ 323 w 1211"/>
              <a:gd name="T39" fmla="*/ 378 h 916"/>
              <a:gd name="T40" fmla="*/ 456 w 1211"/>
              <a:gd name="T41" fmla="*/ 309 h 916"/>
              <a:gd name="T42" fmla="*/ 969 w 1211"/>
              <a:gd name="T43" fmla="*/ 2 h 916"/>
              <a:gd name="T44" fmla="*/ 1013 w 1211"/>
              <a:gd name="T45" fmla="*/ 15 h 916"/>
              <a:gd name="T46" fmla="*/ 1053 w 1211"/>
              <a:gd name="T47" fmla="*/ 32 h 916"/>
              <a:gd name="T48" fmla="*/ 1095 w 1211"/>
              <a:gd name="T49" fmla="*/ 65 h 916"/>
              <a:gd name="T50" fmla="*/ 1149 w 1211"/>
              <a:gd name="T51" fmla="*/ 46 h 916"/>
              <a:gd name="T52" fmla="*/ 1170 w 1211"/>
              <a:gd name="T53" fmla="*/ 173 h 916"/>
              <a:gd name="T54" fmla="*/ 1198 w 1211"/>
              <a:gd name="T55" fmla="*/ 217 h 916"/>
              <a:gd name="T56" fmla="*/ 1211 w 1211"/>
              <a:gd name="T57" fmla="*/ 248 h 916"/>
              <a:gd name="T58" fmla="*/ 1198 w 1211"/>
              <a:gd name="T59" fmla="*/ 267 h 916"/>
              <a:gd name="T60" fmla="*/ 1154 w 1211"/>
              <a:gd name="T61" fmla="*/ 544 h 916"/>
              <a:gd name="T62" fmla="*/ 1097 w 1211"/>
              <a:gd name="T63" fmla="*/ 620 h 916"/>
              <a:gd name="T64" fmla="*/ 1046 w 1211"/>
              <a:gd name="T65" fmla="*/ 690 h 916"/>
              <a:gd name="T66" fmla="*/ 1025 w 1211"/>
              <a:gd name="T67" fmla="*/ 721 h 916"/>
              <a:gd name="T68" fmla="*/ 1032 w 1211"/>
              <a:gd name="T69" fmla="*/ 757 h 916"/>
              <a:gd name="T70" fmla="*/ 1015 w 1211"/>
              <a:gd name="T71" fmla="*/ 780 h 916"/>
              <a:gd name="T72" fmla="*/ 965 w 1211"/>
              <a:gd name="T73" fmla="*/ 811 h 916"/>
              <a:gd name="T74" fmla="*/ 931 w 1211"/>
              <a:gd name="T75" fmla="*/ 828 h 916"/>
              <a:gd name="T76" fmla="*/ 889 w 1211"/>
              <a:gd name="T77" fmla="*/ 813 h 916"/>
              <a:gd name="T78" fmla="*/ 847 w 1211"/>
              <a:gd name="T79" fmla="*/ 795 h 916"/>
              <a:gd name="T80" fmla="*/ 792 w 1211"/>
              <a:gd name="T81" fmla="*/ 801 h 916"/>
              <a:gd name="T82" fmla="*/ 742 w 1211"/>
              <a:gd name="T83" fmla="*/ 828 h 916"/>
              <a:gd name="T84" fmla="*/ 691 w 1211"/>
              <a:gd name="T85" fmla="*/ 837 h 916"/>
              <a:gd name="T86" fmla="*/ 643 w 1211"/>
              <a:gd name="T87" fmla="*/ 818 h 916"/>
              <a:gd name="T88" fmla="*/ 599 w 1211"/>
              <a:gd name="T89" fmla="*/ 797 h 916"/>
              <a:gd name="T90" fmla="*/ 569 w 1211"/>
              <a:gd name="T91" fmla="*/ 803 h 916"/>
              <a:gd name="T92" fmla="*/ 540 w 1211"/>
              <a:gd name="T93" fmla="*/ 816 h 916"/>
              <a:gd name="T94" fmla="*/ 510 w 1211"/>
              <a:gd name="T95" fmla="*/ 816 h 916"/>
              <a:gd name="T96" fmla="*/ 485 w 1211"/>
              <a:gd name="T97" fmla="*/ 782 h 916"/>
              <a:gd name="T98" fmla="*/ 454 w 1211"/>
              <a:gd name="T99" fmla="*/ 765 h 916"/>
              <a:gd name="T100" fmla="*/ 408 w 1211"/>
              <a:gd name="T101" fmla="*/ 753 h 916"/>
              <a:gd name="T102" fmla="*/ 365 w 1211"/>
              <a:gd name="T103" fmla="*/ 753 h 916"/>
              <a:gd name="T104" fmla="*/ 313 w 1211"/>
              <a:gd name="T105" fmla="*/ 769 h 916"/>
              <a:gd name="T106" fmla="*/ 294 w 1211"/>
              <a:gd name="T107" fmla="*/ 805 h 916"/>
              <a:gd name="T108" fmla="*/ 267 w 1211"/>
              <a:gd name="T109" fmla="*/ 843 h 916"/>
              <a:gd name="T110" fmla="*/ 248 w 1211"/>
              <a:gd name="T111" fmla="*/ 898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1" h="916">
                <a:moveTo>
                  <a:pt x="252" y="908"/>
                </a:moveTo>
                <a:lnTo>
                  <a:pt x="256" y="916"/>
                </a:lnTo>
                <a:lnTo>
                  <a:pt x="256" y="916"/>
                </a:lnTo>
                <a:lnTo>
                  <a:pt x="248" y="910"/>
                </a:lnTo>
                <a:lnTo>
                  <a:pt x="242" y="902"/>
                </a:lnTo>
                <a:lnTo>
                  <a:pt x="233" y="895"/>
                </a:lnTo>
                <a:lnTo>
                  <a:pt x="225" y="883"/>
                </a:lnTo>
                <a:lnTo>
                  <a:pt x="216" y="874"/>
                </a:lnTo>
                <a:lnTo>
                  <a:pt x="208" y="866"/>
                </a:lnTo>
                <a:lnTo>
                  <a:pt x="199" y="860"/>
                </a:lnTo>
                <a:lnTo>
                  <a:pt x="193" y="858"/>
                </a:lnTo>
                <a:lnTo>
                  <a:pt x="193" y="858"/>
                </a:lnTo>
                <a:lnTo>
                  <a:pt x="189" y="860"/>
                </a:lnTo>
                <a:lnTo>
                  <a:pt x="183" y="862"/>
                </a:lnTo>
                <a:lnTo>
                  <a:pt x="176" y="866"/>
                </a:lnTo>
                <a:lnTo>
                  <a:pt x="168" y="872"/>
                </a:lnTo>
                <a:lnTo>
                  <a:pt x="162" y="876"/>
                </a:lnTo>
                <a:lnTo>
                  <a:pt x="157" y="879"/>
                </a:lnTo>
                <a:lnTo>
                  <a:pt x="153" y="883"/>
                </a:lnTo>
                <a:lnTo>
                  <a:pt x="151" y="887"/>
                </a:lnTo>
                <a:lnTo>
                  <a:pt x="151" y="887"/>
                </a:lnTo>
                <a:lnTo>
                  <a:pt x="147" y="885"/>
                </a:lnTo>
                <a:lnTo>
                  <a:pt x="143" y="883"/>
                </a:lnTo>
                <a:lnTo>
                  <a:pt x="141" y="879"/>
                </a:lnTo>
                <a:lnTo>
                  <a:pt x="138" y="877"/>
                </a:lnTo>
                <a:lnTo>
                  <a:pt x="136" y="874"/>
                </a:lnTo>
                <a:lnTo>
                  <a:pt x="134" y="870"/>
                </a:lnTo>
                <a:lnTo>
                  <a:pt x="134" y="864"/>
                </a:lnTo>
                <a:lnTo>
                  <a:pt x="134" y="858"/>
                </a:lnTo>
                <a:lnTo>
                  <a:pt x="134" y="858"/>
                </a:lnTo>
                <a:lnTo>
                  <a:pt x="136" y="860"/>
                </a:lnTo>
                <a:lnTo>
                  <a:pt x="138" y="862"/>
                </a:lnTo>
                <a:lnTo>
                  <a:pt x="139" y="862"/>
                </a:lnTo>
                <a:lnTo>
                  <a:pt x="139" y="862"/>
                </a:lnTo>
                <a:lnTo>
                  <a:pt x="141" y="862"/>
                </a:lnTo>
                <a:lnTo>
                  <a:pt x="145" y="860"/>
                </a:lnTo>
                <a:lnTo>
                  <a:pt x="147" y="860"/>
                </a:lnTo>
                <a:lnTo>
                  <a:pt x="151" y="858"/>
                </a:lnTo>
                <a:lnTo>
                  <a:pt x="151" y="858"/>
                </a:lnTo>
                <a:lnTo>
                  <a:pt x="151" y="855"/>
                </a:lnTo>
                <a:lnTo>
                  <a:pt x="149" y="849"/>
                </a:lnTo>
                <a:lnTo>
                  <a:pt x="149" y="845"/>
                </a:lnTo>
                <a:lnTo>
                  <a:pt x="147" y="841"/>
                </a:lnTo>
                <a:lnTo>
                  <a:pt x="143" y="837"/>
                </a:lnTo>
                <a:lnTo>
                  <a:pt x="141" y="835"/>
                </a:lnTo>
                <a:lnTo>
                  <a:pt x="136" y="834"/>
                </a:lnTo>
                <a:lnTo>
                  <a:pt x="132" y="834"/>
                </a:lnTo>
                <a:lnTo>
                  <a:pt x="132" y="834"/>
                </a:lnTo>
                <a:lnTo>
                  <a:pt x="126" y="834"/>
                </a:lnTo>
                <a:lnTo>
                  <a:pt x="122" y="834"/>
                </a:lnTo>
                <a:lnTo>
                  <a:pt x="120" y="835"/>
                </a:lnTo>
                <a:lnTo>
                  <a:pt x="117" y="837"/>
                </a:lnTo>
                <a:lnTo>
                  <a:pt x="115" y="839"/>
                </a:lnTo>
                <a:lnTo>
                  <a:pt x="113" y="839"/>
                </a:lnTo>
                <a:lnTo>
                  <a:pt x="109" y="841"/>
                </a:lnTo>
                <a:lnTo>
                  <a:pt x="107" y="841"/>
                </a:lnTo>
                <a:lnTo>
                  <a:pt x="107" y="841"/>
                </a:lnTo>
                <a:lnTo>
                  <a:pt x="101" y="839"/>
                </a:lnTo>
                <a:lnTo>
                  <a:pt x="94" y="837"/>
                </a:lnTo>
                <a:lnTo>
                  <a:pt x="86" y="832"/>
                </a:lnTo>
                <a:lnTo>
                  <a:pt x="78" y="826"/>
                </a:lnTo>
                <a:lnTo>
                  <a:pt x="71" y="820"/>
                </a:lnTo>
                <a:lnTo>
                  <a:pt x="65" y="814"/>
                </a:lnTo>
                <a:lnTo>
                  <a:pt x="59" y="809"/>
                </a:lnTo>
                <a:lnTo>
                  <a:pt x="56" y="803"/>
                </a:lnTo>
                <a:lnTo>
                  <a:pt x="56" y="803"/>
                </a:lnTo>
                <a:lnTo>
                  <a:pt x="59" y="801"/>
                </a:lnTo>
                <a:lnTo>
                  <a:pt x="61" y="799"/>
                </a:lnTo>
                <a:lnTo>
                  <a:pt x="65" y="799"/>
                </a:lnTo>
                <a:lnTo>
                  <a:pt x="67" y="797"/>
                </a:lnTo>
                <a:lnTo>
                  <a:pt x="71" y="795"/>
                </a:lnTo>
                <a:lnTo>
                  <a:pt x="73" y="794"/>
                </a:lnTo>
                <a:lnTo>
                  <a:pt x="77" y="792"/>
                </a:lnTo>
                <a:lnTo>
                  <a:pt x="80" y="790"/>
                </a:lnTo>
                <a:lnTo>
                  <a:pt x="80" y="790"/>
                </a:lnTo>
                <a:lnTo>
                  <a:pt x="75" y="784"/>
                </a:lnTo>
                <a:lnTo>
                  <a:pt x="69" y="778"/>
                </a:lnTo>
                <a:lnTo>
                  <a:pt x="63" y="773"/>
                </a:lnTo>
                <a:lnTo>
                  <a:pt x="56" y="765"/>
                </a:lnTo>
                <a:lnTo>
                  <a:pt x="48" y="759"/>
                </a:lnTo>
                <a:lnTo>
                  <a:pt x="40" y="752"/>
                </a:lnTo>
                <a:lnTo>
                  <a:pt x="35" y="744"/>
                </a:lnTo>
                <a:lnTo>
                  <a:pt x="27" y="734"/>
                </a:lnTo>
                <a:lnTo>
                  <a:pt x="19" y="727"/>
                </a:lnTo>
                <a:lnTo>
                  <a:pt x="14" y="717"/>
                </a:lnTo>
                <a:lnTo>
                  <a:pt x="10" y="708"/>
                </a:lnTo>
                <a:lnTo>
                  <a:pt x="4" y="698"/>
                </a:lnTo>
                <a:lnTo>
                  <a:pt x="2" y="689"/>
                </a:lnTo>
                <a:lnTo>
                  <a:pt x="0" y="677"/>
                </a:lnTo>
                <a:lnTo>
                  <a:pt x="0" y="668"/>
                </a:lnTo>
                <a:lnTo>
                  <a:pt x="4" y="656"/>
                </a:lnTo>
                <a:lnTo>
                  <a:pt x="4" y="656"/>
                </a:lnTo>
                <a:lnTo>
                  <a:pt x="8" y="654"/>
                </a:lnTo>
                <a:lnTo>
                  <a:pt x="14" y="652"/>
                </a:lnTo>
                <a:lnTo>
                  <a:pt x="19" y="654"/>
                </a:lnTo>
                <a:lnTo>
                  <a:pt x="25" y="656"/>
                </a:lnTo>
                <a:lnTo>
                  <a:pt x="31" y="658"/>
                </a:lnTo>
                <a:lnTo>
                  <a:pt x="38" y="660"/>
                </a:lnTo>
                <a:lnTo>
                  <a:pt x="46" y="662"/>
                </a:lnTo>
                <a:lnTo>
                  <a:pt x="54" y="662"/>
                </a:lnTo>
                <a:lnTo>
                  <a:pt x="54" y="662"/>
                </a:lnTo>
                <a:lnTo>
                  <a:pt x="59" y="660"/>
                </a:lnTo>
                <a:lnTo>
                  <a:pt x="65" y="658"/>
                </a:lnTo>
                <a:lnTo>
                  <a:pt x="69" y="654"/>
                </a:lnTo>
                <a:lnTo>
                  <a:pt x="75" y="649"/>
                </a:lnTo>
                <a:lnTo>
                  <a:pt x="80" y="643"/>
                </a:lnTo>
                <a:lnTo>
                  <a:pt x="84" y="639"/>
                </a:lnTo>
                <a:lnTo>
                  <a:pt x="88" y="635"/>
                </a:lnTo>
                <a:lnTo>
                  <a:pt x="92" y="631"/>
                </a:lnTo>
                <a:lnTo>
                  <a:pt x="174" y="631"/>
                </a:lnTo>
                <a:lnTo>
                  <a:pt x="174" y="628"/>
                </a:lnTo>
                <a:lnTo>
                  <a:pt x="239" y="628"/>
                </a:lnTo>
                <a:lnTo>
                  <a:pt x="239" y="628"/>
                </a:lnTo>
                <a:lnTo>
                  <a:pt x="252" y="622"/>
                </a:lnTo>
                <a:lnTo>
                  <a:pt x="263" y="616"/>
                </a:lnTo>
                <a:lnTo>
                  <a:pt x="275" y="610"/>
                </a:lnTo>
                <a:lnTo>
                  <a:pt x="283" y="603"/>
                </a:lnTo>
                <a:lnTo>
                  <a:pt x="292" y="595"/>
                </a:lnTo>
                <a:lnTo>
                  <a:pt x="300" y="586"/>
                </a:lnTo>
                <a:lnTo>
                  <a:pt x="305" y="576"/>
                </a:lnTo>
                <a:lnTo>
                  <a:pt x="311" y="566"/>
                </a:lnTo>
                <a:lnTo>
                  <a:pt x="315" y="555"/>
                </a:lnTo>
                <a:lnTo>
                  <a:pt x="319" y="544"/>
                </a:lnTo>
                <a:lnTo>
                  <a:pt x="323" y="532"/>
                </a:lnTo>
                <a:lnTo>
                  <a:pt x="324" y="519"/>
                </a:lnTo>
                <a:lnTo>
                  <a:pt x="326" y="505"/>
                </a:lnTo>
                <a:lnTo>
                  <a:pt x="326" y="490"/>
                </a:lnTo>
                <a:lnTo>
                  <a:pt x="328" y="473"/>
                </a:lnTo>
                <a:lnTo>
                  <a:pt x="328" y="458"/>
                </a:lnTo>
                <a:lnTo>
                  <a:pt x="328" y="458"/>
                </a:lnTo>
                <a:lnTo>
                  <a:pt x="328" y="448"/>
                </a:lnTo>
                <a:lnTo>
                  <a:pt x="328" y="439"/>
                </a:lnTo>
                <a:lnTo>
                  <a:pt x="326" y="431"/>
                </a:lnTo>
                <a:lnTo>
                  <a:pt x="326" y="421"/>
                </a:lnTo>
                <a:lnTo>
                  <a:pt x="324" y="414"/>
                </a:lnTo>
                <a:lnTo>
                  <a:pt x="324" y="406"/>
                </a:lnTo>
                <a:lnTo>
                  <a:pt x="324" y="399"/>
                </a:lnTo>
                <a:lnTo>
                  <a:pt x="323" y="391"/>
                </a:lnTo>
                <a:lnTo>
                  <a:pt x="323" y="385"/>
                </a:lnTo>
                <a:lnTo>
                  <a:pt x="323" y="378"/>
                </a:lnTo>
                <a:lnTo>
                  <a:pt x="323" y="370"/>
                </a:lnTo>
                <a:lnTo>
                  <a:pt x="323" y="362"/>
                </a:lnTo>
                <a:lnTo>
                  <a:pt x="323" y="357"/>
                </a:lnTo>
                <a:lnTo>
                  <a:pt x="324" y="347"/>
                </a:lnTo>
                <a:lnTo>
                  <a:pt x="326" y="339"/>
                </a:lnTo>
                <a:lnTo>
                  <a:pt x="328" y="332"/>
                </a:lnTo>
                <a:lnTo>
                  <a:pt x="456" y="309"/>
                </a:lnTo>
                <a:lnTo>
                  <a:pt x="593" y="194"/>
                </a:lnTo>
                <a:lnTo>
                  <a:pt x="937" y="0"/>
                </a:lnTo>
                <a:lnTo>
                  <a:pt x="937" y="0"/>
                </a:lnTo>
                <a:lnTo>
                  <a:pt x="944" y="0"/>
                </a:lnTo>
                <a:lnTo>
                  <a:pt x="954" y="0"/>
                </a:lnTo>
                <a:lnTo>
                  <a:pt x="962" y="2"/>
                </a:lnTo>
                <a:lnTo>
                  <a:pt x="969" y="2"/>
                </a:lnTo>
                <a:lnTo>
                  <a:pt x="977" y="4"/>
                </a:lnTo>
                <a:lnTo>
                  <a:pt x="983" y="6"/>
                </a:lnTo>
                <a:lnTo>
                  <a:pt x="990" y="8"/>
                </a:lnTo>
                <a:lnTo>
                  <a:pt x="996" y="9"/>
                </a:lnTo>
                <a:lnTo>
                  <a:pt x="1002" y="11"/>
                </a:lnTo>
                <a:lnTo>
                  <a:pt x="1007" y="13"/>
                </a:lnTo>
                <a:lnTo>
                  <a:pt x="1013" y="15"/>
                </a:lnTo>
                <a:lnTo>
                  <a:pt x="1021" y="19"/>
                </a:lnTo>
                <a:lnTo>
                  <a:pt x="1026" y="21"/>
                </a:lnTo>
                <a:lnTo>
                  <a:pt x="1032" y="25"/>
                </a:lnTo>
                <a:lnTo>
                  <a:pt x="1040" y="27"/>
                </a:lnTo>
                <a:lnTo>
                  <a:pt x="1046" y="28"/>
                </a:lnTo>
                <a:lnTo>
                  <a:pt x="1046" y="28"/>
                </a:lnTo>
                <a:lnTo>
                  <a:pt x="1053" y="32"/>
                </a:lnTo>
                <a:lnTo>
                  <a:pt x="1059" y="38"/>
                </a:lnTo>
                <a:lnTo>
                  <a:pt x="1065" y="44"/>
                </a:lnTo>
                <a:lnTo>
                  <a:pt x="1070" y="49"/>
                </a:lnTo>
                <a:lnTo>
                  <a:pt x="1074" y="55"/>
                </a:lnTo>
                <a:lnTo>
                  <a:pt x="1082" y="61"/>
                </a:lnTo>
                <a:lnTo>
                  <a:pt x="1088" y="63"/>
                </a:lnTo>
                <a:lnTo>
                  <a:pt x="1095" y="65"/>
                </a:lnTo>
                <a:lnTo>
                  <a:pt x="1095" y="65"/>
                </a:lnTo>
                <a:lnTo>
                  <a:pt x="1105" y="65"/>
                </a:lnTo>
                <a:lnTo>
                  <a:pt x="1112" y="61"/>
                </a:lnTo>
                <a:lnTo>
                  <a:pt x="1122" y="59"/>
                </a:lnTo>
                <a:lnTo>
                  <a:pt x="1131" y="55"/>
                </a:lnTo>
                <a:lnTo>
                  <a:pt x="1141" y="51"/>
                </a:lnTo>
                <a:lnTo>
                  <a:pt x="1149" y="46"/>
                </a:lnTo>
                <a:lnTo>
                  <a:pt x="1156" y="42"/>
                </a:lnTo>
                <a:lnTo>
                  <a:pt x="1160" y="38"/>
                </a:lnTo>
                <a:lnTo>
                  <a:pt x="1160" y="166"/>
                </a:lnTo>
                <a:lnTo>
                  <a:pt x="1160" y="166"/>
                </a:lnTo>
                <a:lnTo>
                  <a:pt x="1162" y="168"/>
                </a:lnTo>
                <a:lnTo>
                  <a:pt x="1166" y="170"/>
                </a:lnTo>
                <a:lnTo>
                  <a:pt x="1170" y="173"/>
                </a:lnTo>
                <a:lnTo>
                  <a:pt x="1171" y="179"/>
                </a:lnTo>
                <a:lnTo>
                  <a:pt x="1175" y="185"/>
                </a:lnTo>
                <a:lnTo>
                  <a:pt x="1181" y="191"/>
                </a:lnTo>
                <a:lnTo>
                  <a:pt x="1185" y="196"/>
                </a:lnTo>
                <a:lnTo>
                  <a:pt x="1189" y="204"/>
                </a:lnTo>
                <a:lnTo>
                  <a:pt x="1194" y="210"/>
                </a:lnTo>
                <a:lnTo>
                  <a:pt x="1198" y="217"/>
                </a:lnTo>
                <a:lnTo>
                  <a:pt x="1202" y="223"/>
                </a:lnTo>
                <a:lnTo>
                  <a:pt x="1206" y="231"/>
                </a:lnTo>
                <a:lnTo>
                  <a:pt x="1208" y="236"/>
                </a:lnTo>
                <a:lnTo>
                  <a:pt x="1210" y="240"/>
                </a:lnTo>
                <a:lnTo>
                  <a:pt x="1211" y="244"/>
                </a:lnTo>
                <a:lnTo>
                  <a:pt x="1211" y="248"/>
                </a:lnTo>
                <a:lnTo>
                  <a:pt x="1211" y="248"/>
                </a:lnTo>
                <a:lnTo>
                  <a:pt x="1211" y="252"/>
                </a:lnTo>
                <a:lnTo>
                  <a:pt x="1210" y="254"/>
                </a:lnTo>
                <a:lnTo>
                  <a:pt x="1208" y="257"/>
                </a:lnTo>
                <a:lnTo>
                  <a:pt x="1206" y="259"/>
                </a:lnTo>
                <a:lnTo>
                  <a:pt x="1204" y="263"/>
                </a:lnTo>
                <a:lnTo>
                  <a:pt x="1200" y="265"/>
                </a:lnTo>
                <a:lnTo>
                  <a:pt x="1198" y="267"/>
                </a:lnTo>
                <a:lnTo>
                  <a:pt x="1196" y="267"/>
                </a:lnTo>
                <a:lnTo>
                  <a:pt x="1196" y="378"/>
                </a:lnTo>
                <a:lnTo>
                  <a:pt x="1179" y="515"/>
                </a:lnTo>
                <a:lnTo>
                  <a:pt x="1179" y="515"/>
                </a:lnTo>
                <a:lnTo>
                  <a:pt x="1170" y="525"/>
                </a:lnTo>
                <a:lnTo>
                  <a:pt x="1162" y="534"/>
                </a:lnTo>
                <a:lnTo>
                  <a:pt x="1154" y="544"/>
                </a:lnTo>
                <a:lnTo>
                  <a:pt x="1145" y="553"/>
                </a:lnTo>
                <a:lnTo>
                  <a:pt x="1137" y="565"/>
                </a:lnTo>
                <a:lnTo>
                  <a:pt x="1129" y="574"/>
                </a:lnTo>
                <a:lnTo>
                  <a:pt x="1120" y="586"/>
                </a:lnTo>
                <a:lnTo>
                  <a:pt x="1112" y="597"/>
                </a:lnTo>
                <a:lnTo>
                  <a:pt x="1105" y="608"/>
                </a:lnTo>
                <a:lnTo>
                  <a:pt x="1097" y="620"/>
                </a:lnTo>
                <a:lnTo>
                  <a:pt x="1088" y="631"/>
                </a:lnTo>
                <a:lnTo>
                  <a:pt x="1080" y="643"/>
                </a:lnTo>
                <a:lnTo>
                  <a:pt x="1072" y="656"/>
                </a:lnTo>
                <a:lnTo>
                  <a:pt x="1063" y="668"/>
                </a:lnTo>
                <a:lnTo>
                  <a:pt x="1055" y="679"/>
                </a:lnTo>
                <a:lnTo>
                  <a:pt x="1046" y="690"/>
                </a:lnTo>
                <a:lnTo>
                  <a:pt x="1046" y="690"/>
                </a:lnTo>
                <a:lnTo>
                  <a:pt x="1044" y="696"/>
                </a:lnTo>
                <a:lnTo>
                  <a:pt x="1040" y="700"/>
                </a:lnTo>
                <a:lnTo>
                  <a:pt x="1036" y="704"/>
                </a:lnTo>
                <a:lnTo>
                  <a:pt x="1032" y="708"/>
                </a:lnTo>
                <a:lnTo>
                  <a:pt x="1028" y="711"/>
                </a:lnTo>
                <a:lnTo>
                  <a:pt x="1026" y="715"/>
                </a:lnTo>
                <a:lnTo>
                  <a:pt x="1025" y="721"/>
                </a:lnTo>
                <a:lnTo>
                  <a:pt x="1025" y="727"/>
                </a:lnTo>
                <a:lnTo>
                  <a:pt x="1025" y="727"/>
                </a:lnTo>
                <a:lnTo>
                  <a:pt x="1025" y="732"/>
                </a:lnTo>
                <a:lnTo>
                  <a:pt x="1026" y="740"/>
                </a:lnTo>
                <a:lnTo>
                  <a:pt x="1026" y="746"/>
                </a:lnTo>
                <a:lnTo>
                  <a:pt x="1028" y="752"/>
                </a:lnTo>
                <a:lnTo>
                  <a:pt x="1032" y="757"/>
                </a:lnTo>
                <a:lnTo>
                  <a:pt x="1034" y="763"/>
                </a:lnTo>
                <a:lnTo>
                  <a:pt x="1036" y="769"/>
                </a:lnTo>
                <a:lnTo>
                  <a:pt x="1038" y="773"/>
                </a:lnTo>
                <a:lnTo>
                  <a:pt x="1038" y="773"/>
                </a:lnTo>
                <a:lnTo>
                  <a:pt x="1030" y="774"/>
                </a:lnTo>
                <a:lnTo>
                  <a:pt x="1023" y="776"/>
                </a:lnTo>
                <a:lnTo>
                  <a:pt x="1015" y="780"/>
                </a:lnTo>
                <a:lnTo>
                  <a:pt x="1007" y="784"/>
                </a:lnTo>
                <a:lnTo>
                  <a:pt x="1002" y="788"/>
                </a:lnTo>
                <a:lnTo>
                  <a:pt x="994" y="792"/>
                </a:lnTo>
                <a:lnTo>
                  <a:pt x="986" y="797"/>
                </a:lnTo>
                <a:lnTo>
                  <a:pt x="979" y="801"/>
                </a:lnTo>
                <a:lnTo>
                  <a:pt x="973" y="807"/>
                </a:lnTo>
                <a:lnTo>
                  <a:pt x="965" y="811"/>
                </a:lnTo>
                <a:lnTo>
                  <a:pt x="960" y="814"/>
                </a:lnTo>
                <a:lnTo>
                  <a:pt x="954" y="818"/>
                </a:lnTo>
                <a:lnTo>
                  <a:pt x="946" y="822"/>
                </a:lnTo>
                <a:lnTo>
                  <a:pt x="941" y="824"/>
                </a:lnTo>
                <a:lnTo>
                  <a:pt x="935" y="826"/>
                </a:lnTo>
                <a:lnTo>
                  <a:pt x="931" y="828"/>
                </a:lnTo>
                <a:lnTo>
                  <a:pt x="931" y="828"/>
                </a:lnTo>
                <a:lnTo>
                  <a:pt x="923" y="826"/>
                </a:lnTo>
                <a:lnTo>
                  <a:pt x="918" y="826"/>
                </a:lnTo>
                <a:lnTo>
                  <a:pt x="910" y="824"/>
                </a:lnTo>
                <a:lnTo>
                  <a:pt x="904" y="822"/>
                </a:lnTo>
                <a:lnTo>
                  <a:pt x="899" y="818"/>
                </a:lnTo>
                <a:lnTo>
                  <a:pt x="895" y="816"/>
                </a:lnTo>
                <a:lnTo>
                  <a:pt x="889" y="813"/>
                </a:lnTo>
                <a:lnTo>
                  <a:pt x="883" y="811"/>
                </a:lnTo>
                <a:lnTo>
                  <a:pt x="878" y="807"/>
                </a:lnTo>
                <a:lnTo>
                  <a:pt x="874" y="805"/>
                </a:lnTo>
                <a:lnTo>
                  <a:pt x="868" y="801"/>
                </a:lnTo>
                <a:lnTo>
                  <a:pt x="861" y="799"/>
                </a:lnTo>
                <a:lnTo>
                  <a:pt x="855" y="797"/>
                </a:lnTo>
                <a:lnTo>
                  <a:pt x="847" y="795"/>
                </a:lnTo>
                <a:lnTo>
                  <a:pt x="840" y="794"/>
                </a:lnTo>
                <a:lnTo>
                  <a:pt x="830" y="794"/>
                </a:lnTo>
                <a:lnTo>
                  <a:pt x="830" y="794"/>
                </a:lnTo>
                <a:lnTo>
                  <a:pt x="819" y="794"/>
                </a:lnTo>
                <a:lnTo>
                  <a:pt x="809" y="795"/>
                </a:lnTo>
                <a:lnTo>
                  <a:pt x="799" y="797"/>
                </a:lnTo>
                <a:lnTo>
                  <a:pt x="792" y="801"/>
                </a:lnTo>
                <a:lnTo>
                  <a:pt x="784" y="805"/>
                </a:lnTo>
                <a:lnTo>
                  <a:pt x="777" y="809"/>
                </a:lnTo>
                <a:lnTo>
                  <a:pt x="769" y="813"/>
                </a:lnTo>
                <a:lnTo>
                  <a:pt x="763" y="816"/>
                </a:lnTo>
                <a:lnTo>
                  <a:pt x="758" y="820"/>
                </a:lnTo>
                <a:lnTo>
                  <a:pt x="750" y="824"/>
                </a:lnTo>
                <a:lnTo>
                  <a:pt x="742" y="828"/>
                </a:lnTo>
                <a:lnTo>
                  <a:pt x="737" y="832"/>
                </a:lnTo>
                <a:lnTo>
                  <a:pt x="729" y="834"/>
                </a:lnTo>
                <a:lnTo>
                  <a:pt x="719" y="837"/>
                </a:lnTo>
                <a:lnTo>
                  <a:pt x="710" y="837"/>
                </a:lnTo>
                <a:lnTo>
                  <a:pt x="700" y="839"/>
                </a:lnTo>
                <a:lnTo>
                  <a:pt x="700" y="839"/>
                </a:lnTo>
                <a:lnTo>
                  <a:pt x="691" y="837"/>
                </a:lnTo>
                <a:lnTo>
                  <a:pt x="683" y="837"/>
                </a:lnTo>
                <a:lnTo>
                  <a:pt x="675" y="835"/>
                </a:lnTo>
                <a:lnTo>
                  <a:pt x="668" y="832"/>
                </a:lnTo>
                <a:lnTo>
                  <a:pt x="662" y="830"/>
                </a:lnTo>
                <a:lnTo>
                  <a:pt x="654" y="826"/>
                </a:lnTo>
                <a:lnTo>
                  <a:pt x="649" y="822"/>
                </a:lnTo>
                <a:lnTo>
                  <a:pt x="643" y="818"/>
                </a:lnTo>
                <a:lnTo>
                  <a:pt x="637" y="814"/>
                </a:lnTo>
                <a:lnTo>
                  <a:pt x="632" y="811"/>
                </a:lnTo>
                <a:lnTo>
                  <a:pt x="626" y="807"/>
                </a:lnTo>
                <a:lnTo>
                  <a:pt x="620" y="803"/>
                </a:lnTo>
                <a:lnTo>
                  <a:pt x="613" y="801"/>
                </a:lnTo>
                <a:lnTo>
                  <a:pt x="607" y="799"/>
                </a:lnTo>
                <a:lnTo>
                  <a:pt x="599" y="797"/>
                </a:lnTo>
                <a:lnTo>
                  <a:pt x="592" y="797"/>
                </a:lnTo>
                <a:lnTo>
                  <a:pt x="592" y="797"/>
                </a:lnTo>
                <a:lnTo>
                  <a:pt x="586" y="797"/>
                </a:lnTo>
                <a:lnTo>
                  <a:pt x="582" y="797"/>
                </a:lnTo>
                <a:lnTo>
                  <a:pt x="576" y="799"/>
                </a:lnTo>
                <a:lnTo>
                  <a:pt x="572" y="801"/>
                </a:lnTo>
                <a:lnTo>
                  <a:pt x="569" y="803"/>
                </a:lnTo>
                <a:lnTo>
                  <a:pt x="563" y="805"/>
                </a:lnTo>
                <a:lnTo>
                  <a:pt x="559" y="807"/>
                </a:lnTo>
                <a:lnTo>
                  <a:pt x="555" y="809"/>
                </a:lnTo>
                <a:lnTo>
                  <a:pt x="551" y="811"/>
                </a:lnTo>
                <a:lnTo>
                  <a:pt x="548" y="813"/>
                </a:lnTo>
                <a:lnTo>
                  <a:pt x="544" y="814"/>
                </a:lnTo>
                <a:lnTo>
                  <a:pt x="540" y="816"/>
                </a:lnTo>
                <a:lnTo>
                  <a:pt x="534" y="818"/>
                </a:lnTo>
                <a:lnTo>
                  <a:pt x="531" y="820"/>
                </a:lnTo>
                <a:lnTo>
                  <a:pt x="525" y="820"/>
                </a:lnTo>
                <a:lnTo>
                  <a:pt x="521" y="820"/>
                </a:lnTo>
                <a:lnTo>
                  <a:pt x="521" y="820"/>
                </a:lnTo>
                <a:lnTo>
                  <a:pt x="513" y="820"/>
                </a:lnTo>
                <a:lnTo>
                  <a:pt x="510" y="816"/>
                </a:lnTo>
                <a:lnTo>
                  <a:pt x="504" y="813"/>
                </a:lnTo>
                <a:lnTo>
                  <a:pt x="500" y="807"/>
                </a:lnTo>
                <a:lnTo>
                  <a:pt x="496" y="799"/>
                </a:lnTo>
                <a:lnTo>
                  <a:pt x="492" y="794"/>
                </a:lnTo>
                <a:lnTo>
                  <a:pt x="489" y="788"/>
                </a:lnTo>
                <a:lnTo>
                  <a:pt x="485" y="782"/>
                </a:lnTo>
                <a:lnTo>
                  <a:pt x="485" y="782"/>
                </a:lnTo>
                <a:lnTo>
                  <a:pt x="483" y="780"/>
                </a:lnTo>
                <a:lnTo>
                  <a:pt x="479" y="776"/>
                </a:lnTo>
                <a:lnTo>
                  <a:pt x="475" y="774"/>
                </a:lnTo>
                <a:lnTo>
                  <a:pt x="471" y="773"/>
                </a:lnTo>
                <a:lnTo>
                  <a:pt x="466" y="769"/>
                </a:lnTo>
                <a:lnTo>
                  <a:pt x="460" y="767"/>
                </a:lnTo>
                <a:lnTo>
                  <a:pt x="454" y="765"/>
                </a:lnTo>
                <a:lnTo>
                  <a:pt x="447" y="763"/>
                </a:lnTo>
                <a:lnTo>
                  <a:pt x="441" y="761"/>
                </a:lnTo>
                <a:lnTo>
                  <a:pt x="433" y="759"/>
                </a:lnTo>
                <a:lnTo>
                  <a:pt x="428" y="757"/>
                </a:lnTo>
                <a:lnTo>
                  <a:pt x="420" y="755"/>
                </a:lnTo>
                <a:lnTo>
                  <a:pt x="414" y="753"/>
                </a:lnTo>
                <a:lnTo>
                  <a:pt x="408" y="753"/>
                </a:lnTo>
                <a:lnTo>
                  <a:pt x="403" y="752"/>
                </a:lnTo>
                <a:lnTo>
                  <a:pt x="399" y="752"/>
                </a:lnTo>
                <a:lnTo>
                  <a:pt x="399" y="752"/>
                </a:lnTo>
                <a:lnTo>
                  <a:pt x="391" y="752"/>
                </a:lnTo>
                <a:lnTo>
                  <a:pt x="382" y="753"/>
                </a:lnTo>
                <a:lnTo>
                  <a:pt x="374" y="753"/>
                </a:lnTo>
                <a:lnTo>
                  <a:pt x="365" y="753"/>
                </a:lnTo>
                <a:lnTo>
                  <a:pt x="357" y="755"/>
                </a:lnTo>
                <a:lnTo>
                  <a:pt x="349" y="757"/>
                </a:lnTo>
                <a:lnTo>
                  <a:pt x="340" y="759"/>
                </a:lnTo>
                <a:lnTo>
                  <a:pt x="332" y="761"/>
                </a:lnTo>
                <a:lnTo>
                  <a:pt x="326" y="763"/>
                </a:lnTo>
                <a:lnTo>
                  <a:pt x="319" y="765"/>
                </a:lnTo>
                <a:lnTo>
                  <a:pt x="313" y="769"/>
                </a:lnTo>
                <a:lnTo>
                  <a:pt x="309" y="773"/>
                </a:lnTo>
                <a:lnTo>
                  <a:pt x="304" y="778"/>
                </a:lnTo>
                <a:lnTo>
                  <a:pt x="302" y="782"/>
                </a:lnTo>
                <a:lnTo>
                  <a:pt x="298" y="788"/>
                </a:lnTo>
                <a:lnTo>
                  <a:pt x="296" y="795"/>
                </a:lnTo>
                <a:lnTo>
                  <a:pt x="296" y="795"/>
                </a:lnTo>
                <a:lnTo>
                  <a:pt x="294" y="805"/>
                </a:lnTo>
                <a:lnTo>
                  <a:pt x="292" y="814"/>
                </a:lnTo>
                <a:lnTo>
                  <a:pt x="288" y="822"/>
                </a:lnTo>
                <a:lnTo>
                  <a:pt x="284" y="828"/>
                </a:lnTo>
                <a:lnTo>
                  <a:pt x="281" y="832"/>
                </a:lnTo>
                <a:lnTo>
                  <a:pt x="277" y="835"/>
                </a:lnTo>
                <a:lnTo>
                  <a:pt x="273" y="839"/>
                </a:lnTo>
                <a:lnTo>
                  <a:pt x="267" y="843"/>
                </a:lnTo>
                <a:lnTo>
                  <a:pt x="263" y="847"/>
                </a:lnTo>
                <a:lnTo>
                  <a:pt x="260" y="851"/>
                </a:lnTo>
                <a:lnTo>
                  <a:pt x="256" y="856"/>
                </a:lnTo>
                <a:lnTo>
                  <a:pt x="254" y="864"/>
                </a:lnTo>
                <a:lnTo>
                  <a:pt x="252" y="874"/>
                </a:lnTo>
                <a:lnTo>
                  <a:pt x="250" y="885"/>
                </a:lnTo>
                <a:lnTo>
                  <a:pt x="248" y="898"/>
                </a:lnTo>
                <a:lnTo>
                  <a:pt x="250" y="916"/>
                </a:lnTo>
                <a:lnTo>
                  <a:pt x="252" y="908"/>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0" name="Freeform 50"/>
          <p:cNvSpPr>
            <a:spLocks/>
          </p:cNvSpPr>
          <p:nvPr/>
        </p:nvSpPr>
        <p:spPr bwMode="auto">
          <a:xfrm>
            <a:off x="3360738" y="2297014"/>
            <a:ext cx="1133475" cy="1385888"/>
          </a:xfrm>
          <a:custGeom>
            <a:avLst/>
            <a:gdLst>
              <a:gd name="T0" fmla="*/ 857 w 1261"/>
              <a:gd name="T1" fmla="*/ 117 h 1590"/>
              <a:gd name="T2" fmla="*/ 891 w 1261"/>
              <a:gd name="T3" fmla="*/ 84 h 1590"/>
              <a:gd name="T4" fmla="*/ 943 w 1261"/>
              <a:gd name="T5" fmla="*/ 67 h 1590"/>
              <a:gd name="T6" fmla="*/ 998 w 1261"/>
              <a:gd name="T7" fmla="*/ 10 h 1590"/>
              <a:gd name="T8" fmla="*/ 1061 w 1261"/>
              <a:gd name="T9" fmla="*/ 40 h 1590"/>
              <a:gd name="T10" fmla="*/ 1137 w 1261"/>
              <a:gd name="T11" fmla="*/ 149 h 1590"/>
              <a:gd name="T12" fmla="*/ 1156 w 1261"/>
              <a:gd name="T13" fmla="*/ 268 h 1590"/>
              <a:gd name="T14" fmla="*/ 1198 w 1261"/>
              <a:gd name="T15" fmla="*/ 353 h 1590"/>
              <a:gd name="T16" fmla="*/ 1259 w 1261"/>
              <a:gd name="T17" fmla="*/ 392 h 1590"/>
              <a:gd name="T18" fmla="*/ 1195 w 1261"/>
              <a:gd name="T19" fmla="*/ 468 h 1590"/>
              <a:gd name="T20" fmla="*/ 1149 w 1261"/>
              <a:gd name="T21" fmla="*/ 537 h 1590"/>
              <a:gd name="T22" fmla="*/ 1139 w 1261"/>
              <a:gd name="T23" fmla="*/ 588 h 1590"/>
              <a:gd name="T24" fmla="*/ 1126 w 1261"/>
              <a:gd name="T25" fmla="*/ 653 h 1590"/>
              <a:gd name="T26" fmla="*/ 1134 w 1261"/>
              <a:gd name="T27" fmla="*/ 706 h 1590"/>
              <a:gd name="T28" fmla="*/ 1116 w 1261"/>
              <a:gd name="T29" fmla="*/ 773 h 1590"/>
              <a:gd name="T30" fmla="*/ 1105 w 1261"/>
              <a:gd name="T31" fmla="*/ 840 h 1590"/>
              <a:gd name="T32" fmla="*/ 1069 w 1261"/>
              <a:gd name="T33" fmla="*/ 867 h 1590"/>
              <a:gd name="T34" fmla="*/ 1040 w 1261"/>
              <a:gd name="T35" fmla="*/ 937 h 1590"/>
              <a:gd name="T36" fmla="*/ 1006 w 1261"/>
              <a:gd name="T37" fmla="*/ 998 h 1590"/>
              <a:gd name="T38" fmla="*/ 987 w 1261"/>
              <a:gd name="T39" fmla="*/ 1040 h 1590"/>
              <a:gd name="T40" fmla="*/ 968 w 1261"/>
              <a:gd name="T41" fmla="*/ 1113 h 1590"/>
              <a:gd name="T42" fmla="*/ 958 w 1261"/>
              <a:gd name="T43" fmla="*/ 1179 h 1590"/>
              <a:gd name="T44" fmla="*/ 901 w 1261"/>
              <a:gd name="T45" fmla="*/ 1208 h 1590"/>
              <a:gd name="T46" fmla="*/ 893 w 1261"/>
              <a:gd name="T47" fmla="*/ 1239 h 1590"/>
              <a:gd name="T48" fmla="*/ 964 w 1261"/>
              <a:gd name="T49" fmla="*/ 1265 h 1590"/>
              <a:gd name="T50" fmla="*/ 1027 w 1261"/>
              <a:gd name="T51" fmla="*/ 1332 h 1590"/>
              <a:gd name="T52" fmla="*/ 1046 w 1261"/>
              <a:gd name="T53" fmla="*/ 1391 h 1590"/>
              <a:gd name="T54" fmla="*/ 1092 w 1261"/>
              <a:gd name="T55" fmla="*/ 1422 h 1590"/>
              <a:gd name="T56" fmla="*/ 1116 w 1261"/>
              <a:gd name="T57" fmla="*/ 1475 h 1590"/>
              <a:gd name="T58" fmla="*/ 992 w 1261"/>
              <a:gd name="T59" fmla="*/ 1504 h 1590"/>
              <a:gd name="T60" fmla="*/ 928 w 1261"/>
              <a:gd name="T61" fmla="*/ 1561 h 1590"/>
              <a:gd name="T62" fmla="*/ 893 w 1261"/>
              <a:gd name="T63" fmla="*/ 1561 h 1590"/>
              <a:gd name="T64" fmla="*/ 844 w 1261"/>
              <a:gd name="T65" fmla="*/ 1576 h 1590"/>
              <a:gd name="T66" fmla="*/ 783 w 1261"/>
              <a:gd name="T67" fmla="*/ 1565 h 1590"/>
              <a:gd name="T68" fmla="*/ 729 w 1261"/>
              <a:gd name="T69" fmla="*/ 1584 h 1590"/>
              <a:gd name="T70" fmla="*/ 701 w 1261"/>
              <a:gd name="T71" fmla="*/ 1571 h 1590"/>
              <a:gd name="T72" fmla="*/ 676 w 1261"/>
              <a:gd name="T73" fmla="*/ 1559 h 1590"/>
              <a:gd name="T74" fmla="*/ 611 w 1261"/>
              <a:gd name="T75" fmla="*/ 1513 h 1590"/>
              <a:gd name="T76" fmla="*/ 563 w 1261"/>
              <a:gd name="T77" fmla="*/ 1519 h 1590"/>
              <a:gd name="T78" fmla="*/ 519 w 1261"/>
              <a:gd name="T79" fmla="*/ 1532 h 1590"/>
              <a:gd name="T80" fmla="*/ 462 w 1261"/>
              <a:gd name="T81" fmla="*/ 1483 h 1590"/>
              <a:gd name="T82" fmla="*/ 435 w 1261"/>
              <a:gd name="T83" fmla="*/ 1441 h 1590"/>
              <a:gd name="T84" fmla="*/ 388 w 1261"/>
              <a:gd name="T85" fmla="*/ 1401 h 1590"/>
              <a:gd name="T86" fmla="*/ 355 w 1261"/>
              <a:gd name="T87" fmla="*/ 1343 h 1590"/>
              <a:gd name="T88" fmla="*/ 304 w 1261"/>
              <a:gd name="T89" fmla="*/ 1303 h 1590"/>
              <a:gd name="T90" fmla="*/ 269 w 1261"/>
              <a:gd name="T91" fmla="*/ 1263 h 1590"/>
              <a:gd name="T92" fmla="*/ 248 w 1261"/>
              <a:gd name="T93" fmla="*/ 1233 h 1590"/>
              <a:gd name="T94" fmla="*/ 189 w 1261"/>
              <a:gd name="T95" fmla="*/ 1183 h 1590"/>
              <a:gd name="T96" fmla="*/ 147 w 1261"/>
              <a:gd name="T97" fmla="*/ 1181 h 1590"/>
              <a:gd name="T98" fmla="*/ 142 w 1261"/>
              <a:gd name="T99" fmla="*/ 1126 h 1590"/>
              <a:gd name="T100" fmla="*/ 115 w 1261"/>
              <a:gd name="T101" fmla="*/ 1054 h 1590"/>
              <a:gd name="T102" fmla="*/ 86 w 1261"/>
              <a:gd name="T103" fmla="*/ 998 h 1590"/>
              <a:gd name="T104" fmla="*/ 75 w 1261"/>
              <a:gd name="T105" fmla="*/ 962 h 1590"/>
              <a:gd name="T106" fmla="*/ 50 w 1261"/>
              <a:gd name="T107" fmla="*/ 895 h 1590"/>
              <a:gd name="T108" fmla="*/ 2 w 1261"/>
              <a:gd name="T109" fmla="*/ 861 h 1590"/>
              <a:gd name="T110" fmla="*/ 20 w 1261"/>
              <a:gd name="T111" fmla="*/ 823 h 1590"/>
              <a:gd name="T112" fmla="*/ 33 w 1261"/>
              <a:gd name="T113" fmla="*/ 806 h 1590"/>
              <a:gd name="T114" fmla="*/ 37 w 1261"/>
              <a:gd name="T115" fmla="*/ 767 h 1590"/>
              <a:gd name="T116" fmla="*/ 46 w 1261"/>
              <a:gd name="T117" fmla="*/ 729 h 1590"/>
              <a:gd name="T118" fmla="*/ 69 w 1261"/>
              <a:gd name="T119" fmla="*/ 699 h 1590"/>
              <a:gd name="T120" fmla="*/ 86 w 1261"/>
              <a:gd name="T121" fmla="*/ 640 h 1590"/>
              <a:gd name="T122" fmla="*/ 132 w 1261"/>
              <a:gd name="T123" fmla="*/ 628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61" h="1590">
                <a:moveTo>
                  <a:pt x="155" y="315"/>
                </a:moveTo>
                <a:lnTo>
                  <a:pt x="153" y="279"/>
                </a:lnTo>
                <a:lnTo>
                  <a:pt x="227" y="279"/>
                </a:lnTo>
                <a:lnTo>
                  <a:pt x="218" y="121"/>
                </a:lnTo>
                <a:lnTo>
                  <a:pt x="830" y="105"/>
                </a:lnTo>
                <a:lnTo>
                  <a:pt x="830" y="105"/>
                </a:lnTo>
                <a:lnTo>
                  <a:pt x="838" y="107"/>
                </a:lnTo>
                <a:lnTo>
                  <a:pt x="842" y="109"/>
                </a:lnTo>
                <a:lnTo>
                  <a:pt x="847" y="111"/>
                </a:lnTo>
                <a:lnTo>
                  <a:pt x="849" y="113"/>
                </a:lnTo>
                <a:lnTo>
                  <a:pt x="853" y="115"/>
                </a:lnTo>
                <a:lnTo>
                  <a:pt x="857" y="117"/>
                </a:lnTo>
                <a:lnTo>
                  <a:pt x="863" y="117"/>
                </a:lnTo>
                <a:lnTo>
                  <a:pt x="868" y="119"/>
                </a:lnTo>
                <a:lnTo>
                  <a:pt x="868" y="119"/>
                </a:lnTo>
                <a:lnTo>
                  <a:pt x="874" y="117"/>
                </a:lnTo>
                <a:lnTo>
                  <a:pt x="880" y="113"/>
                </a:lnTo>
                <a:lnTo>
                  <a:pt x="884" y="109"/>
                </a:lnTo>
                <a:lnTo>
                  <a:pt x="884" y="103"/>
                </a:lnTo>
                <a:lnTo>
                  <a:pt x="886" y="98"/>
                </a:lnTo>
                <a:lnTo>
                  <a:pt x="887" y="94"/>
                </a:lnTo>
                <a:lnTo>
                  <a:pt x="889" y="88"/>
                </a:lnTo>
                <a:lnTo>
                  <a:pt x="891" y="84"/>
                </a:lnTo>
                <a:lnTo>
                  <a:pt x="891" y="84"/>
                </a:lnTo>
                <a:lnTo>
                  <a:pt x="897" y="82"/>
                </a:lnTo>
                <a:lnTo>
                  <a:pt x="903" y="81"/>
                </a:lnTo>
                <a:lnTo>
                  <a:pt x="908" y="81"/>
                </a:lnTo>
                <a:lnTo>
                  <a:pt x="914" y="79"/>
                </a:lnTo>
                <a:lnTo>
                  <a:pt x="920" y="79"/>
                </a:lnTo>
                <a:lnTo>
                  <a:pt x="924" y="79"/>
                </a:lnTo>
                <a:lnTo>
                  <a:pt x="929" y="79"/>
                </a:lnTo>
                <a:lnTo>
                  <a:pt x="933" y="77"/>
                </a:lnTo>
                <a:lnTo>
                  <a:pt x="933" y="77"/>
                </a:lnTo>
                <a:lnTo>
                  <a:pt x="937" y="73"/>
                </a:lnTo>
                <a:lnTo>
                  <a:pt x="941" y="69"/>
                </a:lnTo>
                <a:lnTo>
                  <a:pt x="943" y="67"/>
                </a:lnTo>
                <a:lnTo>
                  <a:pt x="947" y="61"/>
                </a:lnTo>
                <a:lnTo>
                  <a:pt x="947" y="58"/>
                </a:lnTo>
                <a:lnTo>
                  <a:pt x="949" y="54"/>
                </a:lnTo>
                <a:lnTo>
                  <a:pt x="950" y="48"/>
                </a:lnTo>
                <a:lnTo>
                  <a:pt x="954" y="44"/>
                </a:lnTo>
                <a:lnTo>
                  <a:pt x="954" y="44"/>
                </a:lnTo>
                <a:lnTo>
                  <a:pt x="960" y="37"/>
                </a:lnTo>
                <a:lnTo>
                  <a:pt x="966" y="29"/>
                </a:lnTo>
                <a:lnTo>
                  <a:pt x="973" y="23"/>
                </a:lnTo>
                <a:lnTo>
                  <a:pt x="981" y="20"/>
                </a:lnTo>
                <a:lnTo>
                  <a:pt x="990" y="14"/>
                </a:lnTo>
                <a:lnTo>
                  <a:pt x="998" y="10"/>
                </a:lnTo>
                <a:lnTo>
                  <a:pt x="1006" y="4"/>
                </a:lnTo>
                <a:lnTo>
                  <a:pt x="1013" y="0"/>
                </a:lnTo>
                <a:lnTo>
                  <a:pt x="1013" y="0"/>
                </a:lnTo>
                <a:lnTo>
                  <a:pt x="1017" y="10"/>
                </a:lnTo>
                <a:lnTo>
                  <a:pt x="1023" y="16"/>
                </a:lnTo>
                <a:lnTo>
                  <a:pt x="1029" y="20"/>
                </a:lnTo>
                <a:lnTo>
                  <a:pt x="1034" y="23"/>
                </a:lnTo>
                <a:lnTo>
                  <a:pt x="1042" y="27"/>
                </a:lnTo>
                <a:lnTo>
                  <a:pt x="1048" y="31"/>
                </a:lnTo>
                <a:lnTo>
                  <a:pt x="1055" y="37"/>
                </a:lnTo>
                <a:lnTo>
                  <a:pt x="1061" y="40"/>
                </a:lnTo>
                <a:lnTo>
                  <a:pt x="1061" y="40"/>
                </a:lnTo>
                <a:lnTo>
                  <a:pt x="1069" y="50"/>
                </a:lnTo>
                <a:lnTo>
                  <a:pt x="1076" y="58"/>
                </a:lnTo>
                <a:lnTo>
                  <a:pt x="1086" y="65"/>
                </a:lnTo>
                <a:lnTo>
                  <a:pt x="1092" y="75"/>
                </a:lnTo>
                <a:lnTo>
                  <a:pt x="1099" y="82"/>
                </a:lnTo>
                <a:lnTo>
                  <a:pt x="1107" y="92"/>
                </a:lnTo>
                <a:lnTo>
                  <a:pt x="1113" y="100"/>
                </a:lnTo>
                <a:lnTo>
                  <a:pt x="1118" y="109"/>
                </a:lnTo>
                <a:lnTo>
                  <a:pt x="1124" y="119"/>
                </a:lnTo>
                <a:lnTo>
                  <a:pt x="1130" y="128"/>
                </a:lnTo>
                <a:lnTo>
                  <a:pt x="1134" y="138"/>
                </a:lnTo>
                <a:lnTo>
                  <a:pt x="1137" y="149"/>
                </a:lnTo>
                <a:lnTo>
                  <a:pt x="1139" y="161"/>
                </a:lnTo>
                <a:lnTo>
                  <a:pt x="1141" y="174"/>
                </a:lnTo>
                <a:lnTo>
                  <a:pt x="1143" y="187"/>
                </a:lnTo>
                <a:lnTo>
                  <a:pt x="1143" y="201"/>
                </a:lnTo>
                <a:lnTo>
                  <a:pt x="1143" y="201"/>
                </a:lnTo>
                <a:lnTo>
                  <a:pt x="1143" y="206"/>
                </a:lnTo>
                <a:lnTo>
                  <a:pt x="1145" y="214"/>
                </a:lnTo>
                <a:lnTo>
                  <a:pt x="1147" y="224"/>
                </a:lnTo>
                <a:lnTo>
                  <a:pt x="1149" y="233"/>
                </a:lnTo>
                <a:lnTo>
                  <a:pt x="1151" y="245"/>
                </a:lnTo>
                <a:lnTo>
                  <a:pt x="1153" y="256"/>
                </a:lnTo>
                <a:lnTo>
                  <a:pt x="1156" y="268"/>
                </a:lnTo>
                <a:lnTo>
                  <a:pt x="1160" y="281"/>
                </a:lnTo>
                <a:lnTo>
                  <a:pt x="1164" y="292"/>
                </a:lnTo>
                <a:lnTo>
                  <a:pt x="1168" y="304"/>
                </a:lnTo>
                <a:lnTo>
                  <a:pt x="1172" y="313"/>
                </a:lnTo>
                <a:lnTo>
                  <a:pt x="1176" y="323"/>
                </a:lnTo>
                <a:lnTo>
                  <a:pt x="1179" y="332"/>
                </a:lnTo>
                <a:lnTo>
                  <a:pt x="1183" y="340"/>
                </a:lnTo>
                <a:lnTo>
                  <a:pt x="1187" y="344"/>
                </a:lnTo>
                <a:lnTo>
                  <a:pt x="1191" y="348"/>
                </a:lnTo>
                <a:lnTo>
                  <a:pt x="1191" y="348"/>
                </a:lnTo>
                <a:lnTo>
                  <a:pt x="1195" y="351"/>
                </a:lnTo>
                <a:lnTo>
                  <a:pt x="1198" y="353"/>
                </a:lnTo>
                <a:lnTo>
                  <a:pt x="1204" y="357"/>
                </a:lnTo>
                <a:lnTo>
                  <a:pt x="1210" y="359"/>
                </a:lnTo>
                <a:lnTo>
                  <a:pt x="1216" y="361"/>
                </a:lnTo>
                <a:lnTo>
                  <a:pt x="1221" y="365"/>
                </a:lnTo>
                <a:lnTo>
                  <a:pt x="1227" y="369"/>
                </a:lnTo>
                <a:lnTo>
                  <a:pt x="1233" y="371"/>
                </a:lnTo>
                <a:lnTo>
                  <a:pt x="1238" y="374"/>
                </a:lnTo>
                <a:lnTo>
                  <a:pt x="1244" y="376"/>
                </a:lnTo>
                <a:lnTo>
                  <a:pt x="1248" y="380"/>
                </a:lnTo>
                <a:lnTo>
                  <a:pt x="1252" y="384"/>
                </a:lnTo>
                <a:lnTo>
                  <a:pt x="1256" y="388"/>
                </a:lnTo>
                <a:lnTo>
                  <a:pt x="1259" y="392"/>
                </a:lnTo>
                <a:lnTo>
                  <a:pt x="1261" y="393"/>
                </a:lnTo>
                <a:lnTo>
                  <a:pt x="1261" y="397"/>
                </a:lnTo>
                <a:lnTo>
                  <a:pt x="1261" y="397"/>
                </a:lnTo>
                <a:lnTo>
                  <a:pt x="1259" y="411"/>
                </a:lnTo>
                <a:lnTo>
                  <a:pt x="1256" y="420"/>
                </a:lnTo>
                <a:lnTo>
                  <a:pt x="1250" y="430"/>
                </a:lnTo>
                <a:lnTo>
                  <a:pt x="1244" y="437"/>
                </a:lnTo>
                <a:lnTo>
                  <a:pt x="1235" y="445"/>
                </a:lnTo>
                <a:lnTo>
                  <a:pt x="1225" y="451"/>
                </a:lnTo>
                <a:lnTo>
                  <a:pt x="1216" y="456"/>
                </a:lnTo>
                <a:lnTo>
                  <a:pt x="1206" y="462"/>
                </a:lnTo>
                <a:lnTo>
                  <a:pt x="1195" y="468"/>
                </a:lnTo>
                <a:lnTo>
                  <a:pt x="1185" y="474"/>
                </a:lnTo>
                <a:lnTo>
                  <a:pt x="1176" y="479"/>
                </a:lnTo>
                <a:lnTo>
                  <a:pt x="1166" y="487"/>
                </a:lnTo>
                <a:lnTo>
                  <a:pt x="1160" y="495"/>
                </a:lnTo>
                <a:lnTo>
                  <a:pt x="1155" y="504"/>
                </a:lnTo>
                <a:lnTo>
                  <a:pt x="1151" y="514"/>
                </a:lnTo>
                <a:lnTo>
                  <a:pt x="1149" y="525"/>
                </a:lnTo>
                <a:lnTo>
                  <a:pt x="1149" y="525"/>
                </a:lnTo>
                <a:lnTo>
                  <a:pt x="1149" y="529"/>
                </a:lnTo>
                <a:lnTo>
                  <a:pt x="1149" y="533"/>
                </a:lnTo>
                <a:lnTo>
                  <a:pt x="1149" y="535"/>
                </a:lnTo>
                <a:lnTo>
                  <a:pt x="1149" y="537"/>
                </a:lnTo>
                <a:lnTo>
                  <a:pt x="1149" y="540"/>
                </a:lnTo>
                <a:lnTo>
                  <a:pt x="1149" y="544"/>
                </a:lnTo>
                <a:lnTo>
                  <a:pt x="1149" y="546"/>
                </a:lnTo>
                <a:lnTo>
                  <a:pt x="1149" y="550"/>
                </a:lnTo>
                <a:lnTo>
                  <a:pt x="1149" y="550"/>
                </a:lnTo>
                <a:lnTo>
                  <a:pt x="1149" y="554"/>
                </a:lnTo>
                <a:lnTo>
                  <a:pt x="1149" y="559"/>
                </a:lnTo>
                <a:lnTo>
                  <a:pt x="1147" y="565"/>
                </a:lnTo>
                <a:lnTo>
                  <a:pt x="1145" y="569"/>
                </a:lnTo>
                <a:lnTo>
                  <a:pt x="1143" y="575"/>
                </a:lnTo>
                <a:lnTo>
                  <a:pt x="1141" y="582"/>
                </a:lnTo>
                <a:lnTo>
                  <a:pt x="1139" y="588"/>
                </a:lnTo>
                <a:lnTo>
                  <a:pt x="1137" y="594"/>
                </a:lnTo>
                <a:lnTo>
                  <a:pt x="1135" y="599"/>
                </a:lnTo>
                <a:lnTo>
                  <a:pt x="1134" y="607"/>
                </a:lnTo>
                <a:lnTo>
                  <a:pt x="1132" y="613"/>
                </a:lnTo>
                <a:lnTo>
                  <a:pt x="1130" y="619"/>
                </a:lnTo>
                <a:lnTo>
                  <a:pt x="1128" y="626"/>
                </a:lnTo>
                <a:lnTo>
                  <a:pt x="1126" y="632"/>
                </a:lnTo>
                <a:lnTo>
                  <a:pt x="1126" y="638"/>
                </a:lnTo>
                <a:lnTo>
                  <a:pt x="1126" y="643"/>
                </a:lnTo>
                <a:lnTo>
                  <a:pt x="1126" y="643"/>
                </a:lnTo>
                <a:lnTo>
                  <a:pt x="1126" y="649"/>
                </a:lnTo>
                <a:lnTo>
                  <a:pt x="1126" y="653"/>
                </a:lnTo>
                <a:lnTo>
                  <a:pt x="1126" y="657"/>
                </a:lnTo>
                <a:lnTo>
                  <a:pt x="1126" y="662"/>
                </a:lnTo>
                <a:lnTo>
                  <a:pt x="1128" y="666"/>
                </a:lnTo>
                <a:lnTo>
                  <a:pt x="1128" y="670"/>
                </a:lnTo>
                <a:lnTo>
                  <a:pt x="1130" y="676"/>
                </a:lnTo>
                <a:lnTo>
                  <a:pt x="1130" y="680"/>
                </a:lnTo>
                <a:lnTo>
                  <a:pt x="1130" y="683"/>
                </a:lnTo>
                <a:lnTo>
                  <a:pt x="1132" y="689"/>
                </a:lnTo>
                <a:lnTo>
                  <a:pt x="1132" y="693"/>
                </a:lnTo>
                <a:lnTo>
                  <a:pt x="1134" y="697"/>
                </a:lnTo>
                <a:lnTo>
                  <a:pt x="1134" y="702"/>
                </a:lnTo>
                <a:lnTo>
                  <a:pt x="1134" y="706"/>
                </a:lnTo>
                <a:lnTo>
                  <a:pt x="1134" y="710"/>
                </a:lnTo>
                <a:lnTo>
                  <a:pt x="1134" y="714"/>
                </a:lnTo>
                <a:lnTo>
                  <a:pt x="1134" y="714"/>
                </a:lnTo>
                <a:lnTo>
                  <a:pt x="1134" y="723"/>
                </a:lnTo>
                <a:lnTo>
                  <a:pt x="1132" y="733"/>
                </a:lnTo>
                <a:lnTo>
                  <a:pt x="1130" y="741"/>
                </a:lnTo>
                <a:lnTo>
                  <a:pt x="1126" y="748"/>
                </a:lnTo>
                <a:lnTo>
                  <a:pt x="1122" y="756"/>
                </a:lnTo>
                <a:lnTo>
                  <a:pt x="1120" y="762"/>
                </a:lnTo>
                <a:lnTo>
                  <a:pt x="1118" y="767"/>
                </a:lnTo>
                <a:lnTo>
                  <a:pt x="1116" y="773"/>
                </a:lnTo>
                <a:lnTo>
                  <a:pt x="1116" y="773"/>
                </a:lnTo>
                <a:lnTo>
                  <a:pt x="1116" y="783"/>
                </a:lnTo>
                <a:lnTo>
                  <a:pt x="1116" y="790"/>
                </a:lnTo>
                <a:lnTo>
                  <a:pt x="1118" y="798"/>
                </a:lnTo>
                <a:lnTo>
                  <a:pt x="1118" y="806"/>
                </a:lnTo>
                <a:lnTo>
                  <a:pt x="1120" y="813"/>
                </a:lnTo>
                <a:lnTo>
                  <a:pt x="1120" y="821"/>
                </a:lnTo>
                <a:lnTo>
                  <a:pt x="1116" y="828"/>
                </a:lnTo>
                <a:lnTo>
                  <a:pt x="1114" y="836"/>
                </a:lnTo>
                <a:lnTo>
                  <a:pt x="1114" y="836"/>
                </a:lnTo>
                <a:lnTo>
                  <a:pt x="1111" y="838"/>
                </a:lnTo>
                <a:lnTo>
                  <a:pt x="1109" y="840"/>
                </a:lnTo>
                <a:lnTo>
                  <a:pt x="1105" y="840"/>
                </a:lnTo>
                <a:lnTo>
                  <a:pt x="1099" y="840"/>
                </a:lnTo>
                <a:lnTo>
                  <a:pt x="1095" y="840"/>
                </a:lnTo>
                <a:lnTo>
                  <a:pt x="1092" y="840"/>
                </a:lnTo>
                <a:lnTo>
                  <a:pt x="1090" y="840"/>
                </a:lnTo>
                <a:lnTo>
                  <a:pt x="1086" y="842"/>
                </a:lnTo>
                <a:lnTo>
                  <a:pt x="1086" y="842"/>
                </a:lnTo>
                <a:lnTo>
                  <a:pt x="1080" y="846"/>
                </a:lnTo>
                <a:lnTo>
                  <a:pt x="1076" y="849"/>
                </a:lnTo>
                <a:lnTo>
                  <a:pt x="1074" y="853"/>
                </a:lnTo>
                <a:lnTo>
                  <a:pt x="1073" y="857"/>
                </a:lnTo>
                <a:lnTo>
                  <a:pt x="1071" y="863"/>
                </a:lnTo>
                <a:lnTo>
                  <a:pt x="1069" y="867"/>
                </a:lnTo>
                <a:lnTo>
                  <a:pt x="1065" y="872"/>
                </a:lnTo>
                <a:lnTo>
                  <a:pt x="1063" y="876"/>
                </a:lnTo>
                <a:lnTo>
                  <a:pt x="1063" y="876"/>
                </a:lnTo>
                <a:lnTo>
                  <a:pt x="1057" y="884"/>
                </a:lnTo>
                <a:lnTo>
                  <a:pt x="1053" y="889"/>
                </a:lnTo>
                <a:lnTo>
                  <a:pt x="1052" y="897"/>
                </a:lnTo>
                <a:lnTo>
                  <a:pt x="1048" y="903"/>
                </a:lnTo>
                <a:lnTo>
                  <a:pt x="1046" y="910"/>
                </a:lnTo>
                <a:lnTo>
                  <a:pt x="1044" y="916"/>
                </a:lnTo>
                <a:lnTo>
                  <a:pt x="1042" y="924"/>
                </a:lnTo>
                <a:lnTo>
                  <a:pt x="1042" y="931"/>
                </a:lnTo>
                <a:lnTo>
                  <a:pt x="1040" y="937"/>
                </a:lnTo>
                <a:lnTo>
                  <a:pt x="1038" y="945"/>
                </a:lnTo>
                <a:lnTo>
                  <a:pt x="1038" y="952"/>
                </a:lnTo>
                <a:lnTo>
                  <a:pt x="1036" y="960"/>
                </a:lnTo>
                <a:lnTo>
                  <a:pt x="1034" y="968"/>
                </a:lnTo>
                <a:lnTo>
                  <a:pt x="1032" y="975"/>
                </a:lnTo>
                <a:lnTo>
                  <a:pt x="1031" y="985"/>
                </a:lnTo>
                <a:lnTo>
                  <a:pt x="1027" y="992"/>
                </a:lnTo>
                <a:lnTo>
                  <a:pt x="1027" y="992"/>
                </a:lnTo>
                <a:lnTo>
                  <a:pt x="1025" y="994"/>
                </a:lnTo>
                <a:lnTo>
                  <a:pt x="1021" y="994"/>
                </a:lnTo>
                <a:lnTo>
                  <a:pt x="1013" y="996"/>
                </a:lnTo>
                <a:lnTo>
                  <a:pt x="1006" y="998"/>
                </a:lnTo>
                <a:lnTo>
                  <a:pt x="998" y="1000"/>
                </a:lnTo>
                <a:lnTo>
                  <a:pt x="992" y="1004"/>
                </a:lnTo>
                <a:lnTo>
                  <a:pt x="989" y="1010"/>
                </a:lnTo>
                <a:lnTo>
                  <a:pt x="987" y="1019"/>
                </a:lnTo>
                <a:lnTo>
                  <a:pt x="987" y="1019"/>
                </a:lnTo>
                <a:lnTo>
                  <a:pt x="987" y="1023"/>
                </a:lnTo>
                <a:lnTo>
                  <a:pt x="987" y="1027"/>
                </a:lnTo>
                <a:lnTo>
                  <a:pt x="987" y="1031"/>
                </a:lnTo>
                <a:lnTo>
                  <a:pt x="987" y="1033"/>
                </a:lnTo>
                <a:lnTo>
                  <a:pt x="987" y="1036"/>
                </a:lnTo>
                <a:lnTo>
                  <a:pt x="987" y="1038"/>
                </a:lnTo>
                <a:lnTo>
                  <a:pt x="987" y="1040"/>
                </a:lnTo>
                <a:lnTo>
                  <a:pt x="987" y="1042"/>
                </a:lnTo>
                <a:lnTo>
                  <a:pt x="987" y="1042"/>
                </a:lnTo>
                <a:lnTo>
                  <a:pt x="983" y="1052"/>
                </a:lnTo>
                <a:lnTo>
                  <a:pt x="981" y="1059"/>
                </a:lnTo>
                <a:lnTo>
                  <a:pt x="977" y="1067"/>
                </a:lnTo>
                <a:lnTo>
                  <a:pt x="975" y="1073"/>
                </a:lnTo>
                <a:lnTo>
                  <a:pt x="973" y="1080"/>
                </a:lnTo>
                <a:lnTo>
                  <a:pt x="971" y="1088"/>
                </a:lnTo>
                <a:lnTo>
                  <a:pt x="969" y="1095"/>
                </a:lnTo>
                <a:lnTo>
                  <a:pt x="968" y="1105"/>
                </a:lnTo>
                <a:lnTo>
                  <a:pt x="968" y="1105"/>
                </a:lnTo>
                <a:lnTo>
                  <a:pt x="968" y="1113"/>
                </a:lnTo>
                <a:lnTo>
                  <a:pt x="968" y="1120"/>
                </a:lnTo>
                <a:lnTo>
                  <a:pt x="968" y="1128"/>
                </a:lnTo>
                <a:lnTo>
                  <a:pt x="968" y="1136"/>
                </a:lnTo>
                <a:lnTo>
                  <a:pt x="968" y="1141"/>
                </a:lnTo>
                <a:lnTo>
                  <a:pt x="968" y="1147"/>
                </a:lnTo>
                <a:lnTo>
                  <a:pt x="968" y="1153"/>
                </a:lnTo>
                <a:lnTo>
                  <a:pt x="968" y="1158"/>
                </a:lnTo>
                <a:lnTo>
                  <a:pt x="968" y="1158"/>
                </a:lnTo>
                <a:lnTo>
                  <a:pt x="968" y="1166"/>
                </a:lnTo>
                <a:lnTo>
                  <a:pt x="966" y="1172"/>
                </a:lnTo>
                <a:lnTo>
                  <a:pt x="962" y="1176"/>
                </a:lnTo>
                <a:lnTo>
                  <a:pt x="958" y="1179"/>
                </a:lnTo>
                <a:lnTo>
                  <a:pt x="952" y="1181"/>
                </a:lnTo>
                <a:lnTo>
                  <a:pt x="947" y="1185"/>
                </a:lnTo>
                <a:lnTo>
                  <a:pt x="941" y="1187"/>
                </a:lnTo>
                <a:lnTo>
                  <a:pt x="935" y="1187"/>
                </a:lnTo>
                <a:lnTo>
                  <a:pt x="928" y="1189"/>
                </a:lnTo>
                <a:lnTo>
                  <a:pt x="922" y="1191"/>
                </a:lnTo>
                <a:lnTo>
                  <a:pt x="916" y="1191"/>
                </a:lnTo>
                <a:lnTo>
                  <a:pt x="912" y="1193"/>
                </a:lnTo>
                <a:lnTo>
                  <a:pt x="907" y="1195"/>
                </a:lnTo>
                <a:lnTo>
                  <a:pt x="905" y="1198"/>
                </a:lnTo>
                <a:lnTo>
                  <a:pt x="903" y="1202"/>
                </a:lnTo>
                <a:lnTo>
                  <a:pt x="901" y="1208"/>
                </a:lnTo>
                <a:lnTo>
                  <a:pt x="901" y="1208"/>
                </a:lnTo>
                <a:lnTo>
                  <a:pt x="901" y="1210"/>
                </a:lnTo>
                <a:lnTo>
                  <a:pt x="899" y="1214"/>
                </a:lnTo>
                <a:lnTo>
                  <a:pt x="897" y="1216"/>
                </a:lnTo>
                <a:lnTo>
                  <a:pt x="895" y="1218"/>
                </a:lnTo>
                <a:lnTo>
                  <a:pt x="893" y="1219"/>
                </a:lnTo>
                <a:lnTo>
                  <a:pt x="891" y="1223"/>
                </a:lnTo>
                <a:lnTo>
                  <a:pt x="889" y="1225"/>
                </a:lnTo>
                <a:lnTo>
                  <a:pt x="889" y="1229"/>
                </a:lnTo>
                <a:lnTo>
                  <a:pt x="889" y="1229"/>
                </a:lnTo>
                <a:lnTo>
                  <a:pt x="891" y="1235"/>
                </a:lnTo>
                <a:lnTo>
                  <a:pt x="893" y="1239"/>
                </a:lnTo>
                <a:lnTo>
                  <a:pt x="899" y="1240"/>
                </a:lnTo>
                <a:lnTo>
                  <a:pt x="907" y="1240"/>
                </a:lnTo>
                <a:lnTo>
                  <a:pt x="914" y="1240"/>
                </a:lnTo>
                <a:lnTo>
                  <a:pt x="920" y="1240"/>
                </a:lnTo>
                <a:lnTo>
                  <a:pt x="928" y="1240"/>
                </a:lnTo>
                <a:lnTo>
                  <a:pt x="933" y="1242"/>
                </a:lnTo>
                <a:lnTo>
                  <a:pt x="933" y="1242"/>
                </a:lnTo>
                <a:lnTo>
                  <a:pt x="939" y="1246"/>
                </a:lnTo>
                <a:lnTo>
                  <a:pt x="945" y="1250"/>
                </a:lnTo>
                <a:lnTo>
                  <a:pt x="950" y="1256"/>
                </a:lnTo>
                <a:lnTo>
                  <a:pt x="958" y="1260"/>
                </a:lnTo>
                <a:lnTo>
                  <a:pt x="964" y="1265"/>
                </a:lnTo>
                <a:lnTo>
                  <a:pt x="971" y="1271"/>
                </a:lnTo>
                <a:lnTo>
                  <a:pt x="977" y="1277"/>
                </a:lnTo>
                <a:lnTo>
                  <a:pt x="983" y="1282"/>
                </a:lnTo>
                <a:lnTo>
                  <a:pt x="990" y="1290"/>
                </a:lnTo>
                <a:lnTo>
                  <a:pt x="996" y="1296"/>
                </a:lnTo>
                <a:lnTo>
                  <a:pt x="1002" y="1302"/>
                </a:lnTo>
                <a:lnTo>
                  <a:pt x="1008" y="1307"/>
                </a:lnTo>
                <a:lnTo>
                  <a:pt x="1013" y="1315"/>
                </a:lnTo>
                <a:lnTo>
                  <a:pt x="1019" y="1321"/>
                </a:lnTo>
                <a:lnTo>
                  <a:pt x="1023" y="1326"/>
                </a:lnTo>
                <a:lnTo>
                  <a:pt x="1027" y="1332"/>
                </a:lnTo>
                <a:lnTo>
                  <a:pt x="1027" y="1332"/>
                </a:lnTo>
                <a:lnTo>
                  <a:pt x="1031" y="1336"/>
                </a:lnTo>
                <a:lnTo>
                  <a:pt x="1032" y="1340"/>
                </a:lnTo>
                <a:lnTo>
                  <a:pt x="1034" y="1345"/>
                </a:lnTo>
                <a:lnTo>
                  <a:pt x="1036" y="1351"/>
                </a:lnTo>
                <a:lnTo>
                  <a:pt x="1038" y="1355"/>
                </a:lnTo>
                <a:lnTo>
                  <a:pt x="1040" y="1361"/>
                </a:lnTo>
                <a:lnTo>
                  <a:pt x="1040" y="1366"/>
                </a:lnTo>
                <a:lnTo>
                  <a:pt x="1042" y="1372"/>
                </a:lnTo>
                <a:lnTo>
                  <a:pt x="1042" y="1376"/>
                </a:lnTo>
                <a:lnTo>
                  <a:pt x="1044" y="1382"/>
                </a:lnTo>
                <a:lnTo>
                  <a:pt x="1046" y="1387"/>
                </a:lnTo>
                <a:lnTo>
                  <a:pt x="1046" y="1391"/>
                </a:lnTo>
                <a:lnTo>
                  <a:pt x="1050" y="1397"/>
                </a:lnTo>
                <a:lnTo>
                  <a:pt x="1052" y="1403"/>
                </a:lnTo>
                <a:lnTo>
                  <a:pt x="1053" y="1406"/>
                </a:lnTo>
                <a:lnTo>
                  <a:pt x="1057" y="1412"/>
                </a:lnTo>
                <a:lnTo>
                  <a:pt x="1057" y="1412"/>
                </a:lnTo>
                <a:lnTo>
                  <a:pt x="1061" y="1416"/>
                </a:lnTo>
                <a:lnTo>
                  <a:pt x="1065" y="1418"/>
                </a:lnTo>
                <a:lnTo>
                  <a:pt x="1071" y="1420"/>
                </a:lnTo>
                <a:lnTo>
                  <a:pt x="1074" y="1422"/>
                </a:lnTo>
                <a:lnTo>
                  <a:pt x="1080" y="1422"/>
                </a:lnTo>
                <a:lnTo>
                  <a:pt x="1086" y="1422"/>
                </a:lnTo>
                <a:lnTo>
                  <a:pt x="1092" y="1422"/>
                </a:lnTo>
                <a:lnTo>
                  <a:pt x="1099" y="1424"/>
                </a:lnTo>
                <a:lnTo>
                  <a:pt x="1099" y="1424"/>
                </a:lnTo>
                <a:lnTo>
                  <a:pt x="1105" y="1427"/>
                </a:lnTo>
                <a:lnTo>
                  <a:pt x="1109" y="1431"/>
                </a:lnTo>
                <a:lnTo>
                  <a:pt x="1113" y="1437"/>
                </a:lnTo>
                <a:lnTo>
                  <a:pt x="1114" y="1445"/>
                </a:lnTo>
                <a:lnTo>
                  <a:pt x="1116" y="1452"/>
                </a:lnTo>
                <a:lnTo>
                  <a:pt x="1116" y="1460"/>
                </a:lnTo>
                <a:lnTo>
                  <a:pt x="1116" y="1467"/>
                </a:lnTo>
                <a:lnTo>
                  <a:pt x="1116" y="1473"/>
                </a:lnTo>
                <a:lnTo>
                  <a:pt x="1116" y="1473"/>
                </a:lnTo>
                <a:lnTo>
                  <a:pt x="1116" y="1475"/>
                </a:lnTo>
                <a:lnTo>
                  <a:pt x="1116" y="1477"/>
                </a:lnTo>
                <a:lnTo>
                  <a:pt x="1118" y="1481"/>
                </a:lnTo>
                <a:lnTo>
                  <a:pt x="1118" y="1483"/>
                </a:lnTo>
                <a:lnTo>
                  <a:pt x="1120" y="1485"/>
                </a:lnTo>
                <a:lnTo>
                  <a:pt x="1120" y="1487"/>
                </a:lnTo>
                <a:lnTo>
                  <a:pt x="1122" y="1490"/>
                </a:lnTo>
                <a:lnTo>
                  <a:pt x="1122" y="1490"/>
                </a:lnTo>
                <a:lnTo>
                  <a:pt x="1004" y="1490"/>
                </a:lnTo>
                <a:lnTo>
                  <a:pt x="1004" y="1490"/>
                </a:lnTo>
                <a:lnTo>
                  <a:pt x="1002" y="1494"/>
                </a:lnTo>
                <a:lnTo>
                  <a:pt x="998" y="1500"/>
                </a:lnTo>
                <a:lnTo>
                  <a:pt x="992" y="1504"/>
                </a:lnTo>
                <a:lnTo>
                  <a:pt x="989" y="1509"/>
                </a:lnTo>
                <a:lnTo>
                  <a:pt x="983" y="1515"/>
                </a:lnTo>
                <a:lnTo>
                  <a:pt x="977" y="1521"/>
                </a:lnTo>
                <a:lnTo>
                  <a:pt x="971" y="1527"/>
                </a:lnTo>
                <a:lnTo>
                  <a:pt x="966" y="1532"/>
                </a:lnTo>
                <a:lnTo>
                  <a:pt x="960" y="1538"/>
                </a:lnTo>
                <a:lnTo>
                  <a:pt x="954" y="1544"/>
                </a:lnTo>
                <a:lnTo>
                  <a:pt x="949" y="1550"/>
                </a:lnTo>
                <a:lnTo>
                  <a:pt x="943" y="1553"/>
                </a:lnTo>
                <a:lnTo>
                  <a:pt x="937" y="1557"/>
                </a:lnTo>
                <a:lnTo>
                  <a:pt x="933" y="1559"/>
                </a:lnTo>
                <a:lnTo>
                  <a:pt x="928" y="1561"/>
                </a:lnTo>
                <a:lnTo>
                  <a:pt x="924" y="1561"/>
                </a:lnTo>
                <a:lnTo>
                  <a:pt x="924" y="1561"/>
                </a:lnTo>
                <a:lnTo>
                  <a:pt x="920" y="1561"/>
                </a:lnTo>
                <a:lnTo>
                  <a:pt x="916" y="1561"/>
                </a:lnTo>
                <a:lnTo>
                  <a:pt x="912" y="1561"/>
                </a:lnTo>
                <a:lnTo>
                  <a:pt x="908" y="1561"/>
                </a:lnTo>
                <a:lnTo>
                  <a:pt x="905" y="1561"/>
                </a:lnTo>
                <a:lnTo>
                  <a:pt x="903" y="1561"/>
                </a:lnTo>
                <a:lnTo>
                  <a:pt x="899" y="1561"/>
                </a:lnTo>
                <a:lnTo>
                  <a:pt x="897" y="1561"/>
                </a:lnTo>
                <a:lnTo>
                  <a:pt x="897" y="1561"/>
                </a:lnTo>
                <a:lnTo>
                  <a:pt x="893" y="1561"/>
                </a:lnTo>
                <a:lnTo>
                  <a:pt x="891" y="1563"/>
                </a:lnTo>
                <a:lnTo>
                  <a:pt x="887" y="1563"/>
                </a:lnTo>
                <a:lnTo>
                  <a:pt x="884" y="1565"/>
                </a:lnTo>
                <a:lnTo>
                  <a:pt x="878" y="1565"/>
                </a:lnTo>
                <a:lnTo>
                  <a:pt x="874" y="1567"/>
                </a:lnTo>
                <a:lnTo>
                  <a:pt x="870" y="1569"/>
                </a:lnTo>
                <a:lnTo>
                  <a:pt x="866" y="1569"/>
                </a:lnTo>
                <a:lnTo>
                  <a:pt x="863" y="1571"/>
                </a:lnTo>
                <a:lnTo>
                  <a:pt x="857" y="1572"/>
                </a:lnTo>
                <a:lnTo>
                  <a:pt x="853" y="1572"/>
                </a:lnTo>
                <a:lnTo>
                  <a:pt x="849" y="1574"/>
                </a:lnTo>
                <a:lnTo>
                  <a:pt x="844" y="1576"/>
                </a:lnTo>
                <a:lnTo>
                  <a:pt x="840" y="1576"/>
                </a:lnTo>
                <a:lnTo>
                  <a:pt x="834" y="1576"/>
                </a:lnTo>
                <a:lnTo>
                  <a:pt x="830" y="1576"/>
                </a:lnTo>
                <a:lnTo>
                  <a:pt x="830" y="1576"/>
                </a:lnTo>
                <a:lnTo>
                  <a:pt x="825" y="1576"/>
                </a:lnTo>
                <a:lnTo>
                  <a:pt x="819" y="1574"/>
                </a:lnTo>
                <a:lnTo>
                  <a:pt x="815" y="1572"/>
                </a:lnTo>
                <a:lnTo>
                  <a:pt x="809" y="1571"/>
                </a:lnTo>
                <a:lnTo>
                  <a:pt x="804" y="1569"/>
                </a:lnTo>
                <a:lnTo>
                  <a:pt x="798" y="1567"/>
                </a:lnTo>
                <a:lnTo>
                  <a:pt x="790" y="1565"/>
                </a:lnTo>
                <a:lnTo>
                  <a:pt x="783" y="1565"/>
                </a:lnTo>
                <a:lnTo>
                  <a:pt x="783" y="1565"/>
                </a:lnTo>
                <a:lnTo>
                  <a:pt x="775" y="1565"/>
                </a:lnTo>
                <a:lnTo>
                  <a:pt x="769" y="1567"/>
                </a:lnTo>
                <a:lnTo>
                  <a:pt x="763" y="1567"/>
                </a:lnTo>
                <a:lnTo>
                  <a:pt x="758" y="1569"/>
                </a:lnTo>
                <a:lnTo>
                  <a:pt x="754" y="1571"/>
                </a:lnTo>
                <a:lnTo>
                  <a:pt x="748" y="1572"/>
                </a:lnTo>
                <a:lnTo>
                  <a:pt x="744" y="1574"/>
                </a:lnTo>
                <a:lnTo>
                  <a:pt x="741" y="1576"/>
                </a:lnTo>
                <a:lnTo>
                  <a:pt x="737" y="1580"/>
                </a:lnTo>
                <a:lnTo>
                  <a:pt x="733" y="1582"/>
                </a:lnTo>
                <a:lnTo>
                  <a:pt x="729" y="1584"/>
                </a:lnTo>
                <a:lnTo>
                  <a:pt x="727" y="1586"/>
                </a:lnTo>
                <a:lnTo>
                  <a:pt x="723" y="1586"/>
                </a:lnTo>
                <a:lnTo>
                  <a:pt x="720" y="1588"/>
                </a:lnTo>
                <a:lnTo>
                  <a:pt x="716" y="1588"/>
                </a:lnTo>
                <a:lnTo>
                  <a:pt x="712" y="1590"/>
                </a:lnTo>
                <a:lnTo>
                  <a:pt x="712" y="1590"/>
                </a:lnTo>
                <a:lnTo>
                  <a:pt x="706" y="1588"/>
                </a:lnTo>
                <a:lnTo>
                  <a:pt x="704" y="1586"/>
                </a:lnTo>
                <a:lnTo>
                  <a:pt x="702" y="1582"/>
                </a:lnTo>
                <a:lnTo>
                  <a:pt x="701" y="1578"/>
                </a:lnTo>
                <a:lnTo>
                  <a:pt x="701" y="1574"/>
                </a:lnTo>
                <a:lnTo>
                  <a:pt x="701" y="1571"/>
                </a:lnTo>
                <a:lnTo>
                  <a:pt x="701" y="1569"/>
                </a:lnTo>
                <a:lnTo>
                  <a:pt x="701" y="1565"/>
                </a:lnTo>
                <a:lnTo>
                  <a:pt x="701" y="1565"/>
                </a:lnTo>
                <a:lnTo>
                  <a:pt x="699" y="1563"/>
                </a:lnTo>
                <a:lnTo>
                  <a:pt x="695" y="1561"/>
                </a:lnTo>
                <a:lnTo>
                  <a:pt x="693" y="1561"/>
                </a:lnTo>
                <a:lnTo>
                  <a:pt x="689" y="1561"/>
                </a:lnTo>
                <a:lnTo>
                  <a:pt x="687" y="1561"/>
                </a:lnTo>
                <a:lnTo>
                  <a:pt x="683" y="1559"/>
                </a:lnTo>
                <a:lnTo>
                  <a:pt x="680" y="1559"/>
                </a:lnTo>
                <a:lnTo>
                  <a:pt x="676" y="1559"/>
                </a:lnTo>
                <a:lnTo>
                  <a:pt x="676" y="1559"/>
                </a:lnTo>
                <a:lnTo>
                  <a:pt x="668" y="1553"/>
                </a:lnTo>
                <a:lnTo>
                  <a:pt x="662" y="1548"/>
                </a:lnTo>
                <a:lnTo>
                  <a:pt x="657" y="1538"/>
                </a:lnTo>
                <a:lnTo>
                  <a:pt x="651" y="1529"/>
                </a:lnTo>
                <a:lnTo>
                  <a:pt x="645" y="1521"/>
                </a:lnTo>
                <a:lnTo>
                  <a:pt x="638" y="1513"/>
                </a:lnTo>
                <a:lnTo>
                  <a:pt x="630" y="1509"/>
                </a:lnTo>
                <a:lnTo>
                  <a:pt x="620" y="1506"/>
                </a:lnTo>
                <a:lnTo>
                  <a:pt x="620" y="1506"/>
                </a:lnTo>
                <a:lnTo>
                  <a:pt x="617" y="1508"/>
                </a:lnTo>
                <a:lnTo>
                  <a:pt x="613" y="1509"/>
                </a:lnTo>
                <a:lnTo>
                  <a:pt x="611" y="1513"/>
                </a:lnTo>
                <a:lnTo>
                  <a:pt x="607" y="1515"/>
                </a:lnTo>
                <a:lnTo>
                  <a:pt x="605" y="1519"/>
                </a:lnTo>
                <a:lnTo>
                  <a:pt x="603" y="1523"/>
                </a:lnTo>
                <a:lnTo>
                  <a:pt x="599" y="1525"/>
                </a:lnTo>
                <a:lnTo>
                  <a:pt x="596" y="1527"/>
                </a:lnTo>
                <a:lnTo>
                  <a:pt x="596" y="1527"/>
                </a:lnTo>
                <a:lnTo>
                  <a:pt x="590" y="1525"/>
                </a:lnTo>
                <a:lnTo>
                  <a:pt x="584" y="1525"/>
                </a:lnTo>
                <a:lnTo>
                  <a:pt x="580" y="1523"/>
                </a:lnTo>
                <a:lnTo>
                  <a:pt x="575" y="1521"/>
                </a:lnTo>
                <a:lnTo>
                  <a:pt x="569" y="1521"/>
                </a:lnTo>
                <a:lnTo>
                  <a:pt x="563" y="1519"/>
                </a:lnTo>
                <a:lnTo>
                  <a:pt x="557" y="1519"/>
                </a:lnTo>
                <a:lnTo>
                  <a:pt x="552" y="1519"/>
                </a:lnTo>
                <a:lnTo>
                  <a:pt x="552" y="1519"/>
                </a:lnTo>
                <a:lnTo>
                  <a:pt x="546" y="1519"/>
                </a:lnTo>
                <a:lnTo>
                  <a:pt x="542" y="1521"/>
                </a:lnTo>
                <a:lnTo>
                  <a:pt x="538" y="1523"/>
                </a:lnTo>
                <a:lnTo>
                  <a:pt x="535" y="1525"/>
                </a:lnTo>
                <a:lnTo>
                  <a:pt x="533" y="1527"/>
                </a:lnTo>
                <a:lnTo>
                  <a:pt x="529" y="1530"/>
                </a:lnTo>
                <a:lnTo>
                  <a:pt x="525" y="1532"/>
                </a:lnTo>
                <a:lnTo>
                  <a:pt x="519" y="1532"/>
                </a:lnTo>
                <a:lnTo>
                  <a:pt x="519" y="1532"/>
                </a:lnTo>
                <a:lnTo>
                  <a:pt x="510" y="1530"/>
                </a:lnTo>
                <a:lnTo>
                  <a:pt x="502" y="1529"/>
                </a:lnTo>
                <a:lnTo>
                  <a:pt x="496" y="1525"/>
                </a:lnTo>
                <a:lnTo>
                  <a:pt x="491" y="1519"/>
                </a:lnTo>
                <a:lnTo>
                  <a:pt x="487" y="1511"/>
                </a:lnTo>
                <a:lnTo>
                  <a:pt x="483" y="1506"/>
                </a:lnTo>
                <a:lnTo>
                  <a:pt x="479" y="1500"/>
                </a:lnTo>
                <a:lnTo>
                  <a:pt x="475" y="1494"/>
                </a:lnTo>
                <a:lnTo>
                  <a:pt x="475" y="1494"/>
                </a:lnTo>
                <a:lnTo>
                  <a:pt x="472" y="1490"/>
                </a:lnTo>
                <a:lnTo>
                  <a:pt x="466" y="1485"/>
                </a:lnTo>
                <a:lnTo>
                  <a:pt x="462" y="1483"/>
                </a:lnTo>
                <a:lnTo>
                  <a:pt x="454" y="1479"/>
                </a:lnTo>
                <a:lnTo>
                  <a:pt x="451" y="1475"/>
                </a:lnTo>
                <a:lnTo>
                  <a:pt x="445" y="1473"/>
                </a:lnTo>
                <a:lnTo>
                  <a:pt x="441" y="1471"/>
                </a:lnTo>
                <a:lnTo>
                  <a:pt x="437" y="1467"/>
                </a:lnTo>
                <a:lnTo>
                  <a:pt x="437" y="1467"/>
                </a:lnTo>
                <a:lnTo>
                  <a:pt x="433" y="1464"/>
                </a:lnTo>
                <a:lnTo>
                  <a:pt x="433" y="1460"/>
                </a:lnTo>
                <a:lnTo>
                  <a:pt x="433" y="1454"/>
                </a:lnTo>
                <a:lnTo>
                  <a:pt x="433" y="1450"/>
                </a:lnTo>
                <a:lnTo>
                  <a:pt x="433" y="1445"/>
                </a:lnTo>
                <a:lnTo>
                  <a:pt x="435" y="1441"/>
                </a:lnTo>
                <a:lnTo>
                  <a:pt x="435" y="1435"/>
                </a:lnTo>
                <a:lnTo>
                  <a:pt x="433" y="1431"/>
                </a:lnTo>
                <a:lnTo>
                  <a:pt x="433" y="1431"/>
                </a:lnTo>
                <a:lnTo>
                  <a:pt x="430" y="1426"/>
                </a:lnTo>
                <a:lnTo>
                  <a:pt x="426" y="1420"/>
                </a:lnTo>
                <a:lnTo>
                  <a:pt x="420" y="1416"/>
                </a:lnTo>
                <a:lnTo>
                  <a:pt x="414" y="1412"/>
                </a:lnTo>
                <a:lnTo>
                  <a:pt x="407" y="1408"/>
                </a:lnTo>
                <a:lnTo>
                  <a:pt x="401" y="1405"/>
                </a:lnTo>
                <a:lnTo>
                  <a:pt x="393" y="1403"/>
                </a:lnTo>
                <a:lnTo>
                  <a:pt x="388" y="1401"/>
                </a:lnTo>
                <a:lnTo>
                  <a:pt x="388" y="1401"/>
                </a:lnTo>
                <a:lnTo>
                  <a:pt x="382" y="1397"/>
                </a:lnTo>
                <a:lnTo>
                  <a:pt x="378" y="1395"/>
                </a:lnTo>
                <a:lnTo>
                  <a:pt x="374" y="1391"/>
                </a:lnTo>
                <a:lnTo>
                  <a:pt x="371" y="1385"/>
                </a:lnTo>
                <a:lnTo>
                  <a:pt x="369" y="1382"/>
                </a:lnTo>
                <a:lnTo>
                  <a:pt x="367" y="1376"/>
                </a:lnTo>
                <a:lnTo>
                  <a:pt x="365" y="1370"/>
                </a:lnTo>
                <a:lnTo>
                  <a:pt x="363" y="1364"/>
                </a:lnTo>
                <a:lnTo>
                  <a:pt x="361" y="1359"/>
                </a:lnTo>
                <a:lnTo>
                  <a:pt x="359" y="1353"/>
                </a:lnTo>
                <a:lnTo>
                  <a:pt x="357" y="1349"/>
                </a:lnTo>
                <a:lnTo>
                  <a:pt x="355" y="1343"/>
                </a:lnTo>
                <a:lnTo>
                  <a:pt x="353" y="1338"/>
                </a:lnTo>
                <a:lnTo>
                  <a:pt x="350" y="1334"/>
                </a:lnTo>
                <a:lnTo>
                  <a:pt x="346" y="1330"/>
                </a:lnTo>
                <a:lnTo>
                  <a:pt x="342" y="1326"/>
                </a:lnTo>
                <a:lnTo>
                  <a:pt x="342" y="1326"/>
                </a:lnTo>
                <a:lnTo>
                  <a:pt x="338" y="1323"/>
                </a:lnTo>
                <a:lnTo>
                  <a:pt x="334" y="1321"/>
                </a:lnTo>
                <a:lnTo>
                  <a:pt x="329" y="1317"/>
                </a:lnTo>
                <a:lnTo>
                  <a:pt x="323" y="1313"/>
                </a:lnTo>
                <a:lnTo>
                  <a:pt x="317" y="1309"/>
                </a:lnTo>
                <a:lnTo>
                  <a:pt x="311" y="1307"/>
                </a:lnTo>
                <a:lnTo>
                  <a:pt x="304" y="1303"/>
                </a:lnTo>
                <a:lnTo>
                  <a:pt x="298" y="1300"/>
                </a:lnTo>
                <a:lnTo>
                  <a:pt x="292" y="1296"/>
                </a:lnTo>
                <a:lnTo>
                  <a:pt x="287" y="1292"/>
                </a:lnTo>
                <a:lnTo>
                  <a:pt x="283" y="1288"/>
                </a:lnTo>
                <a:lnTo>
                  <a:pt x="277" y="1284"/>
                </a:lnTo>
                <a:lnTo>
                  <a:pt x="273" y="1281"/>
                </a:lnTo>
                <a:lnTo>
                  <a:pt x="271" y="1277"/>
                </a:lnTo>
                <a:lnTo>
                  <a:pt x="269" y="1273"/>
                </a:lnTo>
                <a:lnTo>
                  <a:pt x="269" y="1269"/>
                </a:lnTo>
                <a:lnTo>
                  <a:pt x="269" y="1269"/>
                </a:lnTo>
                <a:lnTo>
                  <a:pt x="269" y="1265"/>
                </a:lnTo>
                <a:lnTo>
                  <a:pt x="269" y="1263"/>
                </a:lnTo>
                <a:lnTo>
                  <a:pt x="269" y="1261"/>
                </a:lnTo>
                <a:lnTo>
                  <a:pt x="269" y="1260"/>
                </a:lnTo>
                <a:lnTo>
                  <a:pt x="269" y="1258"/>
                </a:lnTo>
                <a:lnTo>
                  <a:pt x="269" y="1258"/>
                </a:lnTo>
                <a:lnTo>
                  <a:pt x="269" y="1256"/>
                </a:lnTo>
                <a:lnTo>
                  <a:pt x="269" y="1252"/>
                </a:lnTo>
                <a:lnTo>
                  <a:pt x="269" y="1252"/>
                </a:lnTo>
                <a:lnTo>
                  <a:pt x="268" y="1246"/>
                </a:lnTo>
                <a:lnTo>
                  <a:pt x="266" y="1242"/>
                </a:lnTo>
                <a:lnTo>
                  <a:pt x="260" y="1239"/>
                </a:lnTo>
                <a:lnTo>
                  <a:pt x="254" y="1235"/>
                </a:lnTo>
                <a:lnTo>
                  <a:pt x="248" y="1233"/>
                </a:lnTo>
                <a:lnTo>
                  <a:pt x="241" y="1231"/>
                </a:lnTo>
                <a:lnTo>
                  <a:pt x="231" y="1229"/>
                </a:lnTo>
                <a:lnTo>
                  <a:pt x="224" y="1227"/>
                </a:lnTo>
                <a:lnTo>
                  <a:pt x="216" y="1225"/>
                </a:lnTo>
                <a:lnTo>
                  <a:pt x="208" y="1221"/>
                </a:lnTo>
                <a:lnTo>
                  <a:pt x="201" y="1219"/>
                </a:lnTo>
                <a:lnTo>
                  <a:pt x="195" y="1218"/>
                </a:lnTo>
                <a:lnTo>
                  <a:pt x="191" y="1214"/>
                </a:lnTo>
                <a:lnTo>
                  <a:pt x="187" y="1210"/>
                </a:lnTo>
                <a:lnTo>
                  <a:pt x="187" y="1204"/>
                </a:lnTo>
                <a:lnTo>
                  <a:pt x="189" y="1198"/>
                </a:lnTo>
                <a:lnTo>
                  <a:pt x="189" y="1183"/>
                </a:lnTo>
                <a:lnTo>
                  <a:pt x="189" y="1183"/>
                </a:lnTo>
                <a:lnTo>
                  <a:pt x="184" y="1183"/>
                </a:lnTo>
                <a:lnTo>
                  <a:pt x="178" y="1183"/>
                </a:lnTo>
                <a:lnTo>
                  <a:pt x="174" y="1183"/>
                </a:lnTo>
                <a:lnTo>
                  <a:pt x="170" y="1183"/>
                </a:lnTo>
                <a:lnTo>
                  <a:pt x="166" y="1183"/>
                </a:lnTo>
                <a:lnTo>
                  <a:pt x="163" y="1183"/>
                </a:lnTo>
                <a:lnTo>
                  <a:pt x="161" y="1183"/>
                </a:lnTo>
                <a:lnTo>
                  <a:pt x="157" y="1183"/>
                </a:lnTo>
                <a:lnTo>
                  <a:pt x="157" y="1183"/>
                </a:lnTo>
                <a:lnTo>
                  <a:pt x="151" y="1183"/>
                </a:lnTo>
                <a:lnTo>
                  <a:pt x="147" y="1181"/>
                </a:lnTo>
                <a:lnTo>
                  <a:pt x="142" y="1178"/>
                </a:lnTo>
                <a:lnTo>
                  <a:pt x="138" y="1174"/>
                </a:lnTo>
                <a:lnTo>
                  <a:pt x="136" y="1168"/>
                </a:lnTo>
                <a:lnTo>
                  <a:pt x="132" y="1162"/>
                </a:lnTo>
                <a:lnTo>
                  <a:pt x="130" y="1157"/>
                </a:lnTo>
                <a:lnTo>
                  <a:pt x="130" y="1149"/>
                </a:lnTo>
                <a:lnTo>
                  <a:pt x="130" y="1149"/>
                </a:lnTo>
                <a:lnTo>
                  <a:pt x="130" y="1143"/>
                </a:lnTo>
                <a:lnTo>
                  <a:pt x="132" y="1137"/>
                </a:lnTo>
                <a:lnTo>
                  <a:pt x="136" y="1134"/>
                </a:lnTo>
                <a:lnTo>
                  <a:pt x="138" y="1130"/>
                </a:lnTo>
                <a:lnTo>
                  <a:pt x="142" y="1126"/>
                </a:lnTo>
                <a:lnTo>
                  <a:pt x="145" y="1120"/>
                </a:lnTo>
                <a:lnTo>
                  <a:pt x="147" y="1116"/>
                </a:lnTo>
                <a:lnTo>
                  <a:pt x="147" y="1111"/>
                </a:lnTo>
                <a:lnTo>
                  <a:pt x="147" y="1111"/>
                </a:lnTo>
                <a:lnTo>
                  <a:pt x="147" y="1103"/>
                </a:lnTo>
                <a:lnTo>
                  <a:pt x="145" y="1095"/>
                </a:lnTo>
                <a:lnTo>
                  <a:pt x="142" y="1088"/>
                </a:lnTo>
                <a:lnTo>
                  <a:pt x="138" y="1080"/>
                </a:lnTo>
                <a:lnTo>
                  <a:pt x="132" y="1073"/>
                </a:lnTo>
                <a:lnTo>
                  <a:pt x="126" y="1067"/>
                </a:lnTo>
                <a:lnTo>
                  <a:pt x="121" y="1059"/>
                </a:lnTo>
                <a:lnTo>
                  <a:pt x="115" y="1054"/>
                </a:lnTo>
                <a:lnTo>
                  <a:pt x="109" y="1046"/>
                </a:lnTo>
                <a:lnTo>
                  <a:pt x="103" y="1040"/>
                </a:lnTo>
                <a:lnTo>
                  <a:pt x="98" y="1034"/>
                </a:lnTo>
                <a:lnTo>
                  <a:pt x="92" y="1029"/>
                </a:lnTo>
                <a:lnTo>
                  <a:pt x="88" y="1021"/>
                </a:lnTo>
                <a:lnTo>
                  <a:pt x="86" y="1015"/>
                </a:lnTo>
                <a:lnTo>
                  <a:pt x="82" y="1010"/>
                </a:lnTo>
                <a:lnTo>
                  <a:pt x="82" y="1004"/>
                </a:lnTo>
                <a:lnTo>
                  <a:pt x="82" y="1004"/>
                </a:lnTo>
                <a:lnTo>
                  <a:pt x="82" y="1002"/>
                </a:lnTo>
                <a:lnTo>
                  <a:pt x="84" y="1000"/>
                </a:lnTo>
                <a:lnTo>
                  <a:pt x="86" y="998"/>
                </a:lnTo>
                <a:lnTo>
                  <a:pt x="88" y="994"/>
                </a:lnTo>
                <a:lnTo>
                  <a:pt x="88" y="994"/>
                </a:lnTo>
                <a:lnTo>
                  <a:pt x="90" y="991"/>
                </a:lnTo>
                <a:lnTo>
                  <a:pt x="92" y="989"/>
                </a:lnTo>
                <a:lnTo>
                  <a:pt x="92" y="987"/>
                </a:lnTo>
                <a:lnTo>
                  <a:pt x="92" y="987"/>
                </a:lnTo>
                <a:lnTo>
                  <a:pt x="92" y="979"/>
                </a:lnTo>
                <a:lnTo>
                  <a:pt x="88" y="973"/>
                </a:lnTo>
                <a:lnTo>
                  <a:pt x="86" y="970"/>
                </a:lnTo>
                <a:lnTo>
                  <a:pt x="82" y="968"/>
                </a:lnTo>
                <a:lnTo>
                  <a:pt x="79" y="964"/>
                </a:lnTo>
                <a:lnTo>
                  <a:pt x="75" y="962"/>
                </a:lnTo>
                <a:lnTo>
                  <a:pt x="71" y="960"/>
                </a:lnTo>
                <a:lnTo>
                  <a:pt x="69" y="956"/>
                </a:lnTo>
                <a:lnTo>
                  <a:pt x="69" y="956"/>
                </a:lnTo>
                <a:lnTo>
                  <a:pt x="65" y="952"/>
                </a:lnTo>
                <a:lnTo>
                  <a:pt x="63" y="945"/>
                </a:lnTo>
                <a:lnTo>
                  <a:pt x="62" y="939"/>
                </a:lnTo>
                <a:lnTo>
                  <a:pt x="60" y="931"/>
                </a:lnTo>
                <a:lnTo>
                  <a:pt x="58" y="924"/>
                </a:lnTo>
                <a:lnTo>
                  <a:pt x="56" y="916"/>
                </a:lnTo>
                <a:lnTo>
                  <a:pt x="54" y="909"/>
                </a:lnTo>
                <a:lnTo>
                  <a:pt x="52" y="901"/>
                </a:lnTo>
                <a:lnTo>
                  <a:pt x="50" y="895"/>
                </a:lnTo>
                <a:lnTo>
                  <a:pt x="48" y="888"/>
                </a:lnTo>
                <a:lnTo>
                  <a:pt x="44" y="882"/>
                </a:lnTo>
                <a:lnTo>
                  <a:pt x="39" y="876"/>
                </a:lnTo>
                <a:lnTo>
                  <a:pt x="35" y="870"/>
                </a:lnTo>
                <a:lnTo>
                  <a:pt x="27" y="868"/>
                </a:lnTo>
                <a:lnTo>
                  <a:pt x="20" y="867"/>
                </a:lnTo>
                <a:lnTo>
                  <a:pt x="12" y="865"/>
                </a:lnTo>
                <a:lnTo>
                  <a:pt x="12" y="865"/>
                </a:lnTo>
                <a:lnTo>
                  <a:pt x="8" y="865"/>
                </a:lnTo>
                <a:lnTo>
                  <a:pt x="6" y="865"/>
                </a:lnTo>
                <a:lnTo>
                  <a:pt x="4" y="863"/>
                </a:lnTo>
                <a:lnTo>
                  <a:pt x="2" y="861"/>
                </a:lnTo>
                <a:lnTo>
                  <a:pt x="0" y="859"/>
                </a:lnTo>
                <a:lnTo>
                  <a:pt x="0" y="857"/>
                </a:lnTo>
                <a:lnTo>
                  <a:pt x="0" y="853"/>
                </a:lnTo>
                <a:lnTo>
                  <a:pt x="0" y="851"/>
                </a:lnTo>
                <a:lnTo>
                  <a:pt x="0" y="851"/>
                </a:lnTo>
                <a:lnTo>
                  <a:pt x="0" y="846"/>
                </a:lnTo>
                <a:lnTo>
                  <a:pt x="2" y="840"/>
                </a:lnTo>
                <a:lnTo>
                  <a:pt x="6" y="836"/>
                </a:lnTo>
                <a:lnTo>
                  <a:pt x="8" y="832"/>
                </a:lnTo>
                <a:lnTo>
                  <a:pt x="12" y="828"/>
                </a:lnTo>
                <a:lnTo>
                  <a:pt x="18" y="825"/>
                </a:lnTo>
                <a:lnTo>
                  <a:pt x="20" y="823"/>
                </a:lnTo>
                <a:lnTo>
                  <a:pt x="23" y="821"/>
                </a:lnTo>
                <a:lnTo>
                  <a:pt x="21" y="821"/>
                </a:lnTo>
                <a:lnTo>
                  <a:pt x="21" y="821"/>
                </a:lnTo>
                <a:lnTo>
                  <a:pt x="23" y="821"/>
                </a:lnTo>
                <a:lnTo>
                  <a:pt x="27" y="819"/>
                </a:lnTo>
                <a:lnTo>
                  <a:pt x="27" y="817"/>
                </a:lnTo>
                <a:lnTo>
                  <a:pt x="29" y="815"/>
                </a:lnTo>
                <a:lnTo>
                  <a:pt x="31" y="813"/>
                </a:lnTo>
                <a:lnTo>
                  <a:pt x="33" y="811"/>
                </a:lnTo>
                <a:lnTo>
                  <a:pt x="33" y="807"/>
                </a:lnTo>
                <a:lnTo>
                  <a:pt x="33" y="806"/>
                </a:lnTo>
                <a:lnTo>
                  <a:pt x="33" y="806"/>
                </a:lnTo>
                <a:lnTo>
                  <a:pt x="33" y="802"/>
                </a:lnTo>
                <a:lnTo>
                  <a:pt x="31" y="798"/>
                </a:lnTo>
                <a:lnTo>
                  <a:pt x="29" y="792"/>
                </a:lnTo>
                <a:lnTo>
                  <a:pt x="29" y="788"/>
                </a:lnTo>
                <a:lnTo>
                  <a:pt x="27" y="786"/>
                </a:lnTo>
                <a:lnTo>
                  <a:pt x="25" y="783"/>
                </a:lnTo>
                <a:lnTo>
                  <a:pt x="23" y="779"/>
                </a:lnTo>
                <a:lnTo>
                  <a:pt x="21" y="777"/>
                </a:lnTo>
                <a:lnTo>
                  <a:pt x="21" y="777"/>
                </a:lnTo>
                <a:lnTo>
                  <a:pt x="25" y="773"/>
                </a:lnTo>
                <a:lnTo>
                  <a:pt x="29" y="771"/>
                </a:lnTo>
                <a:lnTo>
                  <a:pt x="37" y="767"/>
                </a:lnTo>
                <a:lnTo>
                  <a:pt x="42" y="764"/>
                </a:lnTo>
                <a:lnTo>
                  <a:pt x="48" y="758"/>
                </a:lnTo>
                <a:lnTo>
                  <a:pt x="54" y="754"/>
                </a:lnTo>
                <a:lnTo>
                  <a:pt x="58" y="748"/>
                </a:lnTo>
                <a:lnTo>
                  <a:pt x="60" y="744"/>
                </a:lnTo>
                <a:lnTo>
                  <a:pt x="60" y="744"/>
                </a:lnTo>
                <a:lnTo>
                  <a:pt x="58" y="743"/>
                </a:lnTo>
                <a:lnTo>
                  <a:pt x="58" y="739"/>
                </a:lnTo>
                <a:lnTo>
                  <a:pt x="54" y="737"/>
                </a:lnTo>
                <a:lnTo>
                  <a:pt x="52" y="735"/>
                </a:lnTo>
                <a:lnTo>
                  <a:pt x="50" y="731"/>
                </a:lnTo>
                <a:lnTo>
                  <a:pt x="46" y="729"/>
                </a:lnTo>
                <a:lnTo>
                  <a:pt x="44" y="725"/>
                </a:lnTo>
                <a:lnTo>
                  <a:pt x="44" y="722"/>
                </a:lnTo>
                <a:lnTo>
                  <a:pt x="44" y="722"/>
                </a:lnTo>
                <a:lnTo>
                  <a:pt x="44" y="718"/>
                </a:lnTo>
                <a:lnTo>
                  <a:pt x="44" y="716"/>
                </a:lnTo>
                <a:lnTo>
                  <a:pt x="44" y="714"/>
                </a:lnTo>
                <a:lnTo>
                  <a:pt x="44" y="712"/>
                </a:lnTo>
                <a:lnTo>
                  <a:pt x="62" y="708"/>
                </a:lnTo>
                <a:lnTo>
                  <a:pt x="62" y="708"/>
                </a:lnTo>
                <a:lnTo>
                  <a:pt x="65" y="706"/>
                </a:lnTo>
                <a:lnTo>
                  <a:pt x="67" y="702"/>
                </a:lnTo>
                <a:lnTo>
                  <a:pt x="69" y="699"/>
                </a:lnTo>
                <a:lnTo>
                  <a:pt x="71" y="695"/>
                </a:lnTo>
                <a:lnTo>
                  <a:pt x="73" y="691"/>
                </a:lnTo>
                <a:lnTo>
                  <a:pt x="75" y="685"/>
                </a:lnTo>
                <a:lnTo>
                  <a:pt x="77" y="682"/>
                </a:lnTo>
                <a:lnTo>
                  <a:pt x="79" y="676"/>
                </a:lnTo>
                <a:lnTo>
                  <a:pt x="81" y="670"/>
                </a:lnTo>
                <a:lnTo>
                  <a:pt x="82" y="664"/>
                </a:lnTo>
                <a:lnTo>
                  <a:pt x="82" y="661"/>
                </a:lnTo>
                <a:lnTo>
                  <a:pt x="84" y="655"/>
                </a:lnTo>
                <a:lnTo>
                  <a:pt x="84" y="649"/>
                </a:lnTo>
                <a:lnTo>
                  <a:pt x="86" y="643"/>
                </a:lnTo>
                <a:lnTo>
                  <a:pt x="86" y="640"/>
                </a:lnTo>
                <a:lnTo>
                  <a:pt x="86" y="634"/>
                </a:lnTo>
                <a:lnTo>
                  <a:pt x="86" y="634"/>
                </a:lnTo>
                <a:lnTo>
                  <a:pt x="90" y="634"/>
                </a:lnTo>
                <a:lnTo>
                  <a:pt x="96" y="632"/>
                </a:lnTo>
                <a:lnTo>
                  <a:pt x="100" y="632"/>
                </a:lnTo>
                <a:lnTo>
                  <a:pt x="103" y="630"/>
                </a:lnTo>
                <a:lnTo>
                  <a:pt x="109" y="630"/>
                </a:lnTo>
                <a:lnTo>
                  <a:pt x="113" y="630"/>
                </a:lnTo>
                <a:lnTo>
                  <a:pt x="117" y="628"/>
                </a:lnTo>
                <a:lnTo>
                  <a:pt x="123" y="628"/>
                </a:lnTo>
                <a:lnTo>
                  <a:pt x="126" y="628"/>
                </a:lnTo>
                <a:lnTo>
                  <a:pt x="132" y="628"/>
                </a:lnTo>
                <a:lnTo>
                  <a:pt x="136" y="626"/>
                </a:lnTo>
                <a:lnTo>
                  <a:pt x="142" y="626"/>
                </a:lnTo>
                <a:lnTo>
                  <a:pt x="145" y="626"/>
                </a:lnTo>
                <a:lnTo>
                  <a:pt x="151" y="626"/>
                </a:lnTo>
                <a:lnTo>
                  <a:pt x="157" y="626"/>
                </a:lnTo>
                <a:lnTo>
                  <a:pt x="163" y="626"/>
                </a:lnTo>
                <a:lnTo>
                  <a:pt x="155" y="315"/>
                </a:lnTo>
                <a:lnTo>
                  <a:pt x="155" y="315"/>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1" name="Freeform 51"/>
          <p:cNvSpPr>
            <a:spLocks/>
          </p:cNvSpPr>
          <p:nvPr/>
        </p:nvSpPr>
        <p:spPr bwMode="auto">
          <a:xfrm>
            <a:off x="2517775" y="1655664"/>
            <a:ext cx="1046163" cy="915988"/>
          </a:xfrm>
          <a:custGeom>
            <a:avLst/>
            <a:gdLst>
              <a:gd name="T0" fmla="*/ 1116 w 1163"/>
              <a:gd name="T1" fmla="*/ 92 h 1051"/>
              <a:gd name="T2" fmla="*/ 1087 w 1163"/>
              <a:gd name="T3" fmla="*/ 88 h 1051"/>
              <a:gd name="T4" fmla="*/ 1057 w 1163"/>
              <a:gd name="T5" fmla="*/ 94 h 1051"/>
              <a:gd name="T6" fmla="*/ 1001 w 1163"/>
              <a:gd name="T7" fmla="*/ 94 h 1051"/>
              <a:gd name="T8" fmla="*/ 967 w 1163"/>
              <a:gd name="T9" fmla="*/ 63 h 1051"/>
              <a:gd name="T10" fmla="*/ 935 w 1163"/>
              <a:gd name="T11" fmla="*/ 44 h 1051"/>
              <a:gd name="T12" fmla="*/ 895 w 1163"/>
              <a:gd name="T13" fmla="*/ 31 h 1051"/>
              <a:gd name="T14" fmla="*/ 853 w 1163"/>
              <a:gd name="T15" fmla="*/ 27 h 1051"/>
              <a:gd name="T16" fmla="*/ 793 w 1163"/>
              <a:gd name="T17" fmla="*/ 46 h 1051"/>
              <a:gd name="T18" fmla="*/ 757 w 1163"/>
              <a:gd name="T19" fmla="*/ 88 h 1051"/>
              <a:gd name="T20" fmla="*/ 776 w 1163"/>
              <a:gd name="T21" fmla="*/ 135 h 1051"/>
              <a:gd name="T22" fmla="*/ 776 w 1163"/>
              <a:gd name="T23" fmla="*/ 177 h 1051"/>
              <a:gd name="T24" fmla="*/ 717 w 1163"/>
              <a:gd name="T25" fmla="*/ 212 h 1051"/>
              <a:gd name="T26" fmla="*/ 666 w 1163"/>
              <a:gd name="T27" fmla="*/ 197 h 1051"/>
              <a:gd name="T28" fmla="*/ 622 w 1163"/>
              <a:gd name="T29" fmla="*/ 174 h 1051"/>
              <a:gd name="T30" fmla="*/ 587 w 1163"/>
              <a:gd name="T31" fmla="*/ 156 h 1051"/>
              <a:gd name="T32" fmla="*/ 553 w 1163"/>
              <a:gd name="T33" fmla="*/ 145 h 1051"/>
              <a:gd name="T34" fmla="*/ 509 w 1163"/>
              <a:gd name="T35" fmla="*/ 143 h 1051"/>
              <a:gd name="T36" fmla="*/ 479 w 1163"/>
              <a:gd name="T37" fmla="*/ 135 h 1051"/>
              <a:gd name="T38" fmla="*/ 450 w 1163"/>
              <a:gd name="T39" fmla="*/ 97 h 1051"/>
              <a:gd name="T40" fmla="*/ 441 w 1163"/>
              <a:gd name="T41" fmla="*/ 61 h 1051"/>
              <a:gd name="T42" fmla="*/ 410 w 1163"/>
              <a:gd name="T43" fmla="*/ 38 h 1051"/>
              <a:gd name="T44" fmla="*/ 345 w 1163"/>
              <a:gd name="T45" fmla="*/ 17 h 1051"/>
              <a:gd name="T46" fmla="*/ 303 w 1163"/>
              <a:gd name="T47" fmla="*/ 11 h 1051"/>
              <a:gd name="T48" fmla="*/ 263 w 1163"/>
              <a:gd name="T49" fmla="*/ 29 h 1051"/>
              <a:gd name="T50" fmla="*/ 227 w 1163"/>
              <a:gd name="T51" fmla="*/ 23 h 1051"/>
              <a:gd name="T52" fmla="*/ 194 w 1163"/>
              <a:gd name="T53" fmla="*/ 6 h 1051"/>
              <a:gd name="T54" fmla="*/ 175 w 1163"/>
              <a:gd name="T55" fmla="*/ 17 h 1051"/>
              <a:gd name="T56" fmla="*/ 173 w 1163"/>
              <a:gd name="T57" fmla="*/ 44 h 1051"/>
              <a:gd name="T58" fmla="*/ 118 w 1163"/>
              <a:gd name="T59" fmla="*/ 78 h 1051"/>
              <a:gd name="T60" fmla="*/ 78 w 1163"/>
              <a:gd name="T61" fmla="*/ 118 h 1051"/>
              <a:gd name="T62" fmla="*/ 76 w 1163"/>
              <a:gd name="T63" fmla="*/ 145 h 1051"/>
              <a:gd name="T64" fmla="*/ 80 w 1163"/>
              <a:gd name="T65" fmla="*/ 172 h 1051"/>
              <a:gd name="T66" fmla="*/ 51 w 1163"/>
              <a:gd name="T67" fmla="*/ 204 h 1051"/>
              <a:gd name="T68" fmla="*/ 13 w 1163"/>
              <a:gd name="T69" fmla="*/ 221 h 1051"/>
              <a:gd name="T70" fmla="*/ 32 w 1163"/>
              <a:gd name="T71" fmla="*/ 261 h 1051"/>
              <a:gd name="T72" fmla="*/ 44 w 1163"/>
              <a:gd name="T73" fmla="*/ 307 h 1051"/>
              <a:gd name="T74" fmla="*/ 44 w 1163"/>
              <a:gd name="T75" fmla="*/ 349 h 1051"/>
              <a:gd name="T76" fmla="*/ 44 w 1163"/>
              <a:gd name="T77" fmla="*/ 380 h 1051"/>
              <a:gd name="T78" fmla="*/ 44 w 1163"/>
              <a:gd name="T79" fmla="*/ 410 h 1051"/>
              <a:gd name="T80" fmla="*/ 32 w 1163"/>
              <a:gd name="T81" fmla="*/ 443 h 1051"/>
              <a:gd name="T82" fmla="*/ 42 w 1163"/>
              <a:gd name="T83" fmla="*/ 473 h 1051"/>
              <a:gd name="T84" fmla="*/ 19 w 1163"/>
              <a:gd name="T85" fmla="*/ 504 h 1051"/>
              <a:gd name="T86" fmla="*/ 2 w 1163"/>
              <a:gd name="T87" fmla="*/ 532 h 1051"/>
              <a:gd name="T88" fmla="*/ 27 w 1163"/>
              <a:gd name="T89" fmla="*/ 582 h 1051"/>
              <a:gd name="T90" fmla="*/ 53 w 1163"/>
              <a:gd name="T91" fmla="*/ 626 h 1051"/>
              <a:gd name="T92" fmla="*/ 61 w 1163"/>
              <a:gd name="T93" fmla="*/ 649 h 1051"/>
              <a:gd name="T94" fmla="*/ 76 w 1163"/>
              <a:gd name="T95" fmla="*/ 656 h 1051"/>
              <a:gd name="T96" fmla="*/ 103 w 1163"/>
              <a:gd name="T97" fmla="*/ 656 h 1051"/>
              <a:gd name="T98" fmla="*/ 149 w 1163"/>
              <a:gd name="T99" fmla="*/ 677 h 1051"/>
              <a:gd name="T100" fmla="*/ 162 w 1163"/>
              <a:gd name="T101" fmla="*/ 710 h 1051"/>
              <a:gd name="T102" fmla="*/ 183 w 1163"/>
              <a:gd name="T103" fmla="*/ 736 h 1051"/>
              <a:gd name="T104" fmla="*/ 219 w 1163"/>
              <a:gd name="T105" fmla="*/ 750 h 1051"/>
              <a:gd name="T106" fmla="*/ 263 w 1163"/>
              <a:gd name="T107" fmla="*/ 763 h 1051"/>
              <a:gd name="T108" fmla="*/ 303 w 1163"/>
              <a:gd name="T109" fmla="*/ 780 h 1051"/>
              <a:gd name="T110" fmla="*/ 345 w 1163"/>
              <a:gd name="T111" fmla="*/ 813 h 1051"/>
              <a:gd name="T112" fmla="*/ 399 w 1163"/>
              <a:gd name="T113" fmla="*/ 794 h 1051"/>
              <a:gd name="T114" fmla="*/ 1163 w 1163"/>
              <a:gd name="T115" fmla="*/ 1015 h 1051"/>
              <a:gd name="T116" fmla="*/ 1116 w 1163"/>
              <a:gd name="T117" fmla="*/ 256 h 1051"/>
              <a:gd name="T118" fmla="*/ 1110 w 1163"/>
              <a:gd name="T119" fmla="*/ 210 h 1051"/>
              <a:gd name="T120" fmla="*/ 1125 w 1163"/>
              <a:gd name="T121" fmla="*/ 177 h 1051"/>
              <a:gd name="T122" fmla="*/ 1108 w 1163"/>
              <a:gd name="T123" fmla="*/ 141 h 1051"/>
              <a:gd name="T124" fmla="*/ 1116 w 1163"/>
              <a:gd name="T125" fmla="*/ 115 h 1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3" h="1051">
                <a:moveTo>
                  <a:pt x="1125" y="109"/>
                </a:moveTo>
                <a:lnTo>
                  <a:pt x="1125" y="109"/>
                </a:lnTo>
                <a:lnTo>
                  <a:pt x="1125" y="107"/>
                </a:lnTo>
                <a:lnTo>
                  <a:pt x="1123" y="103"/>
                </a:lnTo>
                <a:lnTo>
                  <a:pt x="1122" y="99"/>
                </a:lnTo>
                <a:lnTo>
                  <a:pt x="1120" y="95"/>
                </a:lnTo>
                <a:lnTo>
                  <a:pt x="1116" y="92"/>
                </a:lnTo>
                <a:lnTo>
                  <a:pt x="1112" y="88"/>
                </a:lnTo>
                <a:lnTo>
                  <a:pt x="1106" y="86"/>
                </a:lnTo>
                <a:lnTo>
                  <a:pt x="1102" y="86"/>
                </a:lnTo>
                <a:lnTo>
                  <a:pt x="1102" y="86"/>
                </a:lnTo>
                <a:lnTo>
                  <a:pt x="1095" y="86"/>
                </a:lnTo>
                <a:lnTo>
                  <a:pt x="1091" y="86"/>
                </a:lnTo>
                <a:lnTo>
                  <a:pt x="1087" y="88"/>
                </a:lnTo>
                <a:lnTo>
                  <a:pt x="1083" y="90"/>
                </a:lnTo>
                <a:lnTo>
                  <a:pt x="1081" y="92"/>
                </a:lnTo>
                <a:lnTo>
                  <a:pt x="1078" y="94"/>
                </a:lnTo>
                <a:lnTo>
                  <a:pt x="1072" y="94"/>
                </a:lnTo>
                <a:lnTo>
                  <a:pt x="1066" y="94"/>
                </a:lnTo>
                <a:lnTo>
                  <a:pt x="1066" y="94"/>
                </a:lnTo>
                <a:lnTo>
                  <a:pt x="1057" y="94"/>
                </a:lnTo>
                <a:lnTo>
                  <a:pt x="1047" y="94"/>
                </a:lnTo>
                <a:lnTo>
                  <a:pt x="1041" y="94"/>
                </a:lnTo>
                <a:lnTo>
                  <a:pt x="1036" y="94"/>
                </a:lnTo>
                <a:lnTo>
                  <a:pt x="1028" y="94"/>
                </a:lnTo>
                <a:lnTo>
                  <a:pt x="1022" y="94"/>
                </a:lnTo>
                <a:lnTo>
                  <a:pt x="1013" y="94"/>
                </a:lnTo>
                <a:lnTo>
                  <a:pt x="1001" y="94"/>
                </a:lnTo>
                <a:lnTo>
                  <a:pt x="1001" y="94"/>
                </a:lnTo>
                <a:lnTo>
                  <a:pt x="992" y="94"/>
                </a:lnTo>
                <a:lnTo>
                  <a:pt x="984" y="90"/>
                </a:lnTo>
                <a:lnTo>
                  <a:pt x="978" y="84"/>
                </a:lnTo>
                <a:lnTo>
                  <a:pt x="975" y="76"/>
                </a:lnTo>
                <a:lnTo>
                  <a:pt x="971" y="69"/>
                </a:lnTo>
                <a:lnTo>
                  <a:pt x="967" y="63"/>
                </a:lnTo>
                <a:lnTo>
                  <a:pt x="963" y="57"/>
                </a:lnTo>
                <a:lnTo>
                  <a:pt x="957" y="53"/>
                </a:lnTo>
                <a:lnTo>
                  <a:pt x="957" y="53"/>
                </a:lnTo>
                <a:lnTo>
                  <a:pt x="952" y="50"/>
                </a:lnTo>
                <a:lnTo>
                  <a:pt x="944" y="48"/>
                </a:lnTo>
                <a:lnTo>
                  <a:pt x="938" y="46"/>
                </a:lnTo>
                <a:lnTo>
                  <a:pt x="935" y="44"/>
                </a:lnTo>
                <a:lnTo>
                  <a:pt x="929" y="40"/>
                </a:lnTo>
                <a:lnTo>
                  <a:pt x="923" y="38"/>
                </a:lnTo>
                <a:lnTo>
                  <a:pt x="917" y="36"/>
                </a:lnTo>
                <a:lnTo>
                  <a:pt x="912" y="34"/>
                </a:lnTo>
                <a:lnTo>
                  <a:pt x="906" y="32"/>
                </a:lnTo>
                <a:lnTo>
                  <a:pt x="900" y="31"/>
                </a:lnTo>
                <a:lnTo>
                  <a:pt x="895" y="31"/>
                </a:lnTo>
                <a:lnTo>
                  <a:pt x="889" y="29"/>
                </a:lnTo>
                <a:lnTo>
                  <a:pt x="881" y="27"/>
                </a:lnTo>
                <a:lnTo>
                  <a:pt x="875" y="27"/>
                </a:lnTo>
                <a:lnTo>
                  <a:pt x="868" y="27"/>
                </a:lnTo>
                <a:lnTo>
                  <a:pt x="860" y="27"/>
                </a:lnTo>
                <a:lnTo>
                  <a:pt x="860" y="27"/>
                </a:lnTo>
                <a:lnTo>
                  <a:pt x="853" y="27"/>
                </a:lnTo>
                <a:lnTo>
                  <a:pt x="843" y="27"/>
                </a:lnTo>
                <a:lnTo>
                  <a:pt x="835" y="29"/>
                </a:lnTo>
                <a:lnTo>
                  <a:pt x="826" y="31"/>
                </a:lnTo>
                <a:lnTo>
                  <a:pt x="818" y="34"/>
                </a:lnTo>
                <a:lnTo>
                  <a:pt x="811" y="38"/>
                </a:lnTo>
                <a:lnTo>
                  <a:pt x="801" y="42"/>
                </a:lnTo>
                <a:lnTo>
                  <a:pt x="793" y="46"/>
                </a:lnTo>
                <a:lnTo>
                  <a:pt x="786" y="50"/>
                </a:lnTo>
                <a:lnTo>
                  <a:pt x="778" y="55"/>
                </a:lnTo>
                <a:lnTo>
                  <a:pt x="772" y="61"/>
                </a:lnTo>
                <a:lnTo>
                  <a:pt x="767" y="67"/>
                </a:lnTo>
                <a:lnTo>
                  <a:pt x="763" y="74"/>
                </a:lnTo>
                <a:lnTo>
                  <a:pt x="759" y="80"/>
                </a:lnTo>
                <a:lnTo>
                  <a:pt x="757" y="88"/>
                </a:lnTo>
                <a:lnTo>
                  <a:pt x="757" y="94"/>
                </a:lnTo>
                <a:lnTo>
                  <a:pt x="757" y="94"/>
                </a:lnTo>
                <a:lnTo>
                  <a:pt x="757" y="103"/>
                </a:lnTo>
                <a:lnTo>
                  <a:pt x="761" y="111"/>
                </a:lnTo>
                <a:lnTo>
                  <a:pt x="765" y="120"/>
                </a:lnTo>
                <a:lnTo>
                  <a:pt x="771" y="128"/>
                </a:lnTo>
                <a:lnTo>
                  <a:pt x="776" y="135"/>
                </a:lnTo>
                <a:lnTo>
                  <a:pt x="782" y="143"/>
                </a:lnTo>
                <a:lnTo>
                  <a:pt x="784" y="151"/>
                </a:lnTo>
                <a:lnTo>
                  <a:pt x="786" y="158"/>
                </a:lnTo>
                <a:lnTo>
                  <a:pt x="786" y="158"/>
                </a:lnTo>
                <a:lnTo>
                  <a:pt x="784" y="162"/>
                </a:lnTo>
                <a:lnTo>
                  <a:pt x="780" y="170"/>
                </a:lnTo>
                <a:lnTo>
                  <a:pt x="776" y="177"/>
                </a:lnTo>
                <a:lnTo>
                  <a:pt x="769" y="187"/>
                </a:lnTo>
                <a:lnTo>
                  <a:pt x="759" y="197"/>
                </a:lnTo>
                <a:lnTo>
                  <a:pt x="750" y="204"/>
                </a:lnTo>
                <a:lnTo>
                  <a:pt x="738" y="210"/>
                </a:lnTo>
                <a:lnTo>
                  <a:pt x="727" y="212"/>
                </a:lnTo>
                <a:lnTo>
                  <a:pt x="727" y="212"/>
                </a:lnTo>
                <a:lnTo>
                  <a:pt x="717" y="212"/>
                </a:lnTo>
                <a:lnTo>
                  <a:pt x="709" y="212"/>
                </a:lnTo>
                <a:lnTo>
                  <a:pt x="700" y="210"/>
                </a:lnTo>
                <a:lnTo>
                  <a:pt x="692" y="208"/>
                </a:lnTo>
                <a:lnTo>
                  <a:pt x="687" y="206"/>
                </a:lnTo>
                <a:lnTo>
                  <a:pt x="679" y="202"/>
                </a:lnTo>
                <a:lnTo>
                  <a:pt x="673" y="200"/>
                </a:lnTo>
                <a:lnTo>
                  <a:pt x="666" y="197"/>
                </a:lnTo>
                <a:lnTo>
                  <a:pt x="660" y="195"/>
                </a:lnTo>
                <a:lnTo>
                  <a:pt x="654" y="191"/>
                </a:lnTo>
                <a:lnTo>
                  <a:pt x="647" y="187"/>
                </a:lnTo>
                <a:lnTo>
                  <a:pt x="641" y="183"/>
                </a:lnTo>
                <a:lnTo>
                  <a:pt x="635" y="179"/>
                </a:lnTo>
                <a:lnTo>
                  <a:pt x="627" y="177"/>
                </a:lnTo>
                <a:lnTo>
                  <a:pt x="622" y="174"/>
                </a:lnTo>
                <a:lnTo>
                  <a:pt x="614" y="172"/>
                </a:lnTo>
                <a:lnTo>
                  <a:pt x="614" y="172"/>
                </a:lnTo>
                <a:lnTo>
                  <a:pt x="608" y="168"/>
                </a:lnTo>
                <a:lnTo>
                  <a:pt x="603" y="166"/>
                </a:lnTo>
                <a:lnTo>
                  <a:pt x="599" y="162"/>
                </a:lnTo>
                <a:lnTo>
                  <a:pt x="593" y="158"/>
                </a:lnTo>
                <a:lnTo>
                  <a:pt x="587" y="156"/>
                </a:lnTo>
                <a:lnTo>
                  <a:pt x="582" y="153"/>
                </a:lnTo>
                <a:lnTo>
                  <a:pt x="574" y="151"/>
                </a:lnTo>
                <a:lnTo>
                  <a:pt x="568" y="147"/>
                </a:lnTo>
                <a:lnTo>
                  <a:pt x="568" y="147"/>
                </a:lnTo>
                <a:lnTo>
                  <a:pt x="563" y="147"/>
                </a:lnTo>
                <a:lnTo>
                  <a:pt x="557" y="145"/>
                </a:lnTo>
                <a:lnTo>
                  <a:pt x="553" y="145"/>
                </a:lnTo>
                <a:lnTo>
                  <a:pt x="545" y="145"/>
                </a:lnTo>
                <a:lnTo>
                  <a:pt x="540" y="143"/>
                </a:lnTo>
                <a:lnTo>
                  <a:pt x="534" y="143"/>
                </a:lnTo>
                <a:lnTo>
                  <a:pt x="528" y="143"/>
                </a:lnTo>
                <a:lnTo>
                  <a:pt x="523" y="143"/>
                </a:lnTo>
                <a:lnTo>
                  <a:pt x="515" y="143"/>
                </a:lnTo>
                <a:lnTo>
                  <a:pt x="509" y="143"/>
                </a:lnTo>
                <a:lnTo>
                  <a:pt x="503" y="143"/>
                </a:lnTo>
                <a:lnTo>
                  <a:pt x="498" y="141"/>
                </a:lnTo>
                <a:lnTo>
                  <a:pt x="492" y="141"/>
                </a:lnTo>
                <a:lnTo>
                  <a:pt x="488" y="139"/>
                </a:lnTo>
                <a:lnTo>
                  <a:pt x="482" y="137"/>
                </a:lnTo>
                <a:lnTo>
                  <a:pt x="479" y="135"/>
                </a:lnTo>
                <a:lnTo>
                  <a:pt x="479" y="135"/>
                </a:lnTo>
                <a:lnTo>
                  <a:pt x="471" y="130"/>
                </a:lnTo>
                <a:lnTo>
                  <a:pt x="465" y="124"/>
                </a:lnTo>
                <a:lnTo>
                  <a:pt x="460" y="120"/>
                </a:lnTo>
                <a:lnTo>
                  <a:pt x="456" y="115"/>
                </a:lnTo>
                <a:lnTo>
                  <a:pt x="454" y="109"/>
                </a:lnTo>
                <a:lnTo>
                  <a:pt x="450" y="103"/>
                </a:lnTo>
                <a:lnTo>
                  <a:pt x="450" y="97"/>
                </a:lnTo>
                <a:lnTo>
                  <a:pt x="448" y="94"/>
                </a:lnTo>
                <a:lnTo>
                  <a:pt x="448" y="88"/>
                </a:lnTo>
                <a:lnTo>
                  <a:pt x="446" y="82"/>
                </a:lnTo>
                <a:lnTo>
                  <a:pt x="446" y="76"/>
                </a:lnTo>
                <a:lnTo>
                  <a:pt x="444" y="71"/>
                </a:lnTo>
                <a:lnTo>
                  <a:pt x="442" y="67"/>
                </a:lnTo>
                <a:lnTo>
                  <a:pt x="441" y="61"/>
                </a:lnTo>
                <a:lnTo>
                  <a:pt x="437" y="55"/>
                </a:lnTo>
                <a:lnTo>
                  <a:pt x="431" y="50"/>
                </a:lnTo>
                <a:lnTo>
                  <a:pt x="431" y="50"/>
                </a:lnTo>
                <a:lnTo>
                  <a:pt x="429" y="48"/>
                </a:lnTo>
                <a:lnTo>
                  <a:pt x="423" y="46"/>
                </a:lnTo>
                <a:lnTo>
                  <a:pt x="418" y="42"/>
                </a:lnTo>
                <a:lnTo>
                  <a:pt x="410" y="38"/>
                </a:lnTo>
                <a:lnTo>
                  <a:pt x="402" y="36"/>
                </a:lnTo>
                <a:lnTo>
                  <a:pt x="393" y="32"/>
                </a:lnTo>
                <a:lnTo>
                  <a:pt x="383" y="29"/>
                </a:lnTo>
                <a:lnTo>
                  <a:pt x="374" y="27"/>
                </a:lnTo>
                <a:lnTo>
                  <a:pt x="364" y="23"/>
                </a:lnTo>
                <a:lnTo>
                  <a:pt x="355" y="21"/>
                </a:lnTo>
                <a:lnTo>
                  <a:pt x="345" y="17"/>
                </a:lnTo>
                <a:lnTo>
                  <a:pt x="336" y="15"/>
                </a:lnTo>
                <a:lnTo>
                  <a:pt x="328" y="13"/>
                </a:lnTo>
                <a:lnTo>
                  <a:pt x="320" y="13"/>
                </a:lnTo>
                <a:lnTo>
                  <a:pt x="315" y="11"/>
                </a:lnTo>
                <a:lnTo>
                  <a:pt x="311" y="11"/>
                </a:lnTo>
                <a:lnTo>
                  <a:pt x="311" y="11"/>
                </a:lnTo>
                <a:lnTo>
                  <a:pt x="303" y="11"/>
                </a:lnTo>
                <a:lnTo>
                  <a:pt x="297" y="15"/>
                </a:lnTo>
                <a:lnTo>
                  <a:pt x="292" y="17"/>
                </a:lnTo>
                <a:lnTo>
                  <a:pt x="288" y="21"/>
                </a:lnTo>
                <a:lnTo>
                  <a:pt x="282" y="23"/>
                </a:lnTo>
                <a:lnTo>
                  <a:pt x="276" y="27"/>
                </a:lnTo>
                <a:lnTo>
                  <a:pt x="271" y="29"/>
                </a:lnTo>
                <a:lnTo>
                  <a:pt x="263" y="29"/>
                </a:lnTo>
                <a:lnTo>
                  <a:pt x="263" y="29"/>
                </a:lnTo>
                <a:lnTo>
                  <a:pt x="255" y="29"/>
                </a:lnTo>
                <a:lnTo>
                  <a:pt x="250" y="29"/>
                </a:lnTo>
                <a:lnTo>
                  <a:pt x="244" y="27"/>
                </a:lnTo>
                <a:lnTo>
                  <a:pt x="238" y="27"/>
                </a:lnTo>
                <a:lnTo>
                  <a:pt x="233" y="25"/>
                </a:lnTo>
                <a:lnTo>
                  <a:pt x="227" y="23"/>
                </a:lnTo>
                <a:lnTo>
                  <a:pt x="223" y="21"/>
                </a:lnTo>
                <a:lnTo>
                  <a:pt x="217" y="19"/>
                </a:lnTo>
                <a:lnTo>
                  <a:pt x="214" y="15"/>
                </a:lnTo>
                <a:lnTo>
                  <a:pt x="208" y="13"/>
                </a:lnTo>
                <a:lnTo>
                  <a:pt x="204" y="11"/>
                </a:lnTo>
                <a:lnTo>
                  <a:pt x="198" y="10"/>
                </a:lnTo>
                <a:lnTo>
                  <a:pt x="194" y="6"/>
                </a:lnTo>
                <a:lnTo>
                  <a:pt x="189" y="4"/>
                </a:lnTo>
                <a:lnTo>
                  <a:pt x="183" y="2"/>
                </a:lnTo>
                <a:lnTo>
                  <a:pt x="177" y="0"/>
                </a:lnTo>
                <a:lnTo>
                  <a:pt x="177" y="0"/>
                </a:lnTo>
                <a:lnTo>
                  <a:pt x="177" y="8"/>
                </a:lnTo>
                <a:lnTo>
                  <a:pt x="177" y="13"/>
                </a:lnTo>
                <a:lnTo>
                  <a:pt x="175" y="17"/>
                </a:lnTo>
                <a:lnTo>
                  <a:pt x="173" y="21"/>
                </a:lnTo>
                <a:lnTo>
                  <a:pt x="172" y="25"/>
                </a:lnTo>
                <a:lnTo>
                  <a:pt x="173" y="29"/>
                </a:lnTo>
                <a:lnTo>
                  <a:pt x="173" y="34"/>
                </a:lnTo>
                <a:lnTo>
                  <a:pt x="177" y="40"/>
                </a:lnTo>
                <a:lnTo>
                  <a:pt x="177" y="40"/>
                </a:lnTo>
                <a:lnTo>
                  <a:pt x="173" y="44"/>
                </a:lnTo>
                <a:lnTo>
                  <a:pt x="166" y="48"/>
                </a:lnTo>
                <a:lnTo>
                  <a:pt x="160" y="52"/>
                </a:lnTo>
                <a:lnTo>
                  <a:pt x="152" y="55"/>
                </a:lnTo>
                <a:lnTo>
                  <a:pt x="143" y="61"/>
                </a:lnTo>
                <a:lnTo>
                  <a:pt x="135" y="67"/>
                </a:lnTo>
                <a:lnTo>
                  <a:pt x="128" y="73"/>
                </a:lnTo>
                <a:lnTo>
                  <a:pt x="118" y="78"/>
                </a:lnTo>
                <a:lnTo>
                  <a:pt x="111" y="84"/>
                </a:lnTo>
                <a:lnTo>
                  <a:pt x="103" y="90"/>
                </a:lnTo>
                <a:lnTo>
                  <a:pt x="95" y="95"/>
                </a:lnTo>
                <a:lnTo>
                  <a:pt x="90" y="103"/>
                </a:lnTo>
                <a:lnTo>
                  <a:pt x="84" y="109"/>
                </a:lnTo>
                <a:lnTo>
                  <a:pt x="80" y="113"/>
                </a:lnTo>
                <a:lnTo>
                  <a:pt x="78" y="118"/>
                </a:lnTo>
                <a:lnTo>
                  <a:pt x="78" y="124"/>
                </a:lnTo>
                <a:lnTo>
                  <a:pt x="78" y="124"/>
                </a:lnTo>
                <a:lnTo>
                  <a:pt x="78" y="130"/>
                </a:lnTo>
                <a:lnTo>
                  <a:pt x="76" y="135"/>
                </a:lnTo>
                <a:lnTo>
                  <a:pt x="76" y="139"/>
                </a:lnTo>
                <a:lnTo>
                  <a:pt x="76" y="143"/>
                </a:lnTo>
                <a:lnTo>
                  <a:pt x="76" y="145"/>
                </a:lnTo>
                <a:lnTo>
                  <a:pt x="76" y="149"/>
                </a:lnTo>
                <a:lnTo>
                  <a:pt x="76" y="151"/>
                </a:lnTo>
                <a:lnTo>
                  <a:pt x="78" y="153"/>
                </a:lnTo>
                <a:lnTo>
                  <a:pt x="78" y="153"/>
                </a:lnTo>
                <a:lnTo>
                  <a:pt x="80" y="158"/>
                </a:lnTo>
                <a:lnTo>
                  <a:pt x="80" y="166"/>
                </a:lnTo>
                <a:lnTo>
                  <a:pt x="80" y="172"/>
                </a:lnTo>
                <a:lnTo>
                  <a:pt x="78" y="177"/>
                </a:lnTo>
                <a:lnTo>
                  <a:pt x="74" y="181"/>
                </a:lnTo>
                <a:lnTo>
                  <a:pt x="70" y="187"/>
                </a:lnTo>
                <a:lnTo>
                  <a:pt x="67" y="193"/>
                </a:lnTo>
                <a:lnTo>
                  <a:pt x="63" y="197"/>
                </a:lnTo>
                <a:lnTo>
                  <a:pt x="57" y="200"/>
                </a:lnTo>
                <a:lnTo>
                  <a:pt x="51" y="204"/>
                </a:lnTo>
                <a:lnTo>
                  <a:pt x="44" y="208"/>
                </a:lnTo>
                <a:lnTo>
                  <a:pt x="38" y="212"/>
                </a:lnTo>
                <a:lnTo>
                  <a:pt x="32" y="216"/>
                </a:lnTo>
                <a:lnTo>
                  <a:pt x="25" y="218"/>
                </a:lnTo>
                <a:lnTo>
                  <a:pt x="19" y="219"/>
                </a:lnTo>
                <a:lnTo>
                  <a:pt x="13" y="221"/>
                </a:lnTo>
                <a:lnTo>
                  <a:pt x="13" y="221"/>
                </a:lnTo>
                <a:lnTo>
                  <a:pt x="17" y="227"/>
                </a:lnTo>
                <a:lnTo>
                  <a:pt x="19" y="233"/>
                </a:lnTo>
                <a:lnTo>
                  <a:pt x="21" y="239"/>
                </a:lnTo>
                <a:lnTo>
                  <a:pt x="25" y="244"/>
                </a:lnTo>
                <a:lnTo>
                  <a:pt x="27" y="250"/>
                </a:lnTo>
                <a:lnTo>
                  <a:pt x="30" y="256"/>
                </a:lnTo>
                <a:lnTo>
                  <a:pt x="32" y="261"/>
                </a:lnTo>
                <a:lnTo>
                  <a:pt x="34" y="269"/>
                </a:lnTo>
                <a:lnTo>
                  <a:pt x="36" y="275"/>
                </a:lnTo>
                <a:lnTo>
                  <a:pt x="38" y="280"/>
                </a:lnTo>
                <a:lnTo>
                  <a:pt x="40" y="288"/>
                </a:lnTo>
                <a:lnTo>
                  <a:pt x="42" y="294"/>
                </a:lnTo>
                <a:lnTo>
                  <a:pt x="44" y="301"/>
                </a:lnTo>
                <a:lnTo>
                  <a:pt x="44" y="307"/>
                </a:lnTo>
                <a:lnTo>
                  <a:pt x="44" y="315"/>
                </a:lnTo>
                <a:lnTo>
                  <a:pt x="44" y="322"/>
                </a:lnTo>
                <a:lnTo>
                  <a:pt x="44" y="322"/>
                </a:lnTo>
                <a:lnTo>
                  <a:pt x="44" y="330"/>
                </a:lnTo>
                <a:lnTo>
                  <a:pt x="44" y="338"/>
                </a:lnTo>
                <a:lnTo>
                  <a:pt x="44" y="343"/>
                </a:lnTo>
                <a:lnTo>
                  <a:pt x="44" y="349"/>
                </a:lnTo>
                <a:lnTo>
                  <a:pt x="44" y="355"/>
                </a:lnTo>
                <a:lnTo>
                  <a:pt x="44" y="359"/>
                </a:lnTo>
                <a:lnTo>
                  <a:pt x="44" y="364"/>
                </a:lnTo>
                <a:lnTo>
                  <a:pt x="44" y="368"/>
                </a:lnTo>
                <a:lnTo>
                  <a:pt x="44" y="372"/>
                </a:lnTo>
                <a:lnTo>
                  <a:pt x="44" y="376"/>
                </a:lnTo>
                <a:lnTo>
                  <a:pt x="44" y="380"/>
                </a:lnTo>
                <a:lnTo>
                  <a:pt x="44" y="385"/>
                </a:lnTo>
                <a:lnTo>
                  <a:pt x="44" y="389"/>
                </a:lnTo>
                <a:lnTo>
                  <a:pt x="44" y="395"/>
                </a:lnTo>
                <a:lnTo>
                  <a:pt x="44" y="401"/>
                </a:lnTo>
                <a:lnTo>
                  <a:pt x="44" y="408"/>
                </a:lnTo>
                <a:lnTo>
                  <a:pt x="44" y="408"/>
                </a:lnTo>
                <a:lnTo>
                  <a:pt x="44" y="410"/>
                </a:lnTo>
                <a:lnTo>
                  <a:pt x="44" y="414"/>
                </a:lnTo>
                <a:lnTo>
                  <a:pt x="40" y="420"/>
                </a:lnTo>
                <a:lnTo>
                  <a:pt x="38" y="424"/>
                </a:lnTo>
                <a:lnTo>
                  <a:pt x="36" y="429"/>
                </a:lnTo>
                <a:lnTo>
                  <a:pt x="34" y="433"/>
                </a:lnTo>
                <a:lnTo>
                  <a:pt x="34" y="439"/>
                </a:lnTo>
                <a:lnTo>
                  <a:pt x="32" y="443"/>
                </a:lnTo>
                <a:lnTo>
                  <a:pt x="32" y="443"/>
                </a:lnTo>
                <a:lnTo>
                  <a:pt x="34" y="448"/>
                </a:lnTo>
                <a:lnTo>
                  <a:pt x="34" y="454"/>
                </a:lnTo>
                <a:lnTo>
                  <a:pt x="36" y="460"/>
                </a:lnTo>
                <a:lnTo>
                  <a:pt x="38" y="464"/>
                </a:lnTo>
                <a:lnTo>
                  <a:pt x="40" y="467"/>
                </a:lnTo>
                <a:lnTo>
                  <a:pt x="42" y="473"/>
                </a:lnTo>
                <a:lnTo>
                  <a:pt x="44" y="479"/>
                </a:lnTo>
                <a:lnTo>
                  <a:pt x="44" y="485"/>
                </a:lnTo>
                <a:lnTo>
                  <a:pt x="44" y="485"/>
                </a:lnTo>
                <a:lnTo>
                  <a:pt x="40" y="490"/>
                </a:lnTo>
                <a:lnTo>
                  <a:pt x="34" y="496"/>
                </a:lnTo>
                <a:lnTo>
                  <a:pt x="27" y="500"/>
                </a:lnTo>
                <a:lnTo>
                  <a:pt x="19" y="504"/>
                </a:lnTo>
                <a:lnTo>
                  <a:pt x="11" y="508"/>
                </a:lnTo>
                <a:lnTo>
                  <a:pt x="6" y="511"/>
                </a:lnTo>
                <a:lnTo>
                  <a:pt x="2" y="517"/>
                </a:lnTo>
                <a:lnTo>
                  <a:pt x="0" y="523"/>
                </a:lnTo>
                <a:lnTo>
                  <a:pt x="0" y="523"/>
                </a:lnTo>
                <a:lnTo>
                  <a:pt x="2" y="528"/>
                </a:lnTo>
                <a:lnTo>
                  <a:pt x="2" y="532"/>
                </a:lnTo>
                <a:lnTo>
                  <a:pt x="4" y="538"/>
                </a:lnTo>
                <a:lnTo>
                  <a:pt x="8" y="546"/>
                </a:lnTo>
                <a:lnTo>
                  <a:pt x="11" y="551"/>
                </a:lnTo>
                <a:lnTo>
                  <a:pt x="15" y="559"/>
                </a:lnTo>
                <a:lnTo>
                  <a:pt x="19" y="567"/>
                </a:lnTo>
                <a:lnTo>
                  <a:pt x="23" y="574"/>
                </a:lnTo>
                <a:lnTo>
                  <a:pt x="27" y="582"/>
                </a:lnTo>
                <a:lnTo>
                  <a:pt x="32" y="590"/>
                </a:lnTo>
                <a:lnTo>
                  <a:pt x="36" y="597"/>
                </a:lnTo>
                <a:lnTo>
                  <a:pt x="40" y="603"/>
                </a:lnTo>
                <a:lnTo>
                  <a:pt x="44" y="611"/>
                </a:lnTo>
                <a:lnTo>
                  <a:pt x="48" y="616"/>
                </a:lnTo>
                <a:lnTo>
                  <a:pt x="51" y="622"/>
                </a:lnTo>
                <a:lnTo>
                  <a:pt x="53" y="626"/>
                </a:lnTo>
                <a:lnTo>
                  <a:pt x="53" y="626"/>
                </a:lnTo>
                <a:lnTo>
                  <a:pt x="55" y="630"/>
                </a:lnTo>
                <a:lnTo>
                  <a:pt x="57" y="633"/>
                </a:lnTo>
                <a:lnTo>
                  <a:pt x="57" y="637"/>
                </a:lnTo>
                <a:lnTo>
                  <a:pt x="59" y="641"/>
                </a:lnTo>
                <a:lnTo>
                  <a:pt x="59" y="645"/>
                </a:lnTo>
                <a:lnTo>
                  <a:pt x="61" y="649"/>
                </a:lnTo>
                <a:lnTo>
                  <a:pt x="63" y="652"/>
                </a:lnTo>
                <a:lnTo>
                  <a:pt x="67" y="656"/>
                </a:lnTo>
                <a:lnTo>
                  <a:pt x="67" y="656"/>
                </a:lnTo>
                <a:lnTo>
                  <a:pt x="69" y="656"/>
                </a:lnTo>
                <a:lnTo>
                  <a:pt x="70" y="656"/>
                </a:lnTo>
                <a:lnTo>
                  <a:pt x="74" y="656"/>
                </a:lnTo>
                <a:lnTo>
                  <a:pt x="76" y="656"/>
                </a:lnTo>
                <a:lnTo>
                  <a:pt x="78" y="654"/>
                </a:lnTo>
                <a:lnTo>
                  <a:pt x="82" y="654"/>
                </a:lnTo>
                <a:lnTo>
                  <a:pt x="84" y="652"/>
                </a:lnTo>
                <a:lnTo>
                  <a:pt x="86" y="652"/>
                </a:lnTo>
                <a:lnTo>
                  <a:pt x="86" y="652"/>
                </a:lnTo>
                <a:lnTo>
                  <a:pt x="95" y="654"/>
                </a:lnTo>
                <a:lnTo>
                  <a:pt x="103" y="656"/>
                </a:lnTo>
                <a:lnTo>
                  <a:pt x="111" y="660"/>
                </a:lnTo>
                <a:lnTo>
                  <a:pt x="118" y="664"/>
                </a:lnTo>
                <a:lnTo>
                  <a:pt x="124" y="668"/>
                </a:lnTo>
                <a:lnTo>
                  <a:pt x="131" y="672"/>
                </a:lnTo>
                <a:lnTo>
                  <a:pt x="139" y="675"/>
                </a:lnTo>
                <a:lnTo>
                  <a:pt x="149" y="677"/>
                </a:lnTo>
                <a:lnTo>
                  <a:pt x="149" y="677"/>
                </a:lnTo>
                <a:lnTo>
                  <a:pt x="149" y="683"/>
                </a:lnTo>
                <a:lnTo>
                  <a:pt x="151" y="687"/>
                </a:lnTo>
                <a:lnTo>
                  <a:pt x="152" y="693"/>
                </a:lnTo>
                <a:lnTo>
                  <a:pt x="154" y="696"/>
                </a:lnTo>
                <a:lnTo>
                  <a:pt x="156" y="702"/>
                </a:lnTo>
                <a:lnTo>
                  <a:pt x="160" y="706"/>
                </a:lnTo>
                <a:lnTo>
                  <a:pt x="162" y="710"/>
                </a:lnTo>
                <a:lnTo>
                  <a:pt x="166" y="712"/>
                </a:lnTo>
                <a:lnTo>
                  <a:pt x="170" y="715"/>
                </a:lnTo>
                <a:lnTo>
                  <a:pt x="172" y="719"/>
                </a:lnTo>
                <a:lnTo>
                  <a:pt x="175" y="723"/>
                </a:lnTo>
                <a:lnTo>
                  <a:pt x="179" y="729"/>
                </a:lnTo>
                <a:lnTo>
                  <a:pt x="181" y="733"/>
                </a:lnTo>
                <a:lnTo>
                  <a:pt x="183" y="736"/>
                </a:lnTo>
                <a:lnTo>
                  <a:pt x="185" y="742"/>
                </a:lnTo>
                <a:lnTo>
                  <a:pt x="187" y="748"/>
                </a:lnTo>
                <a:lnTo>
                  <a:pt x="187" y="748"/>
                </a:lnTo>
                <a:lnTo>
                  <a:pt x="194" y="748"/>
                </a:lnTo>
                <a:lnTo>
                  <a:pt x="204" y="748"/>
                </a:lnTo>
                <a:lnTo>
                  <a:pt x="212" y="750"/>
                </a:lnTo>
                <a:lnTo>
                  <a:pt x="219" y="750"/>
                </a:lnTo>
                <a:lnTo>
                  <a:pt x="227" y="752"/>
                </a:lnTo>
                <a:lnTo>
                  <a:pt x="233" y="754"/>
                </a:lnTo>
                <a:lnTo>
                  <a:pt x="240" y="756"/>
                </a:lnTo>
                <a:lnTo>
                  <a:pt x="246" y="757"/>
                </a:lnTo>
                <a:lnTo>
                  <a:pt x="252" y="759"/>
                </a:lnTo>
                <a:lnTo>
                  <a:pt x="257" y="761"/>
                </a:lnTo>
                <a:lnTo>
                  <a:pt x="263" y="763"/>
                </a:lnTo>
                <a:lnTo>
                  <a:pt x="271" y="767"/>
                </a:lnTo>
                <a:lnTo>
                  <a:pt x="276" y="769"/>
                </a:lnTo>
                <a:lnTo>
                  <a:pt x="282" y="773"/>
                </a:lnTo>
                <a:lnTo>
                  <a:pt x="290" y="775"/>
                </a:lnTo>
                <a:lnTo>
                  <a:pt x="296" y="776"/>
                </a:lnTo>
                <a:lnTo>
                  <a:pt x="296" y="776"/>
                </a:lnTo>
                <a:lnTo>
                  <a:pt x="303" y="780"/>
                </a:lnTo>
                <a:lnTo>
                  <a:pt x="309" y="786"/>
                </a:lnTo>
                <a:lnTo>
                  <a:pt x="315" y="792"/>
                </a:lnTo>
                <a:lnTo>
                  <a:pt x="320" y="797"/>
                </a:lnTo>
                <a:lnTo>
                  <a:pt x="324" y="803"/>
                </a:lnTo>
                <a:lnTo>
                  <a:pt x="332" y="809"/>
                </a:lnTo>
                <a:lnTo>
                  <a:pt x="338" y="811"/>
                </a:lnTo>
                <a:lnTo>
                  <a:pt x="345" y="813"/>
                </a:lnTo>
                <a:lnTo>
                  <a:pt x="345" y="813"/>
                </a:lnTo>
                <a:lnTo>
                  <a:pt x="355" y="813"/>
                </a:lnTo>
                <a:lnTo>
                  <a:pt x="362" y="809"/>
                </a:lnTo>
                <a:lnTo>
                  <a:pt x="372" y="807"/>
                </a:lnTo>
                <a:lnTo>
                  <a:pt x="381" y="803"/>
                </a:lnTo>
                <a:lnTo>
                  <a:pt x="391" y="799"/>
                </a:lnTo>
                <a:lnTo>
                  <a:pt x="399" y="794"/>
                </a:lnTo>
                <a:lnTo>
                  <a:pt x="406" y="790"/>
                </a:lnTo>
                <a:lnTo>
                  <a:pt x="410" y="786"/>
                </a:lnTo>
                <a:lnTo>
                  <a:pt x="484" y="744"/>
                </a:lnTo>
                <a:lnTo>
                  <a:pt x="1091" y="1051"/>
                </a:lnTo>
                <a:lnTo>
                  <a:pt x="1091" y="1051"/>
                </a:lnTo>
                <a:lnTo>
                  <a:pt x="1089" y="1015"/>
                </a:lnTo>
                <a:lnTo>
                  <a:pt x="1163" y="1015"/>
                </a:lnTo>
                <a:lnTo>
                  <a:pt x="1154" y="857"/>
                </a:lnTo>
                <a:lnTo>
                  <a:pt x="1125" y="280"/>
                </a:lnTo>
                <a:lnTo>
                  <a:pt x="1125" y="280"/>
                </a:lnTo>
                <a:lnTo>
                  <a:pt x="1123" y="275"/>
                </a:lnTo>
                <a:lnTo>
                  <a:pt x="1122" y="269"/>
                </a:lnTo>
                <a:lnTo>
                  <a:pt x="1120" y="263"/>
                </a:lnTo>
                <a:lnTo>
                  <a:pt x="1116" y="256"/>
                </a:lnTo>
                <a:lnTo>
                  <a:pt x="1112" y="248"/>
                </a:lnTo>
                <a:lnTo>
                  <a:pt x="1110" y="239"/>
                </a:lnTo>
                <a:lnTo>
                  <a:pt x="1108" y="231"/>
                </a:lnTo>
                <a:lnTo>
                  <a:pt x="1106" y="221"/>
                </a:lnTo>
                <a:lnTo>
                  <a:pt x="1106" y="221"/>
                </a:lnTo>
                <a:lnTo>
                  <a:pt x="1108" y="216"/>
                </a:lnTo>
                <a:lnTo>
                  <a:pt x="1110" y="210"/>
                </a:lnTo>
                <a:lnTo>
                  <a:pt x="1112" y="204"/>
                </a:lnTo>
                <a:lnTo>
                  <a:pt x="1116" y="200"/>
                </a:lnTo>
                <a:lnTo>
                  <a:pt x="1120" y="197"/>
                </a:lnTo>
                <a:lnTo>
                  <a:pt x="1122" y="191"/>
                </a:lnTo>
                <a:lnTo>
                  <a:pt x="1123" y="185"/>
                </a:lnTo>
                <a:lnTo>
                  <a:pt x="1125" y="177"/>
                </a:lnTo>
                <a:lnTo>
                  <a:pt x="1125" y="177"/>
                </a:lnTo>
                <a:lnTo>
                  <a:pt x="1123" y="172"/>
                </a:lnTo>
                <a:lnTo>
                  <a:pt x="1122" y="166"/>
                </a:lnTo>
                <a:lnTo>
                  <a:pt x="1120" y="160"/>
                </a:lnTo>
                <a:lnTo>
                  <a:pt x="1116" y="156"/>
                </a:lnTo>
                <a:lnTo>
                  <a:pt x="1112" y="153"/>
                </a:lnTo>
                <a:lnTo>
                  <a:pt x="1110" y="147"/>
                </a:lnTo>
                <a:lnTo>
                  <a:pt x="1108" y="141"/>
                </a:lnTo>
                <a:lnTo>
                  <a:pt x="1106" y="135"/>
                </a:lnTo>
                <a:lnTo>
                  <a:pt x="1106" y="135"/>
                </a:lnTo>
                <a:lnTo>
                  <a:pt x="1108" y="130"/>
                </a:lnTo>
                <a:lnTo>
                  <a:pt x="1108" y="124"/>
                </a:lnTo>
                <a:lnTo>
                  <a:pt x="1110" y="120"/>
                </a:lnTo>
                <a:lnTo>
                  <a:pt x="1112" y="116"/>
                </a:lnTo>
                <a:lnTo>
                  <a:pt x="1116" y="115"/>
                </a:lnTo>
                <a:lnTo>
                  <a:pt x="1120" y="113"/>
                </a:lnTo>
                <a:lnTo>
                  <a:pt x="1125" y="111"/>
                </a:lnTo>
                <a:lnTo>
                  <a:pt x="1131" y="111"/>
                </a:lnTo>
                <a:lnTo>
                  <a:pt x="1125" y="109"/>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2" name="Freeform 52"/>
          <p:cNvSpPr>
            <a:spLocks/>
          </p:cNvSpPr>
          <p:nvPr/>
        </p:nvSpPr>
        <p:spPr bwMode="auto">
          <a:xfrm>
            <a:off x="2681288" y="4262339"/>
            <a:ext cx="47625" cy="77788"/>
          </a:xfrm>
          <a:custGeom>
            <a:avLst/>
            <a:gdLst>
              <a:gd name="T0" fmla="*/ 0 w 52"/>
              <a:gd name="T1" fmla="*/ 88 h 88"/>
              <a:gd name="T2" fmla="*/ 8 w 52"/>
              <a:gd name="T3" fmla="*/ 86 h 88"/>
              <a:gd name="T4" fmla="*/ 12 w 52"/>
              <a:gd name="T5" fmla="*/ 81 h 88"/>
              <a:gd name="T6" fmla="*/ 15 w 52"/>
              <a:gd name="T7" fmla="*/ 75 h 88"/>
              <a:gd name="T8" fmla="*/ 15 w 52"/>
              <a:gd name="T9" fmla="*/ 65 h 88"/>
              <a:gd name="T10" fmla="*/ 15 w 52"/>
              <a:gd name="T11" fmla="*/ 56 h 88"/>
              <a:gd name="T12" fmla="*/ 15 w 52"/>
              <a:gd name="T13" fmla="*/ 46 h 88"/>
              <a:gd name="T14" fmla="*/ 15 w 52"/>
              <a:gd name="T15" fmla="*/ 37 h 88"/>
              <a:gd name="T16" fmla="*/ 17 w 52"/>
              <a:gd name="T17" fmla="*/ 29 h 88"/>
              <a:gd name="T18" fmla="*/ 21 w 52"/>
              <a:gd name="T19" fmla="*/ 23 h 88"/>
              <a:gd name="T20" fmla="*/ 25 w 52"/>
              <a:gd name="T21" fmla="*/ 20 h 88"/>
              <a:gd name="T22" fmla="*/ 29 w 52"/>
              <a:gd name="T23" fmla="*/ 16 h 88"/>
              <a:gd name="T24" fmla="*/ 34 w 52"/>
              <a:gd name="T25" fmla="*/ 14 h 88"/>
              <a:gd name="T26" fmla="*/ 38 w 52"/>
              <a:gd name="T27" fmla="*/ 10 h 88"/>
              <a:gd name="T28" fmla="*/ 44 w 52"/>
              <a:gd name="T29" fmla="*/ 8 h 88"/>
              <a:gd name="T30" fmla="*/ 48 w 52"/>
              <a:gd name="T31" fmla="*/ 4 h 88"/>
              <a:gd name="T32" fmla="*/ 52 w 52"/>
              <a:gd name="T33" fmla="*/ 0 h 88"/>
              <a:gd name="T34" fmla="*/ 0 w 52"/>
              <a:gd name="T3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88">
                <a:moveTo>
                  <a:pt x="0" y="88"/>
                </a:moveTo>
                <a:lnTo>
                  <a:pt x="8" y="86"/>
                </a:lnTo>
                <a:lnTo>
                  <a:pt x="12" y="81"/>
                </a:lnTo>
                <a:lnTo>
                  <a:pt x="15" y="75"/>
                </a:lnTo>
                <a:lnTo>
                  <a:pt x="15" y="65"/>
                </a:lnTo>
                <a:lnTo>
                  <a:pt x="15" y="56"/>
                </a:lnTo>
                <a:lnTo>
                  <a:pt x="15" y="46"/>
                </a:lnTo>
                <a:lnTo>
                  <a:pt x="15" y="37"/>
                </a:lnTo>
                <a:lnTo>
                  <a:pt x="17" y="29"/>
                </a:lnTo>
                <a:lnTo>
                  <a:pt x="21" y="23"/>
                </a:lnTo>
                <a:lnTo>
                  <a:pt x="25" y="20"/>
                </a:lnTo>
                <a:lnTo>
                  <a:pt x="29" y="16"/>
                </a:lnTo>
                <a:lnTo>
                  <a:pt x="34" y="14"/>
                </a:lnTo>
                <a:lnTo>
                  <a:pt x="38" y="10"/>
                </a:lnTo>
                <a:lnTo>
                  <a:pt x="44" y="8"/>
                </a:lnTo>
                <a:lnTo>
                  <a:pt x="48" y="4"/>
                </a:lnTo>
                <a:lnTo>
                  <a:pt x="52" y="0"/>
                </a:lnTo>
                <a:lnTo>
                  <a:pt x="0" y="88"/>
                </a:lnTo>
                <a:close/>
              </a:path>
            </a:pathLst>
          </a:custGeom>
          <a:solidFill>
            <a:schemeClr val="accent1"/>
          </a:solidFill>
          <a:ln w="9525" cmpd="sng">
            <a:solidFill>
              <a:schemeClr val="tx1"/>
            </a:solidFill>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3" name="Freeform 53"/>
          <p:cNvSpPr>
            <a:spLocks/>
          </p:cNvSpPr>
          <p:nvPr/>
        </p:nvSpPr>
        <p:spPr bwMode="auto">
          <a:xfrm>
            <a:off x="2681288" y="4262339"/>
            <a:ext cx="47625" cy="77788"/>
          </a:xfrm>
          <a:custGeom>
            <a:avLst/>
            <a:gdLst>
              <a:gd name="T0" fmla="*/ 0 w 52"/>
              <a:gd name="T1" fmla="*/ 88 h 88"/>
              <a:gd name="T2" fmla="*/ 0 w 52"/>
              <a:gd name="T3" fmla="*/ 88 h 88"/>
              <a:gd name="T4" fmla="*/ 8 w 52"/>
              <a:gd name="T5" fmla="*/ 86 h 88"/>
              <a:gd name="T6" fmla="*/ 12 w 52"/>
              <a:gd name="T7" fmla="*/ 81 h 88"/>
              <a:gd name="T8" fmla="*/ 15 w 52"/>
              <a:gd name="T9" fmla="*/ 75 h 88"/>
              <a:gd name="T10" fmla="*/ 15 w 52"/>
              <a:gd name="T11" fmla="*/ 65 h 88"/>
              <a:gd name="T12" fmla="*/ 15 w 52"/>
              <a:gd name="T13" fmla="*/ 56 h 88"/>
              <a:gd name="T14" fmla="*/ 15 w 52"/>
              <a:gd name="T15" fmla="*/ 46 h 88"/>
              <a:gd name="T16" fmla="*/ 15 w 52"/>
              <a:gd name="T17" fmla="*/ 37 h 88"/>
              <a:gd name="T18" fmla="*/ 17 w 52"/>
              <a:gd name="T19" fmla="*/ 29 h 88"/>
              <a:gd name="T20" fmla="*/ 17 w 52"/>
              <a:gd name="T21" fmla="*/ 29 h 88"/>
              <a:gd name="T22" fmla="*/ 21 w 52"/>
              <a:gd name="T23" fmla="*/ 23 h 88"/>
              <a:gd name="T24" fmla="*/ 25 w 52"/>
              <a:gd name="T25" fmla="*/ 20 h 88"/>
              <a:gd name="T26" fmla="*/ 29 w 52"/>
              <a:gd name="T27" fmla="*/ 16 h 88"/>
              <a:gd name="T28" fmla="*/ 34 w 52"/>
              <a:gd name="T29" fmla="*/ 14 h 88"/>
              <a:gd name="T30" fmla="*/ 38 w 52"/>
              <a:gd name="T31" fmla="*/ 10 h 88"/>
              <a:gd name="T32" fmla="*/ 44 w 52"/>
              <a:gd name="T33" fmla="*/ 8 h 88"/>
              <a:gd name="T34" fmla="*/ 48 w 52"/>
              <a:gd name="T35" fmla="*/ 4 h 88"/>
              <a:gd name="T36" fmla="*/ 52 w 52"/>
              <a:gd name="T3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88">
                <a:moveTo>
                  <a:pt x="0" y="88"/>
                </a:moveTo>
                <a:lnTo>
                  <a:pt x="0" y="88"/>
                </a:lnTo>
                <a:lnTo>
                  <a:pt x="8" y="86"/>
                </a:lnTo>
                <a:lnTo>
                  <a:pt x="12" y="81"/>
                </a:lnTo>
                <a:lnTo>
                  <a:pt x="15" y="75"/>
                </a:lnTo>
                <a:lnTo>
                  <a:pt x="15" y="65"/>
                </a:lnTo>
                <a:lnTo>
                  <a:pt x="15" y="56"/>
                </a:lnTo>
                <a:lnTo>
                  <a:pt x="15" y="46"/>
                </a:lnTo>
                <a:lnTo>
                  <a:pt x="15" y="37"/>
                </a:lnTo>
                <a:lnTo>
                  <a:pt x="17" y="29"/>
                </a:lnTo>
                <a:lnTo>
                  <a:pt x="17" y="29"/>
                </a:lnTo>
                <a:lnTo>
                  <a:pt x="21" y="23"/>
                </a:lnTo>
                <a:lnTo>
                  <a:pt x="25" y="20"/>
                </a:lnTo>
                <a:lnTo>
                  <a:pt x="29" y="16"/>
                </a:lnTo>
                <a:lnTo>
                  <a:pt x="34" y="14"/>
                </a:lnTo>
                <a:lnTo>
                  <a:pt x="38" y="10"/>
                </a:lnTo>
                <a:lnTo>
                  <a:pt x="44" y="8"/>
                </a:lnTo>
                <a:lnTo>
                  <a:pt x="48" y="4"/>
                </a:lnTo>
                <a:lnTo>
                  <a:pt x="52" y="0"/>
                </a:lnTo>
              </a:path>
            </a:pathLst>
          </a:custGeom>
          <a:solidFill>
            <a:schemeClr val="accent1"/>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4" name="Freeform 54"/>
          <p:cNvSpPr>
            <a:spLocks/>
          </p:cNvSpPr>
          <p:nvPr/>
        </p:nvSpPr>
        <p:spPr bwMode="auto">
          <a:xfrm>
            <a:off x="2678113" y="1646139"/>
            <a:ext cx="1588" cy="9525"/>
          </a:xfrm>
          <a:custGeom>
            <a:avLst/>
            <a:gdLst>
              <a:gd name="T0" fmla="*/ 0 h 9"/>
              <a:gd name="T1" fmla="*/ 1 h 9"/>
              <a:gd name="T2" fmla="*/ 3 h 9"/>
              <a:gd name="T3" fmla="*/ 5 h 9"/>
              <a:gd name="T4" fmla="*/ 9 h 9"/>
              <a:gd name="T5" fmla="*/ 0 h 9"/>
            </a:gdLst>
            <a:ahLst/>
            <a:cxnLst>
              <a:cxn ang="0">
                <a:pos x="0" y="T0"/>
              </a:cxn>
              <a:cxn ang="0">
                <a:pos x="0" y="T1"/>
              </a:cxn>
              <a:cxn ang="0">
                <a:pos x="0" y="T2"/>
              </a:cxn>
              <a:cxn ang="0">
                <a:pos x="0" y="T3"/>
              </a:cxn>
              <a:cxn ang="0">
                <a:pos x="0" y="T4"/>
              </a:cxn>
              <a:cxn ang="0">
                <a:pos x="0" y="T5"/>
              </a:cxn>
            </a:cxnLst>
            <a:rect l="0" t="0" r="r" b="b"/>
            <a:pathLst>
              <a:path h="9">
                <a:moveTo>
                  <a:pt x="0" y="0"/>
                </a:moveTo>
                <a:lnTo>
                  <a:pt x="0" y="1"/>
                </a:lnTo>
                <a:lnTo>
                  <a:pt x="0" y="3"/>
                </a:lnTo>
                <a:lnTo>
                  <a:pt x="0" y="5"/>
                </a:lnTo>
                <a:lnTo>
                  <a:pt x="0" y="9"/>
                </a:lnTo>
                <a:lnTo>
                  <a:pt x="0" y="0"/>
                </a:lnTo>
                <a:close/>
              </a:path>
            </a:pathLst>
          </a:custGeom>
          <a:solidFill>
            <a:schemeClr val="accent1"/>
          </a:solidFill>
          <a:ln w="9525" cmpd="sng">
            <a:solidFill>
              <a:schemeClr val="tx1"/>
            </a:solidFill>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5" name="Freeform 55"/>
          <p:cNvSpPr>
            <a:spLocks/>
          </p:cNvSpPr>
          <p:nvPr/>
        </p:nvSpPr>
        <p:spPr bwMode="auto">
          <a:xfrm>
            <a:off x="2678113" y="1646139"/>
            <a:ext cx="1588" cy="9525"/>
          </a:xfrm>
          <a:custGeom>
            <a:avLst/>
            <a:gdLst>
              <a:gd name="T0" fmla="*/ 0 h 9"/>
              <a:gd name="T1" fmla="*/ 0 h 9"/>
              <a:gd name="T2" fmla="*/ 1 h 9"/>
              <a:gd name="T3" fmla="*/ 3 h 9"/>
              <a:gd name="T4" fmla="*/ 5 h 9"/>
              <a:gd name="T5" fmla="*/ 9 h 9"/>
            </a:gdLst>
            <a:ahLst/>
            <a:cxnLst>
              <a:cxn ang="0">
                <a:pos x="0" y="T0"/>
              </a:cxn>
              <a:cxn ang="0">
                <a:pos x="0" y="T1"/>
              </a:cxn>
              <a:cxn ang="0">
                <a:pos x="0" y="T2"/>
              </a:cxn>
              <a:cxn ang="0">
                <a:pos x="0" y="T3"/>
              </a:cxn>
              <a:cxn ang="0">
                <a:pos x="0" y="T4"/>
              </a:cxn>
              <a:cxn ang="0">
                <a:pos x="0" y="T5"/>
              </a:cxn>
            </a:cxnLst>
            <a:rect l="0" t="0" r="r" b="b"/>
            <a:pathLst>
              <a:path h="9">
                <a:moveTo>
                  <a:pt x="0" y="0"/>
                </a:moveTo>
                <a:lnTo>
                  <a:pt x="0" y="0"/>
                </a:lnTo>
                <a:lnTo>
                  <a:pt x="0" y="1"/>
                </a:lnTo>
                <a:lnTo>
                  <a:pt x="0" y="3"/>
                </a:lnTo>
                <a:lnTo>
                  <a:pt x="0" y="5"/>
                </a:lnTo>
                <a:lnTo>
                  <a:pt x="0" y="9"/>
                </a:lnTo>
              </a:path>
            </a:pathLst>
          </a:custGeom>
          <a:solidFill>
            <a:schemeClr val="accent1"/>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6" name="Freeform 56"/>
          <p:cNvSpPr>
            <a:spLocks/>
          </p:cNvSpPr>
          <p:nvPr/>
        </p:nvSpPr>
        <p:spPr bwMode="auto">
          <a:xfrm>
            <a:off x="3917950" y="3622577"/>
            <a:ext cx="395288" cy="411163"/>
          </a:xfrm>
          <a:custGeom>
            <a:avLst/>
            <a:gdLst>
              <a:gd name="T0" fmla="*/ 96 w 441"/>
              <a:gd name="T1" fmla="*/ 82 h 471"/>
              <a:gd name="T2" fmla="*/ 94 w 441"/>
              <a:gd name="T3" fmla="*/ 107 h 471"/>
              <a:gd name="T4" fmla="*/ 96 w 441"/>
              <a:gd name="T5" fmla="*/ 118 h 471"/>
              <a:gd name="T6" fmla="*/ 98 w 441"/>
              <a:gd name="T7" fmla="*/ 130 h 471"/>
              <a:gd name="T8" fmla="*/ 92 w 441"/>
              <a:gd name="T9" fmla="*/ 143 h 471"/>
              <a:gd name="T10" fmla="*/ 92 w 441"/>
              <a:gd name="T11" fmla="*/ 160 h 471"/>
              <a:gd name="T12" fmla="*/ 121 w 441"/>
              <a:gd name="T13" fmla="*/ 174 h 471"/>
              <a:gd name="T14" fmla="*/ 123 w 441"/>
              <a:gd name="T15" fmla="*/ 195 h 471"/>
              <a:gd name="T16" fmla="*/ 100 w 441"/>
              <a:gd name="T17" fmla="*/ 216 h 471"/>
              <a:gd name="T18" fmla="*/ 75 w 441"/>
              <a:gd name="T19" fmla="*/ 240 h 471"/>
              <a:gd name="T20" fmla="*/ 40 w 441"/>
              <a:gd name="T21" fmla="*/ 275 h 471"/>
              <a:gd name="T22" fmla="*/ 31 w 441"/>
              <a:gd name="T23" fmla="*/ 284 h 471"/>
              <a:gd name="T24" fmla="*/ 25 w 441"/>
              <a:gd name="T25" fmla="*/ 296 h 471"/>
              <a:gd name="T26" fmla="*/ 19 w 441"/>
              <a:gd name="T27" fmla="*/ 340 h 471"/>
              <a:gd name="T28" fmla="*/ 8 w 441"/>
              <a:gd name="T29" fmla="*/ 385 h 471"/>
              <a:gd name="T30" fmla="*/ 2 w 441"/>
              <a:gd name="T31" fmla="*/ 437 h 471"/>
              <a:gd name="T32" fmla="*/ 0 w 441"/>
              <a:gd name="T33" fmla="*/ 456 h 471"/>
              <a:gd name="T34" fmla="*/ 2 w 441"/>
              <a:gd name="T35" fmla="*/ 471 h 471"/>
              <a:gd name="T36" fmla="*/ 12 w 441"/>
              <a:gd name="T37" fmla="*/ 467 h 471"/>
              <a:gd name="T38" fmla="*/ 21 w 441"/>
              <a:gd name="T39" fmla="*/ 465 h 471"/>
              <a:gd name="T40" fmla="*/ 33 w 441"/>
              <a:gd name="T41" fmla="*/ 471 h 471"/>
              <a:gd name="T42" fmla="*/ 60 w 441"/>
              <a:gd name="T43" fmla="*/ 456 h 471"/>
              <a:gd name="T44" fmla="*/ 77 w 441"/>
              <a:gd name="T45" fmla="*/ 446 h 471"/>
              <a:gd name="T46" fmla="*/ 189 w 441"/>
              <a:gd name="T47" fmla="*/ 435 h 471"/>
              <a:gd name="T48" fmla="*/ 184 w 441"/>
              <a:gd name="T49" fmla="*/ 427 h 471"/>
              <a:gd name="T50" fmla="*/ 180 w 441"/>
              <a:gd name="T51" fmla="*/ 418 h 471"/>
              <a:gd name="T52" fmla="*/ 187 w 441"/>
              <a:gd name="T53" fmla="*/ 403 h 471"/>
              <a:gd name="T54" fmla="*/ 195 w 441"/>
              <a:gd name="T55" fmla="*/ 397 h 471"/>
              <a:gd name="T56" fmla="*/ 199 w 441"/>
              <a:gd name="T57" fmla="*/ 380 h 471"/>
              <a:gd name="T58" fmla="*/ 206 w 441"/>
              <a:gd name="T59" fmla="*/ 368 h 471"/>
              <a:gd name="T60" fmla="*/ 237 w 441"/>
              <a:gd name="T61" fmla="*/ 357 h 471"/>
              <a:gd name="T62" fmla="*/ 245 w 441"/>
              <a:gd name="T63" fmla="*/ 355 h 471"/>
              <a:gd name="T64" fmla="*/ 252 w 441"/>
              <a:gd name="T65" fmla="*/ 351 h 471"/>
              <a:gd name="T66" fmla="*/ 266 w 441"/>
              <a:gd name="T67" fmla="*/ 343 h 471"/>
              <a:gd name="T68" fmla="*/ 277 w 441"/>
              <a:gd name="T69" fmla="*/ 349 h 471"/>
              <a:gd name="T70" fmla="*/ 287 w 441"/>
              <a:gd name="T71" fmla="*/ 343 h 471"/>
              <a:gd name="T72" fmla="*/ 292 w 441"/>
              <a:gd name="T73" fmla="*/ 336 h 471"/>
              <a:gd name="T74" fmla="*/ 302 w 441"/>
              <a:gd name="T75" fmla="*/ 343 h 471"/>
              <a:gd name="T76" fmla="*/ 317 w 441"/>
              <a:gd name="T77" fmla="*/ 330 h 471"/>
              <a:gd name="T78" fmla="*/ 327 w 441"/>
              <a:gd name="T79" fmla="*/ 322 h 471"/>
              <a:gd name="T80" fmla="*/ 334 w 441"/>
              <a:gd name="T81" fmla="*/ 328 h 471"/>
              <a:gd name="T82" fmla="*/ 351 w 441"/>
              <a:gd name="T83" fmla="*/ 357 h 471"/>
              <a:gd name="T84" fmla="*/ 359 w 441"/>
              <a:gd name="T85" fmla="*/ 355 h 471"/>
              <a:gd name="T86" fmla="*/ 363 w 441"/>
              <a:gd name="T87" fmla="*/ 336 h 471"/>
              <a:gd name="T88" fmla="*/ 378 w 441"/>
              <a:gd name="T89" fmla="*/ 303 h 471"/>
              <a:gd name="T90" fmla="*/ 409 w 441"/>
              <a:gd name="T91" fmla="*/ 265 h 471"/>
              <a:gd name="T92" fmla="*/ 435 w 441"/>
              <a:gd name="T93" fmla="*/ 223 h 471"/>
              <a:gd name="T94" fmla="*/ 439 w 441"/>
              <a:gd name="T95" fmla="*/ 176 h 471"/>
              <a:gd name="T96" fmla="*/ 422 w 441"/>
              <a:gd name="T97" fmla="*/ 111 h 471"/>
              <a:gd name="T98" fmla="*/ 390 w 441"/>
              <a:gd name="T99" fmla="*/ 52 h 471"/>
              <a:gd name="T100" fmla="*/ 361 w 441"/>
              <a:gd name="T101" fmla="*/ 0 h 471"/>
              <a:gd name="T102" fmla="*/ 329 w 441"/>
              <a:gd name="T103" fmla="*/ 29 h 471"/>
              <a:gd name="T104" fmla="*/ 304 w 441"/>
              <a:gd name="T105" fmla="*/ 42 h 471"/>
              <a:gd name="T106" fmla="*/ 285 w 441"/>
              <a:gd name="T107" fmla="*/ 42 h 471"/>
              <a:gd name="T108" fmla="*/ 273 w 441"/>
              <a:gd name="T109" fmla="*/ 42 h 471"/>
              <a:gd name="T110" fmla="*/ 254 w 441"/>
              <a:gd name="T111" fmla="*/ 48 h 471"/>
              <a:gd name="T112" fmla="*/ 233 w 441"/>
              <a:gd name="T113" fmla="*/ 53 h 471"/>
              <a:gd name="T114" fmla="*/ 210 w 441"/>
              <a:gd name="T115" fmla="*/ 57 h 471"/>
              <a:gd name="T116" fmla="*/ 189 w 441"/>
              <a:gd name="T117" fmla="*/ 52 h 471"/>
              <a:gd name="T118" fmla="*/ 163 w 441"/>
              <a:gd name="T119" fmla="*/ 46 h 471"/>
              <a:gd name="T120" fmla="*/ 134 w 441"/>
              <a:gd name="T121" fmla="*/ 52 h 471"/>
              <a:gd name="T122" fmla="*/ 113 w 441"/>
              <a:gd name="T123" fmla="*/ 63 h 471"/>
              <a:gd name="T124" fmla="*/ 96 w 441"/>
              <a:gd name="T125" fmla="*/ 6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1" h="471">
                <a:moveTo>
                  <a:pt x="94" y="69"/>
                </a:moveTo>
                <a:lnTo>
                  <a:pt x="94" y="69"/>
                </a:lnTo>
                <a:lnTo>
                  <a:pt x="96" y="74"/>
                </a:lnTo>
                <a:lnTo>
                  <a:pt x="96" y="78"/>
                </a:lnTo>
                <a:lnTo>
                  <a:pt x="96" y="82"/>
                </a:lnTo>
                <a:lnTo>
                  <a:pt x="96" y="86"/>
                </a:lnTo>
                <a:lnTo>
                  <a:pt x="96" y="92"/>
                </a:lnTo>
                <a:lnTo>
                  <a:pt x="94" y="95"/>
                </a:lnTo>
                <a:lnTo>
                  <a:pt x="94" y="101"/>
                </a:lnTo>
                <a:lnTo>
                  <a:pt x="94" y="107"/>
                </a:lnTo>
                <a:lnTo>
                  <a:pt x="94" y="107"/>
                </a:lnTo>
                <a:lnTo>
                  <a:pt x="94" y="111"/>
                </a:lnTo>
                <a:lnTo>
                  <a:pt x="94" y="114"/>
                </a:lnTo>
                <a:lnTo>
                  <a:pt x="94" y="116"/>
                </a:lnTo>
                <a:lnTo>
                  <a:pt x="96" y="118"/>
                </a:lnTo>
                <a:lnTo>
                  <a:pt x="96" y="120"/>
                </a:lnTo>
                <a:lnTo>
                  <a:pt x="98" y="122"/>
                </a:lnTo>
                <a:lnTo>
                  <a:pt x="98" y="126"/>
                </a:lnTo>
                <a:lnTo>
                  <a:pt x="98" y="130"/>
                </a:lnTo>
                <a:lnTo>
                  <a:pt x="98" y="130"/>
                </a:lnTo>
                <a:lnTo>
                  <a:pt x="98" y="134"/>
                </a:lnTo>
                <a:lnTo>
                  <a:pt x="96" y="135"/>
                </a:lnTo>
                <a:lnTo>
                  <a:pt x="96" y="137"/>
                </a:lnTo>
                <a:lnTo>
                  <a:pt x="94" y="139"/>
                </a:lnTo>
                <a:lnTo>
                  <a:pt x="92" y="143"/>
                </a:lnTo>
                <a:lnTo>
                  <a:pt x="90" y="145"/>
                </a:lnTo>
                <a:lnTo>
                  <a:pt x="90" y="149"/>
                </a:lnTo>
                <a:lnTo>
                  <a:pt x="90" y="155"/>
                </a:lnTo>
                <a:lnTo>
                  <a:pt x="90" y="155"/>
                </a:lnTo>
                <a:lnTo>
                  <a:pt x="92" y="160"/>
                </a:lnTo>
                <a:lnTo>
                  <a:pt x="96" y="164"/>
                </a:lnTo>
                <a:lnTo>
                  <a:pt x="102" y="166"/>
                </a:lnTo>
                <a:lnTo>
                  <a:pt x="107" y="168"/>
                </a:lnTo>
                <a:lnTo>
                  <a:pt x="115" y="170"/>
                </a:lnTo>
                <a:lnTo>
                  <a:pt x="121" y="174"/>
                </a:lnTo>
                <a:lnTo>
                  <a:pt x="124" y="177"/>
                </a:lnTo>
                <a:lnTo>
                  <a:pt x="124" y="183"/>
                </a:lnTo>
                <a:lnTo>
                  <a:pt x="124" y="183"/>
                </a:lnTo>
                <a:lnTo>
                  <a:pt x="124" y="189"/>
                </a:lnTo>
                <a:lnTo>
                  <a:pt x="123" y="195"/>
                </a:lnTo>
                <a:lnTo>
                  <a:pt x="119" y="198"/>
                </a:lnTo>
                <a:lnTo>
                  <a:pt x="115" y="204"/>
                </a:lnTo>
                <a:lnTo>
                  <a:pt x="111" y="208"/>
                </a:lnTo>
                <a:lnTo>
                  <a:pt x="105" y="212"/>
                </a:lnTo>
                <a:lnTo>
                  <a:pt x="100" y="216"/>
                </a:lnTo>
                <a:lnTo>
                  <a:pt x="96" y="219"/>
                </a:lnTo>
                <a:lnTo>
                  <a:pt x="96" y="219"/>
                </a:lnTo>
                <a:lnTo>
                  <a:pt x="88" y="227"/>
                </a:lnTo>
                <a:lnTo>
                  <a:pt x="82" y="233"/>
                </a:lnTo>
                <a:lnTo>
                  <a:pt x="75" y="240"/>
                </a:lnTo>
                <a:lnTo>
                  <a:pt x="69" y="248"/>
                </a:lnTo>
                <a:lnTo>
                  <a:pt x="61" y="254"/>
                </a:lnTo>
                <a:lnTo>
                  <a:pt x="56" y="261"/>
                </a:lnTo>
                <a:lnTo>
                  <a:pt x="48" y="269"/>
                </a:lnTo>
                <a:lnTo>
                  <a:pt x="40" y="275"/>
                </a:lnTo>
                <a:lnTo>
                  <a:pt x="40" y="275"/>
                </a:lnTo>
                <a:lnTo>
                  <a:pt x="39" y="277"/>
                </a:lnTo>
                <a:lnTo>
                  <a:pt x="37" y="280"/>
                </a:lnTo>
                <a:lnTo>
                  <a:pt x="33" y="282"/>
                </a:lnTo>
                <a:lnTo>
                  <a:pt x="31" y="284"/>
                </a:lnTo>
                <a:lnTo>
                  <a:pt x="29" y="286"/>
                </a:lnTo>
                <a:lnTo>
                  <a:pt x="27" y="290"/>
                </a:lnTo>
                <a:lnTo>
                  <a:pt x="25" y="294"/>
                </a:lnTo>
                <a:lnTo>
                  <a:pt x="25" y="296"/>
                </a:lnTo>
                <a:lnTo>
                  <a:pt x="25" y="296"/>
                </a:lnTo>
                <a:lnTo>
                  <a:pt x="25" y="305"/>
                </a:lnTo>
                <a:lnTo>
                  <a:pt x="23" y="313"/>
                </a:lnTo>
                <a:lnTo>
                  <a:pt x="23" y="322"/>
                </a:lnTo>
                <a:lnTo>
                  <a:pt x="21" y="330"/>
                </a:lnTo>
                <a:lnTo>
                  <a:pt x="19" y="340"/>
                </a:lnTo>
                <a:lnTo>
                  <a:pt x="18" y="347"/>
                </a:lnTo>
                <a:lnTo>
                  <a:pt x="16" y="357"/>
                </a:lnTo>
                <a:lnTo>
                  <a:pt x="14" y="366"/>
                </a:lnTo>
                <a:lnTo>
                  <a:pt x="10" y="376"/>
                </a:lnTo>
                <a:lnTo>
                  <a:pt x="8" y="385"/>
                </a:lnTo>
                <a:lnTo>
                  <a:pt x="6" y="395"/>
                </a:lnTo>
                <a:lnTo>
                  <a:pt x="4" y="404"/>
                </a:lnTo>
                <a:lnTo>
                  <a:pt x="2" y="414"/>
                </a:lnTo>
                <a:lnTo>
                  <a:pt x="2" y="425"/>
                </a:lnTo>
                <a:lnTo>
                  <a:pt x="2" y="437"/>
                </a:lnTo>
                <a:lnTo>
                  <a:pt x="0" y="448"/>
                </a:lnTo>
                <a:lnTo>
                  <a:pt x="0" y="448"/>
                </a:lnTo>
                <a:lnTo>
                  <a:pt x="0" y="450"/>
                </a:lnTo>
                <a:lnTo>
                  <a:pt x="0" y="454"/>
                </a:lnTo>
                <a:lnTo>
                  <a:pt x="0" y="456"/>
                </a:lnTo>
                <a:lnTo>
                  <a:pt x="0" y="460"/>
                </a:lnTo>
                <a:lnTo>
                  <a:pt x="2" y="462"/>
                </a:lnTo>
                <a:lnTo>
                  <a:pt x="2" y="465"/>
                </a:lnTo>
                <a:lnTo>
                  <a:pt x="2" y="467"/>
                </a:lnTo>
                <a:lnTo>
                  <a:pt x="2" y="471"/>
                </a:lnTo>
                <a:lnTo>
                  <a:pt x="2" y="471"/>
                </a:lnTo>
                <a:lnTo>
                  <a:pt x="4" y="469"/>
                </a:lnTo>
                <a:lnTo>
                  <a:pt x="8" y="469"/>
                </a:lnTo>
                <a:lnTo>
                  <a:pt x="10" y="467"/>
                </a:lnTo>
                <a:lnTo>
                  <a:pt x="12" y="467"/>
                </a:lnTo>
                <a:lnTo>
                  <a:pt x="14" y="465"/>
                </a:lnTo>
                <a:lnTo>
                  <a:pt x="16" y="465"/>
                </a:lnTo>
                <a:lnTo>
                  <a:pt x="19" y="465"/>
                </a:lnTo>
                <a:lnTo>
                  <a:pt x="21" y="465"/>
                </a:lnTo>
                <a:lnTo>
                  <a:pt x="21" y="465"/>
                </a:lnTo>
                <a:lnTo>
                  <a:pt x="25" y="465"/>
                </a:lnTo>
                <a:lnTo>
                  <a:pt x="29" y="469"/>
                </a:lnTo>
                <a:lnTo>
                  <a:pt x="31" y="471"/>
                </a:lnTo>
                <a:lnTo>
                  <a:pt x="33" y="471"/>
                </a:lnTo>
                <a:lnTo>
                  <a:pt x="33" y="471"/>
                </a:lnTo>
                <a:lnTo>
                  <a:pt x="40" y="471"/>
                </a:lnTo>
                <a:lnTo>
                  <a:pt x="46" y="467"/>
                </a:lnTo>
                <a:lnTo>
                  <a:pt x="50" y="465"/>
                </a:lnTo>
                <a:lnTo>
                  <a:pt x="56" y="462"/>
                </a:lnTo>
                <a:lnTo>
                  <a:pt x="60" y="456"/>
                </a:lnTo>
                <a:lnTo>
                  <a:pt x="63" y="454"/>
                </a:lnTo>
                <a:lnTo>
                  <a:pt x="69" y="450"/>
                </a:lnTo>
                <a:lnTo>
                  <a:pt x="75" y="448"/>
                </a:lnTo>
                <a:lnTo>
                  <a:pt x="77" y="446"/>
                </a:lnTo>
                <a:lnTo>
                  <a:pt x="77" y="446"/>
                </a:lnTo>
                <a:lnTo>
                  <a:pt x="77" y="443"/>
                </a:lnTo>
                <a:lnTo>
                  <a:pt x="79" y="441"/>
                </a:lnTo>
                <a:lnTo>
                  <a:pt x="81" y="439"/>
                </a:lnTo>
                <a:lnTo>
                  <a:pt x="84" y="435"/>
                </a:lnTo>
                <a:lnTo>
                  <a:pt x="189" y="435"/>
                </a:lnTo>
                <a:lnTo>
                  <a:pt x="189" y="435"/>
                </a:lnTo>
                <a:lnTo>
                  <a:pt x="187" y="433"/>
                </a:lnTo>
                <a:lnTo>
                  <a:pt x="187" y="431"/>
                </a:lnTo>
                <a:lnTo>
                  <a:pt x="185" y="429"/>
                </a:lnTo>
                <a:lnTo>
                  <a:pt x="184" y="427"/>
                </a:lnTo>
                <a:lnTo>
                  <a:pt x="182" y="425"/>
                </a:lnTo>
                <a:lnTo>
                  <a:pt x="182" y="424"/>
                </a:lnTo>
                <a:lnTo>
                  <a:pt x="180" y="420"/>
                </a:lnTo>
                <a:lnTo>
                  <a:pt x="180" y="418"/>
                </a:lnTo>
                <a:lnTo>
                  <a:pt x="180" y="418"/>
                </a:lnTo>
                <a:lnTo>
                  <a:pt x="182" y="414"/>
                </a:lnTo>
                <a:lnTo>
                  <a:pt x="182" y="410"/>
                </a:lnTo>
                <a:lnTo>
                  <a:pt x="184" y="408"/>
                </a:lnTo>
                <a:lnTo>
                  <a:pt x="185" y="404"/>
                </a:lnTo>
                <a:lnTo>
                  <a:pt x="187" y="403"/>
                </a:lnTo>
                <a:lnTo>
                  <a:pt x="189" y="403"/>
                </a:lnTo>
                <a:lnTo>
                  <a:pt x="191" y="401"/>
                </a:lnTo>
                <a:lnTo>
                  <a:pt x="193" y="399"/>
                </a:lnTo>
                <a:lnTo>
                  <a:pt x="193" y="399"/>
                </a:lnTo>
                <a:lnTo>
                  <a:pt x="195" y="397"/>
                </a:lnTo>
                <a:lnTo>
                  <a:pt x="197" y="393"/>
                </a:lnTo>
                <a:lnTo>
                  <a:pt x="197" y="391"/>
                </a:lnTo>
                <a:lnTo>
                  <a:pt x="199" y="387"/>
                </a:lnTo>
                <a:lnTo>
                  <a:pt x="199" y="383"/>
                </a:lnTo>
                <a:lnTo>
                  <a:pt x="199" y="380"/>
                </a:lnTo>
                <a:lnTo>
                  <a:pt x="201" y="378"/>
                </a:lnTo>
                <a:lnTo>
                  <a:pt x="201" y="374"/>
                </a:lnTo>
                <a:lnTo>
                  <a:pt x="201" y="374"/>
                </a:lnTo>
                <a:lnTo>
                  <a:pt x="203" y="370"/>
                </a:lnTo>
                <a:lnTo>
                  <a:pt x="206" y="368"/>
                </a:lnTo>
                <a:lnTo>
                  <a:pt x="212" y="366"/>
                </a:lnTo>
                <a:lnTo>
                  <a:pt x="220" y="362"/>
                </a:lnTo>
                <a:lnTo>
                  <a:pt x="227" y="361"/>
                </a:lnTo>
                <a:lnTo>
                  <a:pt x="233" y="359"/>
                </a:lnTo>
                <a:lnTo>
                  <a:pt x="237" y="357"/>
                </a:lnTo>
                <a:lnTo>
                  <a:pt x="239" y="355"/>
                </a:lnTo>
                <a:lnTo>
                  <a:pt x="239" y="355"/>
                </a:lnTo>
                <a:lnTo>
                  <a:pt x="241" y="357"/>
                </a:lnTo>
                <a:lnTo>
                  <a:pt x="243" y="357"/>
                </a:lnTo>
                <a:lnTo>
                  <a:pt x="245" y="355"/>
                </a:lnTo>
                <a:lnTo>
                  <a:pt x="246" y="355"/>
                </a:lnTo>
                <a:lnTo>
                  <a:pt x="246" y="355"/>
                </a:lnTo>
                <a:lnTo>
                  <a:pt x="248" y="355"/>
                </a:lnTo>
                <a:lnTo>
                  <a:pt x="250" y="355"/>
                </a:lnTo>
                <a:lnTo>
                  <a:pt x="252" y="351"/>
                </a:lnTo>
                <a:lnTo>
                  <a:pt x="254" y="349"/>
                </a:lnTo>
                <a:lnTo>
                  <a:pt x="256" y="347"/>
                </a:lnTo>
                <a:lnTo>
                  <a:pt x="260" y="345"/>
                </a:lnTo>
                <a:lnTo>
                  <a:pt x="262" y="345"/>
                </a:lnTo>
                <a:lnTo>
                  <a:pt x="266" y="343"/>
                </a:lnTo>
                <a:lnTo>
                  <a:pt x="266" y="343"/>
                </a:lnTo>
                <a:lnTo>
                  <a:pt x="267" y="345"/>
                </a:lnTo>
                <a:lnTo>
                  <a:pt x="271" y="345"/>
                </a:lnTo>
                <a:lnTo>
                  <a:pt x="273" y="347"/>
                </a:lnTo>
                <a:lnTo>
                  <a:pt x="277" y="349"/>
                </a:lnTo>
                <a:lnTo>
                  <a:pt x="277" y="349"/>
                </a:lnTo>
                <a:lnTo>
                  <a:pt x="279" y="347"/>
                </a:lnTo>
                <a:lnTo>
                  <a:pt x="283" y="347"/>
                </a:lnTo>
                <a:lnTo>
                  <a:pt x="285" y="345"/>
                </a:lnTo>
                <a:lnTo>
                  <a:pt x="287" y="343"/>
                </a:lnTo>
                <a:lnTo>
                  <a:pt x="288" y="341"/>
                </a:lnTo>
                <a:lnTo>
                  <a:pt x="288" y="340"/>
                </a:lnTo>
                <a:lnTo>
                  <a:pt x="290" y="338"/>
                </a:lnTo>
                <a:lnTo>
                  <a:pt x="292" y="336"/>
                </a:lnTo>
                <a:lnTo>
                  <a:pt x="292" y="336"/>
                </a:lnTo>
                <a:lnTo>
                  <a:pt x="294" y="338"/>
                </a:lnTo>
                <a:lnTo>
                  <a:pt x="296" y="341"/>
                </a:lnTo>
                <a:lnTo>
                  <a:pt x="300" y="343"/>
                </a:lnTo>
                <a:lnTo>
                  <a:pt x="302" y="343"/>
                </a:lnTo>
                <a:lnTo>
                  <a:pt x="302" y="343"/>
                </a:lnTo>
                <a:lnTo>
                  <a:pt x="308" y="343"/>
                </a:lnTo>
                <a:lnTo>
                  <a:pt x="311" y="341"/>
                </a:lnTo>
                <a:lnTo>
                  <a:pt x="313" y="338"/>
                </a:lnTo>
                <a:lnTo>
                  <a:pt x="315" y="334"/>
                </a:lnTo>
                <a:lnTo>
                  <a:pt x="317" y="330"/>
                </a:lnTo>
                <a:lnTo>
                  <a:pt x="319" y="326"/>
                </a:lnTo>
                <a:lnTo>
                  <a:pt x="321" y="322"/>
                </a:lnTo>
                <a:lnTo>
                  <a:pt x="323" y="322"/>
                </a:lnTo>
                <a:lnTo>
                  <a:pt x="323" y="322"/>
                </a:lnTo>
                <a:lnTo>
                  <a:pt x="327" y="322"/>
                </a:lnTo>
                <a:lnTo>
                  <a:pt x="329" y="322"/>
                </a:lnTo>
                <a:lnTo>
                  <a:pt x="332" y="322"/>
                </a:lnTo>
                <a:lnTo>
                  <a:pt x="334" y="322"/>
                </a:lnTo>
                <a:lnTo>
                  <a:pt x="334" y="322"/>
                </a:lnTo>
                <a:lnTo>
                  <a:pt x="334" y="328"/>
                </a:lnTo>
                <a:lnTo>
                  <a:pt x="336" y="336"/>
                </a:lnTo>
                <a:lnTo>
                  <a:pt x="340" y="341"/>
                </a:lnTo>
                <a:lnTo>
                  <a:pt x="344" y="347"/>
                </a:lnTo>
                <a:lnTo>
                  <a:pt x="348" y="353"/>
                </a:lnTo>
                <a:lnTo>
                  <a:pt x="351" y="357"/>
                </a:lnTo>
                <a:lnTo>
                  <a:pt x="355" y="361"/>
                </a:lnTo>
                <a:lnTo>
                  <a:pt x="359" y="362"/>
                </a:lnTo>
                <a:lnTo>
                  <a:pt x="359" y="362"/>
                </a:lnTo>
                <a:lnTo>
                  <a:pt x="359" y="359"/>
                </a:lnTo>
                <a:lnTo>
                  <a:pt x="359" y="355"/>
                </a:lnTo>
                <a:lnTo>
                  <a:pt x="361" y="351"/>
                </a:lnTo>
                <a:lnTo>
                  <a:pt x="361" y="347"/>
                </a:lnTo>
                <a:lnTo>
                  <a:pt x="361" y="345"/>
                </a:lnTo>
                <a:lnTo>
                  <a:pt x="361" y="341"/>
                </a:lnTo>
                <a:lnTo>
                  <a:pt x="363" y="336"/>
                </a:lnTo>
                <a:lnTo>
                  <a:pt x="363" y="332"/>
                </a:lnTo>
                <a:lnTo>
                  <a:pt x="363" y="332"/>
                </a:lnTo>
                <a:lnTo>
                  <a:pt x="367" y="322"/>
                </a:lnTo>
                <a:lnTo>
                  <a:pt x="372" y="313"/>
                </a:lnTo>
                <a:lnTo>
                  <a:pt x="378" y="303"/>
                </a:lnTo>
                <a:lnTo>
                  <a:pt x="384" y="296"/>
                </a:lnTo>
                <a:lnTo>
                  <a:pt x="390" y="288"/>
                </a:lnTo>
                <a:lnTo>
                  <a:pt x="395" y="280"/>
                </a:lnTo>
                <a:lnTo>
                  <a:pt x="403" y="273"/>
                </a:lnTo>
                <a:lnTo>
                  <a:pt x="409" y="265"/>
                </a:lnTo>
                <a:lnTo>
                  <a:pt x="414" y="258"/>
                </a:lnTo>
                <a:lnTo>
                  <a:pt x="420" y="250"/>
                </a:lnTo>
                <a:lnTo>
                  <a:pt x="426" y="240"/>
                </a:lnTo>
                <a:lnTo>
                  <a:pt x="432" y="233"/>
                </a:lnTo>
                <a:lnTo>
                  <a:pt x="435" y="223"/>
                </a:lnTo>
                <a:lnTo>
                  <a:pt x="437" y="214"/>
                </a:lnTo>
                <a:lnTo>
                  <a:pt x="439" y="202"/>
                </a:lnTo>
                <a:lnTo>
                  <a:pt x="441" y="191"/>
                </a:lnTo>
                <a:lnTo>
                  <a:pt x="441" y="191"/>
                </a:lnTo>
                <a:lnTo>
                  <a:pt x="439" y="176"/>
                </a:lnTo>
                <a:lnTo>
                  <a:pt x="437" y="162"/>
                </a:lnTo>
                <a:lnTo>
                  <a:pt x="435" y="149"/>
                </a:lnTo>
                <a:lnTo>
                  <a:pt x="432" y="135"/>
                </a:lnTo>
                <a:lnTo>
                  <a:pt x="428" y="124"/>
                </a:lnTo>
                <a:lnTo>
                  <a:pt x="422" y="111"/>
                </a:lnTo>
                <a:lnTo>
                  <a:pt x="416" y="99"/>
                </a:lnTo>
                <a:lnTo>
                  <a:pt x="411" y="86"/>
                </a:lnTo>
                <a:lnTo>
                  <a:pt x="403" y="74"/>
                </a:lnTo>
                <a:lnTo>
                  <a:pt x="397" y="63"/>
                </a:lnTo>
                <a:lnTo>
                  <a:pt x="390" y="52"/>
                </a:lnTo>
                <a:lnTo>
                  <a:pt x="384" y="42"/>
                </a:lnTo>
                <a:lnTo>
                  <a:pt x="376" y="31"/>
                </a:lnTo>
                <a:lnTo>
                  <a:pt x="370" y="21"/>
                </a:lnTo>
                <a:lnTo>
                  <a:pt x="367" y="10"/>
                </a:lnTo>
                <a:lnTo>
                  <a:pt x="361" y="0"/>
                </a:lnTo>
                <a:lnTo>
                  <a:pt x="361" y="0"/>
                </a:lnTo>
                <a:lnTo>
                  <a:pt x="353" y="8"/>
                </a:lnTo>
                <a:lnTo>
                  <a:pt x="346" y="15"/>
                </a:lnTo>
                <a:lnTo>
                  <a:pt x="338" y="21"/>
                </a:lnTo>
                <a:lnTo>
                  <a:pt x="329" y="29"/>
                </a:lnTo>
                <a:lnTo>
                  <a:pt x="323" y="34"/>
                </a:lnTo>
                <a:lnTo>
                  <a:pt x="315" y="38"/>
                </a:lnTo>
                <a:lnTo>
                  <a:pt x="309" y="42"/>
                </a:lnTo>
                <a:lnTo>
                  <a:pt x="304" y="42"/>
                </a:lnTo>
                <a:lnTo>
                  <a:pt x="304" y="42"/>
                </a:lnTo>
                <a:lnTo>
                  <a:pt x="300" y="42"/>
                </a:lnTo>
                <a:lnTo>
                  <a:pt x="296" y="42"/>
                </a:lnTo>
                <a:lnTo>
                  <a:pt x="292" y="42"/>
                </a:lnTo>
                <a:lnTo>
                  <a:pt x="288" y="42"/>
                </a:lnTo>
                <a:lnTo>
                  <a:pt x="285" y="42"/>
                </a:lnTo>
                <a:lnTo>
                  <a:pt x="283" y="42"/>
                </a:lnTo>
                <a:lnTo>
                  <a:pt x="279" y="42"/>
                </a:lnTo>
                <a:lnTo>
                  <a:pt x="277" y="42"/>
                </a:lnTo>
                <a:lnTo>
                  <a:pt x="277" y="42"/>
                </a:lnTo>
                <a:lnTo>
                  <a:pt x="273" y="42"/>
                </a:lnTo>
                <a:lnTo>
                  <a:pt x="271" y="44"/>
                </a:lnTo>
                <a:lnTo>
                  <a:pt x="267" y="44"/>
                </a:lnTo>
                <a:lnTo>
                  <a:pt x="264" y="46"/>
                </a:lnTo>
                <a:lnTo>
                  <a:pt x="258" y="46"/>
                </a:lnTo>
                <a:lnTo>
                  <a:pt x="254" y="48"/>
                </a:lnTo>
                <a:lnTo>
                  <a:pt x="250" y="50"/>
                </a:lnTo>
                <a:lnTo>
                  <a:pt x="246" y="50"/>
                </a:lnTo>
                <a:lnTo>
                  <a:pt x="243" y="52"/>
                </a:lnTo>
                <a:lnTo>
                  <a:pt x="237" y="53"/>
                </a:lnTo>
                <a:lnTo>
                  <a:pt x="233" y="53"/>
                </a:lnTo>
                <a:lnTo>
                  <a:pt x="229" y="55"/>
                </a:lnTo>
                <a:lnTo>
                  <a:pt x="224" y="57"/>
                </a:lnTo>
                <a:lnTo>
                  <a:pt x="220" y="57"/>
                </a:lnTo>
                <a:lnTo>
                  <a:pt x="214" y="57"/>
                </a:lnTo>
                <a:lnTo>
                  <a:pt x="210" y="57"/>
                </a:lnTo>
                <a:lnTo>
                  <a:pt x="210" y="57"/>
                </a:lnTo>
                <a:lnTo>
                  <a:pt x="205" y="57"/>
                </a:lnTo>
                <a:lnTo>
                  <a:pt x="199" y="55"/>
                </a:lnTo>
                <a:lnTo>
                  <a:pt x="195" y="53"/>
                </a:lnTo>
                <a:lnTo>
                  <a:pt x="189" y="52"/>
                </a:lnTo>
                <a:lnTo>
                  <a:pt x="184" y="50"/>
                </a:lnTo>
                <a:lnTo>
                  <a:pt x="178" y="48"/>
                </a:lnTo>
                <a:lnTo>
                  <a:pt x="170" y="46"/>
                </a:lnTo>
                <a:lnTo>
                  <a:pt x="163" y="46"/>
                </a:lnTo>
                <a:lnTo>
                  <a:pt x="163" y="46"/>
                </a:lnTo>
                <a:lnTo>
                  <a:pt x="155" y="46"/>
                </a:lnTo>
                <a:lnTo>
                  <a:pt x="149" y="48"/>
                </a:lnTo>
                <a:lnTo>
                  <a:pt x="143" y="48"/>
                </a:lnTo>
                <a:lnTo>
                  <a:pt x="138" y="50"/>
                </a:lnTo>
                <a:lnTo>
                  <a:pt x="134" y="52"/>
                </a:lnTo>
                <a:lnTo>
                  <a:pt x="128" y="53"/>
                </a:lnTo>
                <a:lnTo>
                  <a:pt x="124" y="55"/>
                </a:lnTo>
                <a:lnTo>
                  <a:pt x="121" y="57"/>
                </a:lnTo>
                <a:lnTo>
                  <a:pt x="117" y="61"/>
                </a:lnTo>
                <a:lnTo>
                  <a:pt x="113" y="63"/>
                </a:lnTo>
                <a:lnTo>
                  <a:pt x="109" y="65"/>
                </a:lnTo>
                <a:lnTo>
                  <a:pt x="107" y="67"/>
                </a:lnTo>
                <a:lnTo>
                  <a:pt x="103" y="67"/>
                </a:lnTo>
                <a:lnTo>
                  <a:pt x="100" y="69"/>
                </a:lnTo>
                <a:lnTo>
                  <a:pt x="96" y="69"/>
                </a:lnTo>
                <a:lnTo>
                  <a:pt x="92" y="71"/>
                </a:lnTo>
                <a:lnTo>
                  <a:pt x="94" y="69"/>
                </a:lnTo>
              </a:path>
            </a:pathLst>
          </a:custGeom>
          <a:solidFill>
            <a:srgbClr val="003366"/>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7" name="Freeform 57"/>
          <p:cNvSpPr>
            <a:spLocks/>
          </p:cNvSpPr>
          <p:nvPr/>
        </p:nvSpPr>
        <p:spPr bwMode="auto">
          <a:xfrm>
            <a:off x="2840038" y="5481539"/>
            <a:ext cx="30163" cy="63500"/>
          </a:xfrm>
          <a:custGeom>
            <a:avLst/>
            <a:gdLst>
              <a:gd name="T0" fmla="*/ 0 w 34"/>
              <a:gd name="T1" fmla="*/ 0 h 74"/>
              <a:gd name="T2" fmla="*/ 0 w 34"/>
              <a:gd name="T3" fmla="*/ 0 h 74"/>
              <a:gd name="T4" fmla="*/ 1 w 34"/>
              <a:gd name="T5" fmla="*/ 0 h 74"/>
              <a:gd name="T6" fmla="*/ 3 w 34"/>
              <a:gd name="T7" fmla="*/ 2 h 74"/>
              <a:gd name="T8" fmla="*/ 7 w 34"/>
              <a:gd name="T9" fmla="*/ 4 h 74"/>
              <a:gd name="T10" fmla="*/ 11 w 34"/>
              <a:gd name="T11" fmla="*/ 8 h 74"/>
              <a:gd name="T12" fmla="*/ 15 w 34"/>
              <a:gd name="T13" fmla="*/ 11 h 74"/>
              <a:gd name="T14" fmla="*/ 21 w 34"/>
              <a:gd name="T15" fmla="*/ 15 h 74"/>
              <a:gd name="T16" fmla="*/ 24 w 34"/>
              <a:gd name="T17" fmla="*/ 21 h 74"/>
              <a:gd name="T18" fmla="*/ 28 w 34"/>
              <a:gd name="T19" fmla="*/ 27 h 74"/>
              <a:gd name="T20" fmla="*/ 32 w 34"/>
              <a:gd name="T21" fmla="*/ 32 h 74"/>
              <a:gd name="T22" fmla="*/ 34 w 34"/>
              <a:gd name="T23" fmla="*/ 38 h 74"/>
              <a:gd name="T24" fmla="*/ 34 w 34"/>
              <a:gd name="T25" fmla="*/ 46 h 74"/>
              <a:gd name="T26" fmla="*/ 34 w 34"/>
              <a:gd name="T27" fmla="*/ 52 h 74"/>
              <a:gd name="T28" fmla="*/ 30 w 34"/>
              <a:gd name="T29" fmla="*/ 57 h 74"/>
              <a:gd name="T30" fmla="*/ 24 w 34"/>
              <a:gd name="T31" fmla="*/ 63 h 74"/>
              <a:gd name="T32" fmla="*/ 17 w 34"/>
              <a:gd name="T33" fmla="*/ 69 h 74"/>
              <a:gd name="T34" fmla="*/ 5 w 34"/>
              <a:gd name="T35" fmla="*/ 74 h 74"/>
              <a:gd name="T36" fmla="*/ 0 w 34"/>
              <a:gd name="T3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74">
                <a:moveTo>
                  <a:pt x="0" y="0"/>
                </a:moveTo>
                <a:lnTo>
                  <a:pt x="0" y="0"/>
                </a:lnTo>
                <a:lnTo>
                  <a:pt x="1" y="0"/>
                </a:lnTo>
                <a:lnTo>
                  <a:pt x="3" y="2"/>
                </a:lnTo>
                <a:lnTo>
                  <a:pt x="7" y="4"/>
                </a:lnTo>
                <a:lnTo>
                  <a:pt x="11" y="8"/>
                </a:lnTo>
                <a:lnTo>
                  <a:pt x="15" y="11"/>
                </a:lnTo>
                <a:lnTo>
                  <a:pt x="21" y="15"/>
                </a:lnTo>
                <a:lnTo>
                  <a:pt x="24" y="21"/>
                </a:lnTo>
                <a:lnTo>
                  <a:pt x="28" y="27"/>
                </a:lnTo>
                <a:lnTo>
                  <a:pt x="32" y="32"/>
                </a:lnTo>
                <a:lnTo>
                  <a:pt x="34" y="38"/>
                </a:lnTo>
                <a:lnTo>
                  <a:pt x="34" y="46"/>
                </a:lnTo>
                <a:lnTo>
                  <a:pt x="34" y="52"/>
                </a:lnTo>
                <a:lnTo>
                  <a:pt x="30" y="57"/>
                </a:lnTo>
                <a:lnTo>
                  <a:pt x="24" y="63"/>
                </a:lnTo>
                <a:lnTo>
                  <a:pt x="17" y="69"/>
                </a:lnTo>
                <a:lnTo>
                  <a:pt x="5" y="74"/>
                </a:lnTo>
                <a:lnTo>
                  <a:pt x="0" y="0"/>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8" name="Freeform 58"/>
          <p:cNvSpPr>
            <a:spLocks/>
          </p:cNvSpPr>
          <p:nvPr/>
        </p:nvSpPr>
        <p:spPr bwMode="auto">
          <a:xfrm>
            <a:off x="4371975" y="2643089"/>
            <a:ext cx="463550" cy="384175"/>
          </a:xfrm>
          <a:custGeom>
            <a:avLst/>
            <a:gdLst>
              <a:gd name="T0" fmla="*/ 74 w 515"/>
              <a:gd name="T1" fmla="*/ 296 h 441"/>
              <a:gd name="T2" fmla="*/ 86 w 515"/>
              <a:gd name="T3" fmla="*/ 311 h 441"/>
              <a:gd name="T4" fmla="*/ 99 w 515"/>
              <a:gd name="T5" fmla="*/ 315 h 441"/>
              <a:gd name="T6" fmla="*/ 116 w 515"/>
              <a:gd name="T7" fmla="*/ 275 h 441"/>
              <a:gd name="T8" fmla="*/ 135 w 515"/>
              <a:gd name="T9" fmla="*/ 269 h 441"/>
              <a:gd name="T10" fmla="*/ 172 w 515"/>
              <a:gd name="T11" fmla="*/ 290 h 441"/>
              <a:gd name="T12" fmla="*/ 193 w 515"/>
              <a:gd name="T13" fmla="*/ 286 h 441"/>
              <a:gd name="T14" fmla="*/ 208 w 515"/>
              <a:gd name="T15" fmla="*/ 277 h 441"/>
              <a:gd name="T16" fmla="*/ 217 w 515"/>
              <a:gd name="T17" fmla="*/ 283 h 441"/>
              <a:gd name="T18" fmla="*/ 221 w 515"/>
              <a:gd name="T19" fmla="*/ 290 h 441"/>
              <a:gd name="T20" fmla="*/ 248 w 515"/>
              <a:gd name="T21" fmla="*/ 286 h 441"/>
              <a:gd name="T22" fmla="*/ 269 w 515"/>
              <a:gd name="T23" fmla="*/ 286 h 441"/>
              <a:gd name="T24" fmla="*/ 301 w 515"/>
              <a:gd name="T25" fmla="*/ 290 h 441"/>
              <a:gd name="T26" fmla="*/ 332 w 515"/>
              <a:gd name="T27" fmla="*/ 300 h 441"/>
              <a:gd name="T28" fmla="*/ 359 w 515"/>
              <a:gd name="T29" fmla="*/ 319 h 441"/>
              <a:gd name="T30" fmla="*/ 366 w 515"/>
              <a:gd name="T31" fmla="*/ 334 h 441"/>
              <a:gd name="T32" fmla="*/ 374 w 515"/>
              <a:gd name="T33" fmla="*/ 349 h 441"/>
              <a:gd name="T34" fmla="*/ 406 w 515"/>
              <a:gd name="T35" fmla="*/ 374 h 441"/>
              <a:gd name="T36" fmla="*/ 441 w 515"/>
              <a:gd name="T37" fmla="*/ 401 h 441"/>
              <a:gd name="T38" fmla="*/ 469 w 515"/>
              <a:gd name="T39" fmla="*/ 433 h 441"/>
              <a:gd name="T40" fmla="*/ 490 w 515"/>
              <a:gd name="T41" fmla="*/ 431 h 441"/>
              <a:gd name="T42" fmla="*/ 515 w 515"/>
              <a:gd name="T43" fmla="*/ 418 h 441"/>
              <a:gd name="T44" fmla="*/ 490 w 515"/>
              <a:gd name="T45" fmla="*/ 399 h 441"/>
              <a:gd name="T46" fmla="*/ 469 w 515"/>
              <a:gd name="T47" fmla="*/ 378 h 441"/>
              <a:gd name="T48" fmla="*/ 462 w 515"/>
              <a:gd name="T49" fmla="*/ 355 h 441"/>
              <a:gd name="T50" fmla="*/ 446 w 515"/>
              <a:gd name="T51" fmla="*/ 342 h 441"/>
              <a:gd name="T52" fmla="*/ 412 w 515"/>
              <a:gd name="T53" fmla="*/ 328 h 441"/>
              <a:gd name="T54" fmla="*/ 389 w 515"/>
              <a:gd name="T55" fmla="*/ 305 h 441"/>
              <a:gd name="T56" fmla="*/ 362 w 515"/>
              <a:gd name="T57" fmla="*/ 271 h 441"/>
              <a:gd name="T58" fmla="*/ 341 w 515"/>
              <a:gd name="T59" fmla="*/ 262 h 441"/>
              <a:gd name="T60" fmla="*/ 320 w 515"/>
              <a:gd name="T61" fmla="*/ 260 h 441"/>
              <a:gd name="T62" fmla="*/ 299 w 515"/>
              <a:gd name="T63" fmla="*/ 254 h 441"/>
              <a:gd name="T64" fmla="*/ 282 w 515"/>
              <a:gd name="T65" fmla="*/ 243 h 441"/>
              <a:gd name="T66" fmla="*/ 271 w 515"/>
              <a:gd name="T67" fmla="*/ 218 h 441"/>
              <a:gd name="T68" fmla="*/ 252 w 515"/>
              <a:gd name="T69" fmla="*/ 212 h 441"/>
              <a:gd name="T70" fmla="*/ 227 w 515"/>
              <a:gd name="T71" fmla="*/ 187 h 441"/>
              <a:gd name="T72" fmla="*/ 204 w 515"/>
              <a:gd name="T73" fmla="*/ 143 h 441"/>
              <a:gd name="T74" fmla="*/ 194 w 515"/>
              <a:gd name="T75" fmla="*/ 119 h 441"/>
              <a:gd name="T76" fmla="*/ 185 w 515"/>
              <a:gd name="T77" fmla="*/ 77 h 441"/>
              <a:gd name="T78" fmla="*/ 168 w 515"/>
              <a:gd name="T79" fmla="*/ 33 h 441"/>
              <a:gd name="T80" fmla="*/ 143 w 515"/>
              <a:gd name="T81" fmla="*/ 4 h 441"/>
              <a:gd name="T82" fmla="*/ 126 w 515"/>
              <a:gd name="T83" fmla="*/ 33 h 441"/>
              <a:gd name="T84" fmla="*/ 80 w 515"/>
              <a:gd name="T85" fmla="*/ 65 h 441"/>
              <a:gd name="T86" fmla="*/ 34 w 515"/>
              <a:gd name="T87" fmla="*/ 98 h 441"/>
              <a:gd name="T88" fmla="*/ 25 w 515"/>
              <a:gd name="T89" fmla="*/ 130 h 441"/>
              <a:gd name="T90" fmla="*/ 25 w 515"/>
              <a:gd name="T91" fmla="*/ 145 h 441"/>
              <a:gd name="T92" fmla="*/ 23 w 515"/>
              <a:gd name="T93" fmla="*/ 162 h 441"/>
              <a:gd name="T94" fmla="*/ 15 w 515"/>
              <a:gd name="T95" fmla="*/ 191 h 441"/>
              <a:gd name="T96" fmla="*/ 4 w 515"/>
              <a:gd name="T97" fmla="*/ 222 h 441"/>
              <a:gd name="T98" fmla="*/ 0 w 515"/>
              <a:gd name="T99" fmla="*/ 246 h 441"/>
              <a:gd name="T100" fmla="*/ 6 w 515"/>
              <a:gd name="T101" fmla="*/ 285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5" h="441">
                <a:moveTo>
                  <a:pt x="6" y="307"/>
                </a:moveTo>
                <a:lnTo>
                  <a:pt x="38" y="304"/>
                </a:lnTo>
                <a:lnTo>
                  <a:pt x="50" y="311"/>
                </a:lnTo>
                <a:lnTo>
                  <a:pt x="74" y="296"/>
                </a:lnTo>
                <a:lnTo>
                  <a:pt x="74" y="296"/>
                </a:lnTo>
                <a:lnTo>
                  <a:pt x="78" y="298"/>
                </a:lnTo>
                <a:lnTo>
                  <a:pt x="80" y="302"/>
                </a:lnTo>
                <a:lnTo>
                  <a:pt x="82" y="305"/>
                </a:lnTo>
                <a:lnTo>
                  <a:pt x="84" y="307"/>
                </a:lnTo>
                <a:lnTo>
                  <a:pt x="86" y="311"/>
                </a:lnTo>
                <a:lnTo>
                  <a:pt x="88" y="315"/>
                </a:lnTo>
                <a:lnTo>
                  <a:pt x="91" y="317"/>
                </a:lnTo>
                <a:lnTo>
                  <a:pt x="95" y="317"/>
                </a:lnTo>
                <a:lnTo>
                  <a:pt x="95" y="317"/>
                </a:lnTo>
                <a:lnTo>
                  <a:pt x="99" y="315"/>
                </a:lnTo>
                <a:lnTo>
                  <a:pt x="103" y="309"/>
                </a:lnTo>
                <a:lnTo>
                  <a:pt x="107" y="302"/>
                </a:lnTo>
                <a:lnTo>
                  <a:pt x="111" y="294"/>
                </a:lnTo>
                <a:lnTo>
                  <a:pt x="114" y="285"/>
                </a:lnTo>
                <a:lnTo>
                  <a:pt x="116" y="275"/>
                </a:lnTo>
                <a:lnTo>
                  <a:pt x="120" y="267"/>
                </a:lnTo>
                <a:lnTo>
                  <a:pt x="122" y="262"/>
                </a:lnTo>
                <a:lnTo>
                  <a:pt x="122" y="262"/>
                </a:lnTo>
                <a:lnTo>
                  <a:pt x="130" y="265"/>
                </a:lnTo>
                <a:lnTo>
                  <a:pt x="135" y="269"/>
                </a:lnTo>
                <a:lnTo>
                  <a:pt x="143" y="275"/>
                </a:lnTo>
                <a:lnTo>
                  <a:pt x="149" y="279"/>
                </a:lnTo>
                <a:lnTo>
                  <a:pt x="156" y="285"/>
                </a:lnTo>
                <a:lnTo>
                  <a:pt x="162" y="288"/>
                </a:lnTo>
                <a:lnTo>
                  <a:pt x="172" y="290"/>
                </a:lnTo>
                <a:lnTo>
                  <a:pt x="181" y="290"/>
                </a:lnTo>
                <a:lnTo>
                  <a:pt x="181" y="290"/>
                </a:lnTo>
                <a:lnTo>
                  <a:pt x="187" y="290"/>
                </a:lnTo>
                <a:lnTo>
                  <a:pt x="191" y="288"/>
                </a:lnTo>
                <a:lnTo>
                  <a:pt x="193" y="286"/>
                </a:lnTo>
                <a:lnTo>
                  <a:pt x="196" y="283"/>
                </a:lnTo>
                <a:lnTo>
                  <a:pt x="198" y="281"/>
                </a:lnTo>
                <a:lnTo>
                  <a:pt x="200" y="279"/>
                </a:lnTo>
                <a:lnTo>
                  <a:pt x="204" y="277"/>
                </a:lnTo>
                <a:lnTo>
                  <a:pt x="208" y="277"/>
                </a:lnTo>
                <a:lnTo>
                  <a:pt x="208" y="277"/>
                </a:lnTo>
                <a:lnTo>
                  <a:pt x="212" y="277"/>
                </a:lnTo>
                <a:lnTo>
                  <a:pt x="214" y="277"/>
                </a:lnTo>
                <a:lnTo>
                  <a:pt x="215" y="279"/>
                </a:lnTo>
                <a:lnTo>
                  <a:pt x="217" y="283"/>
                </a:lnTo>
                <a:lnTo>
                  <a:pt x="219" y="285"/>
                </a:lnTo>
                <a:lnTo>
                  <a:pt x="219" y="286"/>
                </a:lnTo>
                <a:lnTo>
                  <a:pt x="221" y="288"/>
                </a:lnTo>
                <a:lnTo>
                  <a:pt x="221" y="290"/>
                </a:lnTo>
                <a:lnTo>
                  <a:pt x="221" y="290"/>
                </a:lnTo>
                <a:lnTo>
                  <a:pt x="227" y="290"/>
                </a:lnTo>
                <a:lnTo>
                  <a:pt x="233" y="288"/>
                </a:lnTo>
                <a:lnTo>
                  <a:pt x="236" y="286"/>
                </a:lnTo>
                <a:lnTo>
                  <a:pt x="242" y="286"/>
                </a:lnTo>
                <a:lnTo>
                  <a:pt x="248" y="286"/>
                </a:lnTo>
                <a:lnTo>
                  <a:pt x="252" y="286"/>
                </a:lnTo>
                <a:lnTo>
                  <a:pt x="257" y="286"/>
                </a:lnTo>
                <a:lnTo>
                  <a:pt x="263" y="286"/>
                </a:lnTo>
                <a:lnTo>
                  <a:pt x="263" y="286"/>
                </a:lnTo>
                <a:lnTo>
                  <a:pt x="269" y="286"/>
                </a:lnTo>
                <a:lnTo>
                  <a:pt x="277" y="286"/>
                </a:lnTo>
                <a:lnTo>
                  <a:pt x="282" y="286"/>
                </a:lnTo>
                <a:lnTo>
                  <a:pt x="290" y="288"/>
                </a:lnTo>
                <a:lnTo>
                  <a:pt x="296" y="288"/>
                </a:lnTo>
                <a:lnTo>
                  <a:pt x="301" y="290"/>
                </a:lnTo>
                <a:lnTo>
                  <a:pt x="307" y="290"/>
                </a:lnTo>
                <a:lnTo>
                  <a:pt x="315" y="292"/>
                </a:lnTo>
                <a:lnTo>
                  <a:pt x="320" y="294"/>
                </a:lnTo>
                <a:lnTo>
                  <a:pt x="326" y="298"/>
                </a:lnTo>
                <a:lnTo>
                  <a:pt x="332" y="300"/>
                </a:lnTo>
                <a:lnTo>
                  <a:pt x="336" y="304"/>
                </a:lnTo>
                <a:lnTo>
                  <a:pt x="341" y="305"/>
                </a:lnTo>
                <a:lnTo>
                  <a:pt x="347" y="309"/>
                </a:lnTo>
                <a:lnTo>
                  <a:pt x="353" y="315"/>
                </a:lnTo>
                <a:lnTo>
                  <a:pt x="359" y="319"/>
                </a:lnTo>
                <a:lnTo>
                  <a:pt x="359" y="319"/>
                </a:lnTo>
                <a:lnTo>
                  <a:pt x="360" y="323"/>
                </a:lnTo>
                <a:lnTo>
                  <a:pt x="362" y="326"/>
                </a:lnTo>
                <a:lnTo>
                  <a:pt x="364" y="330"/>
                </a:lnTo>
                <a:lnTo>
                  <a:pt x="366" y="334"/>
                </a:lnTo>
                <a:lnTo>
                  <a:pt x="368" y="338"/>
                </a:lnTo>
                <a:lnTo>
                  <a:pt x="368" y="342"/>
                </a:lnTo>
                <a:lnTo>
                  <a:pt x="370" y="346"/>
                </a:lnTo>
                <a:lnTo>
                  <a:pt x="374" y="349"/>
                </a:lnTo>
                <a:lnTo>
                  <a:pt x="374" y="349"/>
                </a:lnTo>
                <a:lnTo>
                  <a:pt x="380" y="353"/>
                </a:lnTo>
                <a:lnTo>
                  <a:pt x="385" y="359"/>
                </a:lnTo>
                <a:lnTo>
                  <a:pt x="393" y="365"/>
                </a:lnTo>
                <a:lnTo>
                  <a:pt x="399" y="370"/>
                </a:lnTo>
                <a:lnTo>
                  <a:pt x="406" y="374"/>
                </a:lnTo>
                <a:lnTo>
                  <a:pt x="414" y="380"/>
                </a:lnTo>
                <a:lnTo>
                  <a:pt x="420" y="386"/>
                </a:lnTo>
                <a:lnTo>
                  <a:pt x="427" y="389"/>
                </a:lnTo>
                <a:lnTo>
                  <a:pt x="433" y="395"/>
                </a:lnTo>
                <a:lnTo>
                  <a:pt x="441" y="401"/>
                </a:lnTo>
                <a:lnTo>
                  <a:pt x="446" y="407"/>
                </a:lnTo>
                <a:lnTo>
                  <a:pt x="454" y="412"/>
                </a:lnTo>
                <a:lnTo>
                  <a:pt x="460" y="420"/>
                </a:lnTo>
                <a:lnTo>
                  <a:pt x="463" y="426"/>
                </a:lnTo>
                <a:lnTo>
                  <a:pt x="469" y="433"/>
                </a:lnTo>
                <a:lnTo>
                  <a:pt x="473" y="441"/>
                </a:lnTo>
                <a:lnTo>
                  <a:pt x="473" y="441"/>
                </a:lnTo>
                <a:lnTo>
                  <a:pt x="479" y="437"/>
                </a:lnTo>
                <a:lnTo>
                  <a:pt x="484" y="433"/>
                </a:lnTo>
                <a:lnTo>
                  <a:pt x="490" y="431"/>
                </a:lnTo>
                <a:lnTo>
                  <a:pt x="496" y="428"/>
                </a:lnTo>
                <a:lnTo>
                  <a:pt x="500" y="426"/>
                </a:lnTo>
                <a:lnTo>
                  <a:pt x="505" y="424"/>
                </a:lnTo>
                <a:lnTo>
                  <a:pt x="509" y="420"/>
                </a:lnTo>
                <a:lnTo>
                  <a:pt x="515" y="418"/>
                </a:lnTo>
                <a:lnTo>
                  <a:pt x="515" y="418"/>
                </a:lnTo>
                <a:lnTo>
                  <a:pt x="509" y="414"/>
                </a:lnTo>
                <a:lnTo>
                  <a:pt x="504" y="410"/>
                </a:lnTo>
                <a:lnTo>
                  <a:pt x="498" y="405"/>
                </a:lnTo>
                <a:lnTo>
                  <a:pt x="490" y="399"/>
                </a:lnTo>
                <a:lnTo>
                  <a:pt x="483" y="393"/>
                </a:lnTo>
                <a:lnTo>
                  <a:pt x="477" y="389"/>
                </a:lnTo>
                <a:lnTo>
                  <a:pt x="473" y="384"/>
                </a:lnTo>
                <a:lnTo>
                  <a:pt x="469" y="378"/>
                </a:lnTo>
                <a:lnTo>
                  <a:pt x="469" y="378"/>
                </a:lnTo>
                <a:lnTo>
                  <a:pt x="467" y="374"/>
                </a:lnTo>
                <a:lnTo>
                  <a:pt x="467" y="370"/>
                </a:lnTo>
                <a:lnTo>
                  <a:pt x="465" y="365"/>
                </a:lnTo>
                <a:lnTo>
                  <a:pt x="463" y="361"/>
                </a:lnTo>
                <a:lnTo>
                  <a:pt x="462" y="355"/>
                </a:lnTo>
                <a:lnTo>
                  <a:pt x="460" y="351"/>
                </a:lnTo>
                <a:lnTo>
                  <a:pt x="458" y="349"/>
                </a:lnTo>
                <a:lnTo>
                  <a:pt x="456" y="347"/>
                </a:lnTo>
                <a:lnTo>
                  <a:pt x="456" y="347"/>
                </a:lnTo>
                <a:lnTo>
                  <a:pt x="446" y="342"/>
                </a:lnTo>
                <a:lnTo>
                  <a:pt x="439" y="340"/>
                </a:lnTo>
                <a:lnTo>
                  <a:pt x="431" y="336"/>
                </a:lnTo>
                <a:lnTo>
                  <a:pt x="425" y="334"/>
                </a:lnTo>
                <a:lnTo>
                  <a:pt x="418" y="330"/>
                </a:lnTo>
                <a:lnTo>
                  <a:pt x="412" y="328"/>
                </a:lnTo>
                <a:lnTo>
                  <a:pt x="404" y="325"/>
                </a:lnTo>
                <a:lnTo>
                  <a:pt x="399" y="317"/>
                </a:lnTo>
                <a:lnTo>
                  <a:pt x="399" y="317"/>
                </a:lnTo>
                <a:lnTo>
                  <a:pt x="393" y="311"/>
                </a:lnTo>
                <a:lnTo>
                  <a:pt x="389" y="305"/>
                </a:lnTo>
                <a:lnTo>
                  <a:pt x="383" y="298"/>
                </a:lnTo>
                <a:lnTo>
                  <a:pt x="380" y="290"/>
                </a:lnTo>
                <a:lnTo>
                  <a:pt x="374" y="283"/>
                </a:lnTo>
                <a:lnTo>
                  <a:pt x="368" y="277"/>
                </a:lnTo>
                <a:lnTo>
                  <a:pt x="362" y="271"/>
                </a:lnTo>
                <a:lnTo>
                  <a:pt x="355" y="267"/>
                </a:lnTo>
                <a:lnTo>
                  <a:pt x="355" y="267"/>
                </a:lnTo>
                <a:lnTo>
                  <a:pt x="351" y="265"/>
                </a:lnTo>
                <a:lnTo>
                  <a:pt x="345" y="264"/>
                </a:lnTo>
                <a:lnTo>
                  <a:pt x="341" y="262"/>
                </a:lnTo>
                <a:lnTo>
                  <a:pt x="338" y="262"/>
                </a:lnTo>
                <a:lnTo>
                  <a:pt x="334" y="262"/>
                </a:lnTo>
                <a:lnTo>
                  <a:pt x="328" y="260"/>
                </a:lnTo>
                <a:lnTo>
                  <a:pt x="324" y="260"/>
                </a:lnTo>
                <a:lnTo>
                  <a:pt x="320" y="260"/>
                </a:lnTo>
                <a:lnTo>
                  <a:pt x="317" y="258"/>
                </a:lnTo>
                <a:lnTo>
                  <a:pt x="311" y="258"/>
                </a:lnTo>
                <a:lnTo>
                  <a:pt x="307" y="256"/>
                </a:lnTo>
                <a:lnTo>
                  <a:pt x="303" y="256"/>
                </a:lnTo>
                <a:lnTo>
                  <a:pt x="299" y="254"/>
                </a:lnTo>
                <a:lnTo>
                  <a:pt x="296" y="252"/>
                </a:lnTo>
                <a:lnTo>
                  <a:pt x="290" y="248"/>
                </a:lnTo>
                <a:lnTo>
                  <a:pt x="286" y="246"/>
                </a:lnTo>
                <a:lnTo>
                  <a:pt x="286" y="246"/>
                </a:lnTo>
                <a:lnTo>
                  <a:pt x="282" y="243"/>
                </a:lnTo>
                <a:lnTo>
                  <a:pt x="278" y="239"/>
                </a:lnTo>
                <a:lnTo>
                  <a:pt x="277" y="233"/>
                </a:lnTo>
                <a:lnTo>
                  <a:pt x="275" y="227"/>
                </a:lnTo>
                <a:lnTo>
                  <a:pt x="273" y="223"/>
                </a:lnTo>
                <a:lnTo>
                  <a:pt x="271" y="218"/>
                </a:lnTo>
                <a:lnTo>
                  <a:pt x="265" y="214"/>
                </a:lnTo>
                <a:lnTo>
                  <a:pt x="259" y="210"/>
                </a:lnTo>
                <a:lnTo>
                  <a:pt x="259" y="210"/>
                </a:lnTo>
                <a:lnTo>
                  <a:pt x="256" y="212"/>
                </a:lnTo>
                <a:lnTo>
                  <a:pt x="252" y="212"/>
                </a:lnTo>
                <a:lnTo>
                  <a:pt x="248" y="210"/>
                </a:lnTo>
                <a:lnTo>
                  <a:pt x="242" y="206"/>
                </a:lnTo>
                <a:lnTo>
                  <a:pt x="238" y="201"/>
                </a:lnTo>
                <a:lnTo>
                  <a:pt x="233" y="195"/>
                </a:lnTo>
                <a:lnTo>
                  <a:pt x="227" y="187"/>
                </a:lnTo>
                <a:lnTo>
                  <a:pt x="221" y="180"/>
                </a:lnTo>
                <a:lnTo>
                  <a:pt x="217" y="170"/>
                </a:lnTo>
                <a:lnTo>
                  <a:pt x="212" y="162"/>
                </a:lnTo>
                <a:lnTo>
                  <a:pt x="208" y="153"/>
                </a:lnTo>
                <a:lnTo>
                  <a:pt x="204" y="143"/>
                </a:lnTo>
                <a:lnTo>
                  <a:pt x="200" y="136"/>
                </a:lnTo>
                <a:lnTo>
                  <a:pt x="198" y="130"/>
                </a:lnTo>
                <a:lnTo>
                  <a:pt x="196" y="124"/>
                </a:lnTo>
                <a:lnTo>
                  <a:pt x="194" y="119"/>
                </a:lnTo>
                <a:lnTo>
                  <a:pt x="194" y="119"/>
                </a:lnTo>
                <a:lnTo>
                  <a:pt x="194" y="111"/>
                </a:lnTo>
                <a:lnTo>
                  <a:pt x="193" y="103"/>
                </a:lnTo>
                <a:lnTo>
                  <a:pt x="191" y="94"/>
                </a:lnTo>
                <a:lnTo>
                  <a:pt x="189" y="86"/>
                </a:lnTo>
                <a:lnTo>
                  <a:pt x="185" y="77"/>
                </a:lnTo>
                <a:lnTo>
                  <a:pt x="183" y="67"/>
                </a:lnTo>
                <a:lnTo>
                  <a:pt x="179" y="59"/>
                </a:lnTo>
                <a:lnTo>
                  <a:pt x="175" y="50"/>
                </a:lnTo>
                <a:lnTo>
                  <a:pt x="172" y="42"/>
                </a:lnTo>
                <a:lnTo>
                  <a:pt x="168" y="33"/>
                </a:lnTo>
                <a:lnTo>
                  <a:pt x="164" y="25"/>
                </a:lnTo>
                <a:lnTo>
                  <a:pt x="158" y="19"/>
                </a:lnTo>
                <a:lnTo>
                  <a:pt x="153" y="14"/>
                </a:lnTo>
                <a:lnTo>
                  <a:pt x="149" y="8"/>
                </a:lnTo>
                <a:lnTo>
                  <a:pt x="143" y="4"/>
                </a:lnTo>
                <a:lnTo>
                  <a:pt x="135" y="0"/>
                </a:lnTo>
                <a:lnTo>
                  <a:pt x="135" y="0"/>
                </a:lnTo>
                <a:lnTo>
                  <a:pt x="135" y="12"/>
                </a:lnTo>
                <a:lnTo>
                  <a:pt x="132" y="23"/>
                </a:lnTo>
                <a:lnTo>
                  <a:pt x="126" y="33"/>
                </a:lnTo>
                <a:lnTo>
                  <a:pt x="118" y="40"/>
                </a:lnTo>
                <a:lnTo>
                  <a:pt x="111" y="46"/>
                </a:lnTo>
                <a:lnTo>
                  <a:pt x="101" y="54"/>
                </a:lnTo>
                <a:lnTo>
                  <a:pt x="91" y="59"/>
                </a:lnTo>
                <a:lnTo>
                  <a:pt x="80" y="65"/>
                </a:lnTo>
                <a:lnTo>
                  <a:pt x="69" y="71"/>
                </a:lnTo>
                <a:lnTo>
                  <a:pt x="59" y="77"/>
                </a:lnTo>
                <a:lnTo>
                  <a:pt x="50" y="82"/>
                </a:lnTo>
                <a:lnTo>
                  <a:pt x="42" y="90"/>
                </a:lnTo>
                <a:lnTo>
                  <a:pt x="34" y="98"/>
                </a:lnTo>
                <a:lnTo>
                  <a:pt x="29" y="105"/>
                </a:lnTo>
                <a:lnTo>
                  <a:pt x="25" y="117"/>
                </a:lnTo>
                <a:lnTo>
                  <a:pt x="25" y="128"/>
                </a:lnTo>
                <a:lnTo>
                  <a:pt x="25" y="128"/>
                </a:lnTo>
                <a:lnTo>
                  <a:pt x="25" y="130"/>
                </a:lnTo>
                <a:lnTo>
                  <a:pt x="25" y="134"/>
                </a:lnTo>
                <a:lnTo>
                  <a:pt x="25" y="138"/>
                </a:lnTo>
                <a:lnTo>
                  <a:pt x="25" y="140"/>
                </a:lnTo>
                <a:lnTo>
                  <a:pt x="25" y="143"/>
                </a:lnTo>
                <a:lnTo>
                  <a:pt x="25" y="145"/>
                </a:lnTo>
                <a:lnTo>
                  <a:pt x="25" y="149"/>
                </a:lnTo>
                <a:lnTo>
                  <a:pt x="25" y="153"/>
                </a:lnTo>
                <a:lnTo>
                  <a:pt x="25" y="153"/>
                </a:lnTo>
                <a:lnTo>
                  <a:pt x="23" y="157"/>
                </a:lnTo>
                <a:lnTo>
                  <a:pt x="23" y="162"/>
                </a:lnTo>
                <a:lnTo>
                  <a:pt x="23" y="166"/>
                </a:lnTo>
                <a:lnTo>
                  <a:pt x="21" y="172"/>
                </a:lnTo>
                <a:lnTo>
                  <a:pt x="19" y="178"/>
                </a:lnTo>
                <a:lnTo>
                  <a:pt x="17" y="183"/>
                </a:lnTo>
                <a:lnTo>
                  <a:pt x="15" y="191"/>
                </a:lnTo>
                <a:lnTo>
                  <a:pt x="13" y="197"/>
                </a:lnTo>
                <a:lnTo>
                  <a:pt x="9" y="202"/>
                </a:lnTo>
                <a:lnTo>
                  <a:pt x="8" y="208"/>
                </a:lnTo>
                <a:lnTo>
                  <a:pt x="6" y="216"/>
                </a:lnTo>
                <a:lnTo>
                  <a:pt x="4" y="222"/>
                </a:lnTo>
                <a:lnTo>
                  <a:pt x="2" y="227"/>
                </a:lnTo>
                <a:lnTo>
                  <a:pt x="2" y="235"/>
                </a:lnTo>
                <a:lnTo>
                  <a:pt x="0" y="241"/>
                </a:lnTo>
                <a:lnTo>
                  <a:pt x="0" y="246"/>
                </a:lnTo>
                <a:lnTo>
                  <a:pt x="0" y="246"/>
                </a:lnTo>
                <a:lnTo>
                  <a:pt x="0" y="254"/>
                </a:lnTo>
                <a:lnTo>
                  <a:pt x="2" y="262"/>
                </a:lnTo>
                <a:lnTo>
                  <a:pt x="2" y="269"/>
                </a:lnTo>
                <a:lnTo>
                  <a:pt x="4" y="277"/>
                </a:lnTo>
                <a:lnTo>
                  <a:pt x="6" y="285"/>
                </a:lnTo>
                <a:lnTo>
                  <a:pt x="6" y="292"/>
                </a:lnTo>
                <a:lnTo>
                  <a:pt x="8" y="300"/>
                </a:lnTo>
                <a:lnTo>
                  <a:pt x="8" y="307"/>
                </a:lnTo>
                <a:lnTo>
                  <a:pt x="6" y="307"/>
                </a:lnTo>
              </a:path>
            </a:pathLst>
          </a:custGeom>
          <a:solidFill>
            <a:srgbClr val="DCDCDC"/>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59" name="Freeform 59"/>
          <p:cNvSpPr>
            <a:spLocks/>
          </p:cNvSpPr>
          <p:nvPr/>
        </p:nvSpPr>
        <p:spPr bwMode="auto">
          <a:xfrm>
            <a:off x="4159250" y="2871689"/>
            <a:ext cx="1041400" cy="803275"/>
          </a:xfrm>
          <a:custGeom>
            <a:avLst/>
            <a:gdLst>
              <a:gd name="T0" fmla="*/ 246 w 1158"/>
              <a:gd name="T1" fmla="*/ 55 h 919"/>
              <a:gd name="T2" fmla="*/ 229 w 1158"/>
              <a:gd name="T3" fmla="*/ 108 h 919"/>
              <a:gd name="T4" fmla="*/ 231 w 1158"/>
              <a:gd name="T5" fmla="*/ 154 h 919"/>
              <a:gd name="T6" fmla="*/ 216 w 1158"/>
              <a:gd name="T7" fmla="*/ 181 h 919"/>
              <a:gd name="T8" fmla="*/ 193 w 1158"/>
              <a:gd name="T9" fmla="*/ 185 h 919"/>
              <a:gd name="T10" fmla="*/ 174 w 1158"/>
              <a:gd name="T11" fmla="*/ 217 h 919"/>
              <a:gd name="T12" fmla="*/ 157 w 1158"/>
              <a:gd name="T13" fmla="*/ 257 h 919"/>
              <a:gd name="T14" fmla="*/ 147 w 1158"/>
              <a:gd name="T15" fmla="*/ 309 h 919"/>
              <a:gd name="T16" fmla="*/ 126 w 1158"/>
              <a:gd name="T17" fmla="*/ 337 h 919"/>
              <a:gd name="T18" fmla="*/ 98 w 1158"/>
              <a:gd name="T19" fmla="*/ 362 h 919"/>
              <a:gd name="T20" fmla="*/ 98 w 1158"/>
              <a:gd name="T21" fmla="*/ 383 h 919"/>
              <a:gd name="T22" fmla="*/ 82 w 1158"/>
              <a:gd name="T23" fmla="*/ 429 h 919"/>
              <a:gd name="T24" fmla="*/ 80 w 1158"/>
              <a:gd name="T25" fmla="*/ 475 h 919"/>
              <a:gd name="T26" fmla="*/ 77 w 1158"/>
              <a:gd name="T27" fmla="*/ 511 h 919"/>
              <a:gd name="T28" fmla="*/ 40 w 1158"/>
              <a:gd name="T29" fmla="*/ 530 h 919"/>
              <a:gd name="T30" fmla="*/ 14 w 1158"/>
              <a:gd name="T31" fmla="*/ 547 h 919"/>
              <a:gd name="T32" fmla="*/ 2 w 1158"/>
              <a:gd name="T33" fmla="*/ 562 h 919"/>
              <a:gd name="T34" fmla="*/ 18 w 1158"/>
              <a:gd name="T35" fmla="*/ 581 h 919"/>
              <a:gd name="T36" fmla="*/ 58 w 1158"/>
              <a:gd name="T37" fmla="*/ 591 h 919"/>
              <a:gd name="T38" fmla="*/ 101 w 1158"/>
              <a:gd name="T39" fmla="*/ 629 h 919"/>
              <a:gd name="T40" fmla="*/ 140 w 1158"/>
              <a:gd name="T41" fmla="*/ 673 h 919"/>
              <a:gd name="T42" fmla="*/ 151 w 1158"/>
              <a:gd name="T43" fmla="*/ 702 h 919"/>
              <a:gd name="T44" fmla="*/ 161 w 1158"/>
              <a:gd name="T45" fmla="*/ 738 h 919"/>
              <a:gd name="T46" fmla="*/ 182 w 1158"/>
              <a:gd name="T47" fmla="*/ 761 h 919"/>
              <a:gd name="T48" fmla="*/ 216 w 1158"/>
              <a:gd name="T49" fmla="*/ 768 h 919"/>
              <a:gd name="T50" fmla="*/ 227 w 1158"/>
              <a:gd name="T51" fmla="*/ 814 h 919"/>
              <a:gd name="T52" fmla="*/ 233 w 1158"/>
              <a:gd name="T53" fmla="*/ 828 h 919"/>
              <a:gd name="T54" fmla="*/ 281 w 1158"/>
              <a:gd name="T55" fmla="*/ 849 h 919"/>
              <a:gd name="T56" fmla="*/ 348 w 1158"/>
              <a:gd name="T57" fmla="*/ 873 h 919"/>
              <a:gd name="T58" fmla="*/ 456 w 1158"/>
              <a:gd name="T59" fmla="*/ 906 h 919"/>
              <a:gd name="T60" fmla="*/ 504 w 1158"/>
              <a:gd name="T61" fmla="*/ 919 h 919"/>
              <a:gd name="T62" fmla="*/ 542 w 1158"/>
              <a:gd name="T63" fmla="*/ 904 h 919"/>
              <a:gd name="T64" fmla="*/ 582 w 1158"/>
              <a:gd name="T65" fmla="*/ 860 h 919"/>
              <a:gd name="T66" fmla="*/ 624 w 1158"/>
              <a:gd name="T67" fmla="*/ 852 h 919"/>
              <a:gd name="T68" fmla="*/ 657 w 1158"/>
              <a:gd name="T69" fmla="*/ 873 h 919"/>
              <a:gd name="T70" fmla="*/ 754 w 1158"/>
              <a:gd name="T71" fmla="*/ 850 h 919"/>
              <a:gd name="T72" fmla="*/ 830 w 1158"/>
              <a:gd name="T73" fmla="*/ 799 h 919"/>
              <a:gd name="T74" fmla="*/ 853 w 1158"/>
              <a:gd name="T75" fmla="*/ 454 h 919"/>
              <a:gd name="T76" fmla="*/ 813 w 1158"/>
              <a:gd name="T77" fmla="*/ 425 h 919"/>
              <a:gd name="T78" fmla="*/ 779 w 1158"/>
              <a:gd name="T79" fmla="*/ 379 h 919"/>
              <a:gd name="T80" fmla="*/ 754 w 1158"/>
              <a:gd name="T81" fmla="*/ 347 h 919"/>
              <a:gd name="T82" fmla="*/ 737 w 1158"/>
              <a:gd name="T83" fmla="*/ 322 h 919"/>
              <a:gd name="T84" fmla="*/ 765 w 1158"/>
              <a:gd name="T85" fmla="*/ 284 h 919"/>
              <a:gd name="T86" fmla="*/ 748 w 1158"/>
              <a:gd name="T87" fmla="*/ 276 h 919"/>
              <a:gd name="T88" fmla="*/ 693 w 1158"/>
              <a:gd name="T89" fmla="*/ 299 h 919"/>
              <a:gd name="T90" fmla="*/ 668 w 1158"/>
              <a:gd name="T91" fmla="*/ 265 h 919"/>
              <a:gd name="T92" fmla="*/ 674 w 1158"/>
              <a:gd name="T93" fmla="*/ 215 h 919"/>
              <a:gd name="T94" fmla="*/ 706 w 1158"/>
              <a:gd name="T95" fmla="*/ 171 h 919"/>
              <a:gd name="T96" fmla="*/ 664 w 1158"/>
              <a:gd name="T97" fmla="*/ 127 h 919"/>
              <a:gd name="T98" fmla="*/ 617 w 1158"/>
              <a:gd name="T99" fmla="*/ 91 h 919"/>
              <a:gd name="T100" fmla="*/ 601 w 1158"/>
              <a:gd name="T101" fmla="*/ 68 h 919"/>
              <a:gd name="T102" fmla="*/ 578 w 1158"/>
              <a:gd name="T103" fmla="*/ 43 h 919"/>
              <a:gd name="T104" fmla="*/ 538 w 1158"/>
              <a:gd name="T105" fmla="*/ 28 h 919"/>
              <a:gd name="T106" fmla="*/ 500 w 1158"/>
              <a:gd name="T107" fmla="*/ 24 h 919"/>
              <a:gd name="T108" fmla="*/ 464 w 1158"/>
              <a:gd name="T109" fmla="*/ 28 h 919"/>
              <a:gd name="T110" fmla="*/ 452 w 1158"/>
              <a:gd name="T111" fmla="*/ 17 h 919"/>
              <a:gd name="T112" fmla="*/ 435 w 1158"/>
              <a:gd name="T113" fmla="*/ 19 h 919"/>
              <a:gd name="T114" fmla="*/ 409 w 1158"/>
              <a:gd name="T115" fmla="*/ 28 h 919"/>
              <a:gd name="T116" fmla="*/ 359 w 1158"/>
              <a:gd name="T117" fmla="*/ 0 h 919"/>
              <a:gd name="T118" fmla="*/ 340 w 1158"/>
              <a:gd name="T119" fmla="*/ 47 h 919"/>
              <a:gd name="T120" fmla="*/ 321 w 1158"/>
              <a:gd name="T121" fmla="*/ 45 h 919"/>
              <a:gd name="T122" fmla="*/ 245 w 1158"/>
              <a:gd name="T123" fmla="*/ 45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8" h="919">
                <a:moveTo>
                  <a:pt x="245" y="45"/>
                </a:moveTo>
                <a:lnTo>
                  <a:pt x="245" y="45"/>
                </a:lnTo>
                <a:lnTo>
                  <a:pt x="245" y="47"/>
                </a:lnTo>
                <a:lnTo>
                  <a:pt x="246" y="49"/>
                </a:lnTo>
                <a:lnTo>
                  <a:pt x="246" y="53"/>
                </a:lnTo>
                <a:lnTo>
                  <a:pt x="246" y="55"/>
                </a:lnTo>
                <a:lnTo>
                  <a:pt x="246" y="55"/>
                </a:lnTo>
                <a:lnTo>
                  <a:pt x="245" y="64"/>
                </a:lnTo>
                <a:lnTo>
                  <a:pt x="243" y="74"/>
                </a:lnTo>
                <a:lnTo>
                  <a:pt x="241" y="82"/>
                </a:lnTo>
                <a:lnTo>
                  <a:pt x="237" y="87"/>
                </a:lnTo>
                <a:lnTo>
                  <a:pt x="235" y="95"/>
                </a:lnTo>
                <a:lnTo>
                  <a:pt x="231" y="103"/>
                </a:lnTo>
                <a:lnTo>
                  <a:pt x="229" y="108"/>
                </a:lnTo>
                <a:lnTo>
                  <a:pt x="227" y="114"/>
                </a:lnTo>
                <a:lnTo>
                  <a:pt x="227" y="114"/>
                </a:lnTo>
                <a:lnTo>
                  <a:pt x="227" y="122"/>
                </a:lnTo>
                <a:lnTo>
                  <a:pt x="227" y="131"/>
                </a:lnTo>
                <a:lnTo>
                  <a:pt x="229" y="139"/>
                </a:lnTo>
                <a:lnTo>
                  <a:pt x="231" y="147"/>
                </a:lnTo>
                <a:lnTo>
                  <a:pt x="231" y="154"/>
                </a:lnTo>
                <a:lnTo>
                  <a:pt x="231" y="162"/>
                </a:lnTo>
                <a:lnTo>
                  <a:pt x="229" y="169"/>
                </a:lnTo>
                <a:lnTo>
                  <a:pt x="225" y="175"/>
                </a:lnTo>
                <a:lnTo>
                  <a:pt x="225" y="175"/>
                </a:lnTo>
                <a:lnTo>
                  <a:pt x="224" y="177"/>
                </a:lnTo>
                <a:lnTo>
                  <a:pt x="220" y="179"/>
                </a:lnTo>
                <a:lnTo>
                  <a:pt x="216" y="181"/>
                </a:lnTo>
                <a:lnTo>
                  <a:pt x="212" y="181"/>
                </a:lnTo>
                <a:lnTo>
                  <a:pt x="208" y="181"/>
                </a:lnTo>
                <a:lnTo>
                  <a:pt x="204" y="181"/>
                </a:lnTo>
                <a:lnTo>
                  <a:pt x="201" y="181"/>
                </a:lnTo>
                <a:lnTo>
                  <a:pt x="199" y="181"/>
                </a:lnTo>
                <a:lnTo>
                  <a:pt x="199" y="181"/>
                </a:lnTo>
                <a:lnTo>
                  <a:pt x="193" y="185"/>
                </a:lnTo>
                <a:lnTo>
                  <a:pt x="189" y="190"/>
                </a:lnTo>
                <a:lnTo>
                  <a:pt x="185" y="194"/>
                </a:lnTo>
                <a:lnTo>
                  <a:pt x="184" y="198"/>
                </a:lnTo>
                <a:lnTo>
                  <a:pt x="182" y="202"/>
                </a:lnTo>
                <a:lnTo>
                  <a:pt x="180" y="208"/>
                </a:lnTo>
                <a:lnTo>
                  <a:pt x="178" y="211"/>
                </a:lnTo>
                <a:lnTo>
                  <a:pt x="174" y="217"/>
                </a:lnTo>
                <a:lnTo>
                  <a:pt x="174" y="217"/>
                </a:lnTo>
                <a:lnTo>
                  <a:pt x="170" y="225"/>
                </a:lnTo>
                <a:lnTo>
                  <a:pt x="166" y="230"/>
                </a:lnTo>
                <a:lnTo>
                  <a:pt x="163" y="236"/>
                </a:lnTo>
                <a:lnTo>
                  <a:pt x="161" y="244"/>
                </a:lnTo>
                <a:lnTo>
                  <a:pt x="157" y="251"/>
                </a:lnTo>
                <a:lnTo>
                  <a:pt x="157" y="257"/>
                </a:lnTo>
                <a:lnTo>
                  <a:pt x="155" y="265"/>
                </a:lnTo>
                <a:lnTo>
                  <a:pt x="153" y="271"/>
                </a:lnTo>
                <a:lnTo>
                  <a:pt x="151" y="278"/>
                </a:lnTo>
                <a:lnTo>
                  <a:pt x="151" y="286"/>
                </a:lnTo>
                <a:lnTo>
                  <a:pt x="149" y="293"/>
                </a:lnTo>
                <a:lnTo>
                  <a:pt x="149" y="301"/>
                </a:lnTo>
                <a:lnTo>
                  <a:pt x="147" y="309"/>
                </a:lnTo>
                <a:lnTo>
                  <a:pt x="145" y="316"/>
                </a:lnTo>
                <a:lnTo>
                  <a:pt x="142" y="324"/>
                </a:lnTo>
                <a:lnTo>
                  <a:pt x="140" y="333"/>
                </a:lnTo>
                <a:lnTo>
                  <a:pt x="140" y="333"/>
                </a:lnTo>
                <a:lnTo>
                  <a:pt x="138" y="335"/>
                </a:lnTo>
                <a:lnTo>
                  <a:pt x="132" y="335"/>
                </a:lnTo>
                <a:lnTo>
                  <a:pt x="126" y="337"/>
                </a:lnTo>
                <a:lnTo>
                  <a:pt x="119" y="337"/>
                </a:lnTo>
                <a:lnTo>
                  <a:pt x="111" y="339"/>
                </a:lnTo>
                <a:lnTo>
                  <a:pt x="103" y="343"/>
                </a:lnTo>
                <a:lnTo>
                  <a:pt x="100" y="351"/>
                </a:lnTo>
                <a:lnTo>
                  <a:pt x="98" y="358"/>
                </a:lnTo>
                <a:lnTo>
                  <a:pt x="98" y="358"/>
                </a:lnTo>
                <a:lnTo>
                  <a:pt x="98" y="362"/>
                </a:lnTo>
                <a:lnTo>
                  <a:pt x="98" y="368"/>
                </a:lnTo>
                <a:lnTo>
                  <a:pt x="98" y="370"/>
                </a:lnTo>
                <a:lnTo>
                  <a:pt x="98" y="374"/>
                </a:lnTo>
                <a:lnTo>
                  <a:pt x="98" y="377"/>
                </a:lnTo>
                <a:lnTo>
                  <a:pt x="98" y="379"/>
                </a:lnTo>
                <a:lnTo>
                  <a:pt x="98" y="381"/>
                </a:lnTo>
                <a:lnTo>
                  <a:pt x="98" y="383"/>
                </a:lnTo>
                <a:lnTo>
                  <a:pt x="98" y="383"/>
                </a:lnTo>
                <a:lnTo>
                  <a:pt x="96" y="391"/>
                </a:lnTo>
                <a:lnTo>
                  <a:pt x="92" y="398"/>
                </a:lnTo>
                <a:lnTo>
                  <a:pt x="90" y="406"/>
                </a:lnTo>
                <a:lnTo>
                  <a:pt x="86" y="414"/>
                </a:lnTo>
                <a:lnTo>
                  <a:pt x="84" y="421"/>
                </a:lnTo>
                <a:lnTo>
                  <a:pt x="82" y="429"/>
                </a:lnTo>
                <a:lnTo>
                  <a:pt x="80" y="436"/>
                </a:lnTo>
                <a:lnTo>
                  <a:pt x="80" y="444"/>
                </a:lnTo>
                <a:lnTo>
                  <a:pt x="80" y="444"/>
                </a:lnTo>
                <a:lnTo>
                  <a:pt x="80" y="454"/>
                </a:lnTo>
                <a:lnTo>
                  <a:pt x="80" y="461"/>
                </a:lnTo>
                <a:lnTo>
                  <a:pt x="80" y="469"/>
                </a:lnTo>
                <a:lnTo>
                  <a:pt x="80" y="475"/>
                </a:lnTo>
                <a:lnTo>
                  <a:pt x="80" y="482"/>
                </a:lnTo>
                <a:lnTo>
                  <a:pt x="80" y="488"/>
                </a:lnTo>
                <a:lnTo>
                  <a:pt x="80" y="494"/>
                </a:lnTo>
                <a:lnTo>
                  <a:pt x="80" y="498"/>
                </a:lnTo>
                <a:lnTo>
                  <a:pt x="80" y="498"/>
                </a:lnTo>
                <a:lnTo>
                  <a:pt x="79" y="505"/>
                </a:lnTo>
                <a:lnTo>
                  <a:pt x="77" y="511"/>
                </a:lnTo>
                <a:lnTo>
                  <a:pt x="75" y="517"/>
                </a:lnTo>
                <a:lnTo>
                  <a:pt x="69" y="520"/>
                </a:lnTo>
                <a:lnTo>
                  <a:pt x="65" y="522"/>
                </a:lnTo>
                <a:lnTo>
                  <a:pt x="60" y="524"/>
                </a:lnTo>
                <a:lnTo>
                  <a:pt x="54" y="526"/>
                </a:lnTo>
                <a:lnTo>
                  <a:pt x="46" y="528"/>
                </a:lnTo>
                <a:lnTo>
                  <a:pt x="40" y="530"/>
                </a:lnTo>
                <a:lnTo>
                  <a:pt x="35" y="530"/>
                </a:lnTo>
                <a:lnTo>
                  <a:pt x="29" y="532"/>
                </a:lnTo>
                <a:lnTo>
                  <a:pt x="23" y="534"/>
                </a:lnTo>
                <a:lnTo>
                  <a:pt x="19" y="536"/>
                </a:lnTo>
                <a:lnTo>
                  <a:pt x="16" y="539"/>
                </a:lnTo>
                <a:lnTo>
                  <a:pt x="14" y="543"/>
                </a:lnTo>
                <a:lnTo>
                  <a:pt x="14" y="547"/>
                </a:lnTo>
                <a:lnTo>
                  <a:pt x="14" y="547"/>
                </a:lnTo>
                <a:lnTo>
                  <a:pt x="12" y="551"/>
                </a:lnTo>
                <a:lnTo>
                  <a:pt x="10" y="555"/>
                </a:lnTo>
                <a:lnTo>
                  <a:pt x="10" y="557"/>
                </a:lnTo>
                <a:lnTo>
                  <a:pt x="8" y="559"/>
                </a:lnTo>
                <a:lnTo>
                  <a:pt x="4" y="560"/>
                </a:lnTo>
                <a:lnTo>
                  <a:pt x="2" y="562"/>
                </a:lnTo>
                <a:lnTo>
                  <a:pt x="2" y="566"/>
                </a:lnTo>
                <a:lnTo>
                  <a:pt x="0" y="570"/>
                </a:lnTo>
                <a:lnTo>
                  <a:pt x="0" y="570"/>
                </a:lnTo>
                <a:lnTo>
                  <a:pt x="2" y="576"/>
                </a:lnTo>
                <a:lnTo>
                  <a:pt x="6" y="580"/>
                </a:lnTo>
                <a:lnTo>
                  <a:pt x="12" y="581"/>
                </a:lnTo>
                <a:lnTo>
                  <a:pt x="18" y="581"/>
                </a:lnTo>
                <a:lnTo>
                  <a:pt x="25" y="581"/>
                </a:lnTo>
                <a:lnTo>
                  <a:pt x="33" y="581"/>
                </a:lnTo>
                <a:lnTo>
                  <a:pt x="39" y="581"/>
                </a:lnTo>
                <a:lnTo>
                  <a:pt x="44" y="583"/>
                </a:lnTo>
                <a:lnTo>
                  <a:pt x="44" y="583"/>
                </a:lnTo>
                <a:lnTo>
                  <a:pt x="50" y="587"/>
                </a:lnTo>
                <a:lnTo>
                  <a:pt x="58" y="591"/>
                </a:lnTo>
                <a:lnTo>
                  <a:pt x="63" y="595"/>
                </a:lnTo>
                <a:lnTo>
                  <a:pt x="69" y="601"/>
                </a:lnTo>
                <a:lnTo>
                  <a:pt x="77" y="606"/>
                </a:lnTo>
                <a:lnTo>
                  <a:pt x="82" y="612"/>
                </a:lnTo>
                <a:lnTo>
                  <a:pt x="88" y="618"/>
                </a:lnTo>
                <a:lnTo>
                  <a:pt x="96" y="623"/>
                </a:lnTo>
                <a:lnTo>
                  <a:pt x="101" y="629"/>
                </a:lnTo>
                <a:lnTo>
                  <a:pt x="107" y="637"/>
                </a:lnTo>
                <a:lnTo>
                  <a:pt x="115" y="643"/>
                </a:lnTo>
                <a:lnTo>
                  <a:pt x="121" y="648"/>
                </a:lnTo>
                <a:lnTo>
                  <a:pt x="126" y="654"/>
                </a:lnTo>
                <a:lnTo>
                  <a:pt x="130" y="662"/>
                </a:lnTo>
                <a:lnTo>
                  <a:pt x="136" y="667"/>
                </a:lnTo>
                <a:lnTo>
                  <a:pt x="140" y="673"/>
                </a:lnTo>
                <a:lnTo>
                  <a:pt x="140" y="673"/>
                </a:lnTo>
                <a:lnTo>
                  <a:pt x="142" y="677"/>
                </a:lnTo>
                <a:lnTo>
                  <a:pt x="145" y="681"/>
                </a:lnTo>
                <a:lnTo>
                  <a:pt x="147" y="686"/>
                </a:lnTo>
                <a:lnTo>
                  <a:pt x="149" y="690"/>
                </a:lnTo>
                <a:lnTo>
                  <a:pt x="151" y="696"/>
                </a:lnTo>
                <a:lnTo>
                  <a:pt x="151" y="702"/>
                </a:lnTo>
                <a:lnTo>
                  <a:pt x="153" y="707"/>
                </a:lnTo>
                <a:lnTo>
                  <a:pt x="153" y="711"/>
                </a:lnTo>
                <a:lnTo>
                  <a:pt x="155" y="717"/>
                </a:lnTo>
                <a:lnTo>
                  <a:pt x="157" y="723"/>
                </a:lnTo>
                <a:lnTo>
                  <a:pt x="157" y="728"/>
                </a:lnTo>
                <a:lnTo>
                  <a:pt x="159" y="732"/>
                </a:lnTo>
                <a:lnTo>
                  <a:pt x="161" y="738"/>
                </a:lnTo>
                <a:lnTo>
                  <a:pt x="163" y="744"/>
                </a:lnTo>
                <a:lnTo>
                  <a:pt x="166" y="747"/>
                </a:lnTo>
                <a:lnTo>
                  <a:pt x="168" y="753"/>
                </a:lnTo>
                <a:lnTo>
                  <a:pt x="168" y="753"/>
                </a:lnTo>
                <a:lnTo>
                  <a:pt x="172" y="757"/>
                </a:lnTo>
                <a:lnTo>
                  <a:pt x="178" y="759"/>
                </a:lnTo>
                <a:lnTo>
                  <a:pt x="182" y="761"/>
                </a:lnTo>
                <a:lnTo>
                  <a:pt x="187" y="761"/>
                </a:lnTo>
                <a:lnTo>
                  <a:pt x="193" y="763"/>
                </a:lnTo>
                <a:lnTo>
                  <a:pt x="199" y="763"/>
                </a:lnTo>
                <a:lnTo>
                  <a:pt x="204" y="763"/>
                </a:lnTo>
                <a:lnTo>
                  <a:pt x="210" y="765"/>
                </a:lnTo>
                <a:lnTo>
                  <a:pt x="210" y="765"/>
                </a:lnTo>
                <a:lnTo>
                  <a:pt x="216" y="768"/>
                </a:lnTo>
                <a:lnTo>
                  <a:pt x="222" y="772"/>
                </a:lnTo>
                <a:lnTo>
                  <a:pt x="224" y="778"/>
                </a:lnTo>
                <a:lnTo>
                  <a:pt x="225" y="786"/>
                </a:lnTo>
                <a:lnTo>
                  <a:pt x="227" y="793"/>
                </a:lnTo>
                <a:lnTo>
                  <a:pt x="227" y="801"/>
                </a:lnTo>
                <a:lnTo>
                  <a:pt x="227" y="808"/>
                </a:lnTo>
                <a:lnTo>
                  <a:pt x="227" y="814"/>
                </a:lnTo>
                <a:lnTo>
                  <a:pt x="227" y="814"/>
                </a:lnTo>
                <a:lnTo>
                  <a:pt x="227" y="816"/>
                </a:lnTo>
                <a:lnTo>
                  <a:pt x="229" y="818"/>
                </a:lnTo>
                <a:lnTo>
                  <a:pt x="229" y="822"/>
                </a:lnTo>
                <a:lnTo>
                  <a:pt x="231" y="824"/>
                </a:lnTo>
                <a:lnTo>
                  <a:pt x="231" y="826"/>
                </a:lnTo>
                <a:lnTo>
                  <a:pt x="233" y="828"/>
                </a:lnTo>
                <a:lnTo>
                  <a:pt x="233" y="829"/>
                </a:lnTo>
                <a:lnTo>
                  <a:pt x="233" y="831"/>
                </a:lnTo>
                <a:lnTo>
                  <a:pt x="233" y="831"/>
                </a:lnTo>
                <a:lnTo>
                  <a:pt x="246" y="837"/>
                </a:lnTo>
                <a:lnTo>
                  <a:pt x="260" y="841"/>
                </a:lnTo>
                <a:lnTo>
                  <a:pt x="269" y="845"/>
                </a:lnTo>
                <a:lnTo>
                  <a:pt x="281" y="849"/>
                </a:lnTo>
                <a:lnTo>
                  <a:pt x="292" y="852"/>
                </a:lnTo>
                <a:lnTo>
                  <a:pt x="302" y="854"/>
                </a:lnTo>
                <a:lnTo>
                  <a:pt x="311" y="858"/>
                </a:lnTo>
                <a:lnTo>
                  <a:pt x="321" y="862"/>
                </a:lnTo>
                <a:lnTo>
                  <a:pt x="330" y="866"/>
                </a:lnTo>
                <a:lnTo>
                  <a:pt x="340" y="870"/>
                </a:lnTo>
                <a:lnTo>
                  <a:pt x="348" y="873"/>
                </a:lnTo>
                <a:lnTo>
                  <a:pt x="357" y="877"/>
                </a:lnTo>
                <a:lnTo>
                  <a:pt x="367" y="885"/>
                </a:lnTo>
                <a:lnTo>
                  <a:pt x="376" y="891"/>
                </a:lnTo>
                <a:lnTo>
                  <a:pt x="388" y="898"/>
                </a:lnTo>
                <a:lnTo>
                  <a:pt x="397" y="906"/>
                </a:lnTo>
                <a:lnTo>
                  <a:pt x="456" y="906"/>
                </a:lnTo>
                <a:lnTo>
                  <a:pt x="456" y="906"/>
                </a:lnTo>
                <a:lnTo>
                  <a:pt x="460" y="908"/>
                </a:lnTo>
                <a:lnTo>
                  <a:pt x="466" y="912"/>
                </a:lnTo>
                <a:lnTo>
                  <a:pt x="473" y="913"/>
                </a:lnTo>
                <a:lnTo>
                  <a:pt x="481" y="915"/>
                </a:lnTo>
                <a:lnTo>
                  <a:pt x="489" y="917"/>
                </a:lnTo>
                <a:lnTo>
                  <a:pt x="496" y="919"/>
                </a:lnTo>
                <a:lnTo>
                  <a:pt x="504" y="919"/>
                </a:lnTo>
                <a:lnTo>
                  <a:pt x="512" y="919"/>
                </a:lnTo>
                <a:lnTo>
                  <a:pt x="512" y="919"/>
                </a:lnTo>
                <a:lnTo>
                  <a:pt x="517" y="919"/>
                </a:lnTo>
                <a:lnTo>
                  <a:pt x="525" y="917"/>
                </a:lnTo>
                <a:lnTo>
                  <a:pt x="531" y="913"/>
                </a:lnTo>
                <a:lnTo>
                  <a:pt x="536" y="910"/>
                </a:lnTo>
                <a:lnTo>
                  <a:pt x="542" y="904"/>
                </a:lnTo>
                <a:lnTo>
                  <a:pt x="548" y="898"/>
                </a:lnTo>
                <a:lnTo>
                  <a:pt x="552" y="891"/>
                </a:lnTo>
                <a:lnTo>
                  <a:pt x="557" y="885"/>
                </a:lnTo>
                <a:lnTo>
                  <a:pt x="563" y="877"/>
                </a:lnTo>
                <a:lnTo>
                  <a:pt x="569" y="871"/>
                </a:lnTo>
                <a:lnTo>
                  <a:pt x="575" y="866"/>
                </a:lnTo>
                <a:lnTo>
                  <a:pt x="582" y="860"/>
                </a:lnTo>
                <a:lnTo>
                  <a:pt x="588" y="856"/>
                </a:lnTo>
                <a:lnTo>
                  <a:pt x="596" y="852"/>
                </a:lnTo>
                <a:lnTo>
                  <a:pt x="603" y="850"/>
                </a:lnTo>
                <a:lnTo>
                  <a:pt x="611" y="849"/>
                </a:lnTo>
                <a:lnTo>
                  <a:pt x="611" y="849"/>
                </a:lnTo>
                <a:lnTo>
                  <a:pt x="618" y="850"/>
                </a:lnTo>
                <a:lnTo>
                  <a:pt x="624" y="852"/>
                </a:lnTo>
                <a:lnTo>
                  <a:pt x="630" y="856"/>
                </a:lnTo>
                <a:lnTo>
                  <a:pt x="634" y="860"/>
                </a:lnTo>
                <a:lnTo>
                  <a:pt x="637" y="866"/>
                </a:lnTo>
                <a:lnTo>
                  <a:pt x="641" y="870"/>
                </a:lnTo>
                <a:lnTo>
                  <a:pt x="649" y="871"/>
                </a:lnTo>
                <a:lnTo>
                  <a:pt x="657" y="873"/>
                </a:lnTo>
                <a:lnTo>
                  <a:pt x="657" y="873"/>
                </a:lnTo>
                <a:lnTo>
                  <a:pt x="672" y="871"/>
                </a:lnTo>
                <a:lnTo>
                  <a:pt x="685" y="871"/>
                </a:lnTo>
                <a:lnTo>
                  <a:pt x="700" y="868"/>
                </a:lnTo>
                <a:lnTo>
                  <a:pt x="714" y="866"/>
                </a:lnTo>
                <a:lnTo>
                  <a:pt x="727" y="860"/>
                </a:lnTo>
                <a:lnTo>
                  <a:pt x="741" y="856"/>
                </a:lnTo>
                <a:lnTo>
                  <a:pt x="754" y="850"/>
                </a:lnTo>
                <a:lnTo>
                  <a:pt x="765" y="843"/>
                </a:lnTo>
                <a:lnTo>
                  <a:pt x="779" y="837"/>
                </a:lnTo>
                <a:lnTo>
                  <a:pt x="790" y="831"/>
                </a:lnTo>
                <a:lnTo>
                  <a:pt x="802" y="824"/>
                </a:lnTo>
                <a:lnTo>
                  <a:pt x="811" y="816"/>
                </a:lnTo>
                <a:lnTo>
                  <a:pt x="823" y="808"/>
                </a:lnTo>
                <a:lnTo>
                  <a:pt x="830" y="799"/>
                </a:lnTo>
                <a:lnTo>
                  <a:pt x="840" y="791"/>
                </a:lnTo>
                <a:lnTo>
                  <a:pt x="847" y="784"/>
                </a:lnTo>
                <a:lnTo>
                  <a:pt x="943" y="784"/>
                </a:lnTo>
                <a:lnTo>
                  <a:pt x="1158" y="519"/>
                </a:lnTo>
                <a:lnTo>
                  <a:pt x="1158" y="522"/>
                </a:lnTo>
                <a:lnTo>
                  <a:pt x="1072" y="522"/>
                </a:lnTo>
                <a:lnTo>
                  <a:pt x="853" y="454"/>
                </a:lnTo>
                <a:lnTo>
                  <a:pt x="853" y="454"/>
                </a:lnTo>
                <a:lnTo>
                  <a:pt x="845" y="450"/>
                </a:lnTo>
                <a:lnTo>
                  <a:pt x="838" y="446"/>
                </a:lnTo>
                <a:lnTo>
                  <a:pt x="830" y="442"/>
                </a:lnTo>
                <a:lnTo>
                  <a:pt x="824" y="436"/>
                </a:lnTo>
                <a:lnTo>
                  <a:pt x="819" y="431"/>
                </a:lnTo>
                <a:lnTo>
                  <a:pt x="813" y="425"/>
                </a:lnTo>
                <a:lnTo>
                  <a:pt x="807" y="419"/>
                </a:lnTo>
                <a:lnTo>
                  <a:pt x="802" y="414"/>
                </a:lnTo>
                <a:lnTo>
                  <a:pt x="798" y="408"/>
                </a:lnTo>
                <a:lnTo>
                  <a:pt x="792" y="400"/>
                </a:lnTo>
                <a:lnTo>
                  <a:pt x="788" y="393"/>
                </a:lnTo>
                <a:lnTo>
                  <a:pt x="782" y="385"/>
                </a:lnTo>
                <a:lnTo>
                  <a:pt x="779" y="379"/>
                </a:lnTo>
                <a:lnTo>
                  <a:pt x="773" y="372"/>
                </a:lnTo>
                <a:lnTo>
                  <a:pt x="769" y="364"/>
                </a:lnTo>
                <a:lnTo>
                  <a:pt x="763" y="356"/>
                </a:lnTo>
                <a:lnTo>
                  <a:pt x="763" y="356"/>
                </a:lnTo>
                <a:lnTo>
                  <a:pt x="761" y="354"/>
                </a:lnTo>
                <a:lnTo>
                  <a:pt x="758" y="351"/>
                </a:lnTo>
                <a:lnTo>
                  <a:pt x="754" y="347"/>
                </a:lnTo>
                <a:lnTo>
                  <a:pt x="748" y="341"/>
                </a:lnTo>
                <a:lnTo>
                  <a:pt x="744" y="335"/>
                </a:lnTo>
                <a:lnTo>
                  <a:pt x="741" y="332"/>
                </a:lnTo>
                <a:lnTo>
                  <a:pt x="737" y="328"/>
                </a:lnTo>
                <a:lnTo>
                  <a:pt x="735" y="328"/>
                </a:lnTo>
                <a:lnTo>
                  <a:pt x="735" y="328"/>
                </a:lnTo>
                <a:lnTo>
                  <a:pt x="737" y="322"/>
                </a:lnTo>
                <a:lnTo>
                  <a:pt x="739" y="316"/>
                </a:lnTo>
                <a:lnTo>
                  <a:pt x="742" y="311"/>
                </a:lnTo>
                <a:lnTo>
                  <a:pt x="746" y="305"/>
                </a:lnTo>
                <a:lnTo>
                  <a:pt x="752" y="299"/>
                </a:lnTo>
                <a:lnTo>
                  <a:pt x="756" y="293"/>
                </a:lnTo>
                <a:lnTo>
                  <a:pt x="760" y="288"/>
                </a:lnTo>
                <a:lnTo>
                  <a:pt x="765" y="284"/>
                </a:lnTo>
                <a:lnTo>
                  <a:pt x="765" y="284"/>
                </a:lnTo>
                <a:lnTo>
                  <a:pt x="761" y="282"/>
                </a:lnTo>
                <a:lnTo>
                  <a:pt x="760" y="280"/>
                </a:lnTo>
                <a:lnTo>
                  <a:pt x="758" y="276"/>
                </a:lnTo>
                <a:lnTo>
                  <a:pt x="754" y="276"/>
                </a:lnTo>
                <a:lnTo>
                  <a:pt x="754" y="276"/>
                </a:lnTo>
                <a:lnTo>
                  <a:pt x="748" y="276"/>
                </a:lnTo>
                <a:lnTo>
                  <a:pt x="741" y="280"/>
                </a:lnTo>
                <a:lnTo>
                  <a:pt x="735" y="282"/>
                </a:lnTo>
                <a:lnTo>
                  <a:pt x="725" y="286"/>
                </a:lnTo>
                <a:lnTo>
                  <a:pt x="716" y="290"/>
                </a:lnTo>
                <a:lnTo>
                  <a:pt x="708" y="293"/>
                </a:lnTo>
                <a:lnTo>
                  <a:pt x="700" y="297"/>
                </a:lnTo>
                <a:lnTo>
                  <a:pt x="693" y="299"/>
                </a:lnTo>
                <a:lnTo>
                  <a:pt x="664" y="299"/>
                </a:lnTo>
                <a:lnTo>
                  <a:pt x="664" y="299"/>
                </a:lnTo>
                <a:lnTo>
                  <a:pt x="668" y="293"/>
                </a:lnTo>
                <a:lnTo>
                  <a:pt x="670" y="288"/>
                </a:lnTo>
                <a:lnTo>
                  <a:pt x="670" y="280"/>
                </a:lnTo>
                <a:lnTo>
                  <a:pt x="668" y="272"/>
                </a:lnTo>
                <a:lnTo>
                  <a:pt x="668" y="265"/>
                </a:lnTo>
                <a:lnTo>
                  <a:pt x="666" y="255"/>
                </a:lnTo>
                <a:lnTo>
                  <a:pt x="666" y="248"/>
                </a:lnTo>
                <a:lnTo>
                  <a:pt x="664" y="238"/>
                </a:lnTo>
                <a:lnTo>
                  <a:pt x="664" y="238"/>
                </a:lnTo>
                <a:lnTo>
                  <a:pt x="666" y="230"/>
                </a:lnTo>
                <a:lnTo>
                  <a:pt x="668" y="223"/>
                </a:lnTo>
                <a:lnTo>
                  <a:pt x="674" y="215"/>
                </a:lnTo>
                <a:lnTo>
                  <a:pt x="679" y="208"/>
                </a:lnTo>
                <a:lnTo>
                  <a:pt x="685" y="200"/>
                </a:lnTo>
                <a:lnTo>
                  <a:pt x="693" y="192"/>
                </a:lnTo>
                <a:lnTo>
                  <a:pt x="702" y="187"/>
                </a:lnTo>
                <a:lnTo>
                  <a:pt x="710" y="179"/>
                </a:lnTo>
                <a:lnTo>
                  <a:pt x="710" y="179"/>
                </a:lnTo>
                <a:lnTo>
                  <a:pt x="706" y="171"/>
                </a:lnTo>
                <a:lnTo>
                  <a:pt x="700" y="164"/>
                </a:lnTo>
                <a:lnTo>
                  <a:pt x="697" y="158"/>
                </a:lnTo>
                <a:lnTo>
                  <a:pt x="691" y="150"/>
                </a:lnTo>
                <a:lnTo>
                  <a:pt x="683" y="145"/>
                </a:lnTo>
                <a:lnTo>
                  <a:pt x="678" y="139"/>
                </a:lnTo>
                <a:lnTo>
                  <a:pt x="670" y="133"/>
                </a:lnTo>
                <a:lnTo>
                  <a:pt x="664" y="127"/>
                </a:lnTo>
                <a:lnTo>
                  <a:pt x="657" y="124"/>
                </a:lnTo>
                <a:lnTo>
                  <a:pt x="651" y="118"/>
                </a:lnTo>
                <a:lnTo>
                  <a:pt x="643" y="112"/>
                </a:lnTo>
                <a:lnTo>
                  <a:pt x="636" y="108"/>
                </a:lnTo>
                <a:lnTo>
                  <a:pt x="630" y="103"/>
                </a:lnTo>
                <a:lnTo>
                  <a:pt x="622" y="97"/>
                </a:lnTo>
                <a:lnTo>
                  <a:pt x="617" y="91"/>
                </a:lnTo>
                <a:lnTo>
                  <a:pt x="611" y="87"/>
                </a:lnTo>
                <a:lnTo>
                  <a:pt x="611" y="87"/>
                </a:lnTo>
                <a:lnTo>
                  <a:pt x="607" y="84"/>
                </a:lnTo>
                <a:lnTo>
                  <a:pt x="605" y="80"/>
                </a:lnTo>
                <a:lnTo>
                  <a:pt x="605" y="76"/>
                </a:lnTo>
                <a:lnTo>
                  <a:pt x="603" y="72"/>
                </a:lnTo>
                <a:lnTo>
                  <a:pt x="601" y="68"/>
                </a:lnTo>
                <a:lnTo>
                  <a:pt x="599" y="64"/>
                </a:lnTo>
                <a:lnTo>
                  <a:pt x="597" y="61"/>
                </a:lnTo>
                <a:lnTo>
                  <a:pt x="596" y="57"/>
                </a:lnTo>
                <a:lnTo>
                  <a:pt x="596" y="57"/>
                </a:lnTo>
                <a:lnTo>
                  <a:pt x="590" y="53"/>
                </a:lnTo>
                <a:lnTo>
                  <a:pt x="584" y="47"/>
                </a:lnTo>
                <a:lnTo>
                  <a:pt x="578" y="43"/>
                </a:lnTo>
                <a:lnTo>
                  <a:pt x="573" y="42"/>
                </a:lnTo>
                <a:lnTo>
                  <a:pt x="569" y="38"/>
                </a:lnTo>
                <a:lnTo>
                  <a:pt x="563" y="36"/>
                </a:lnTo>
                <a:lnTo>
                  <a:pt x="557" y="32"/>
                </a:lnTo>
                <a:lnTo>
                  <a:pt x="552" y="30"/>
                </a:lnTo>
                <a:lnTo>
                  <a:pt x="544" y="28"/>
                </a:lnTo>
                <a:lnTo>
                  <a:pt x="538" y="28"/>
                </a:lnTo>
                <a:lnTo>
                  <a:pt x="533" y="26"/>
                </a:lnTo>
                <a:lnTo>
                  <a:pt x="527" y="26"/>
                </a:lnTo>
                <a:lnTo>
                  <a:pt x="519" y="24"/>
                </a:lnTo>
                <a:lnTo>
                  <a:pt x="514" y="24"/>
                </a:lnTo>
                <a:lnTo>
                  <a:pt x="506" y="24"/>
                </a:lnTo>
                <a:lnTo>
                  <a:pt x="500" y="24"/>
                </a:lnTo>
                <a:lnTo>
                  <a:pt x="500" y="24"/>
                </a:lnTo>
                <a:lnTo>
                  <a:pt x="494" y="24"/>
                </a:lnTo>
                <a:lnTo>
                  <a:pt x="489" y="24"/>
                </a:lnTo>
                <a:lnTo>
                  <a:pt x="485" y="24"/>
                </a:lnTo>
                <a:lnTo>
                  <a:pt x="479" y="24"/>
                </a:lnTo>
                <a:lnTo>
                  <a:pt x="473" y="24"/>
                </a:lnTo>
                <a:lnTo>
                  <a:pt x="470" y="26"/>
                </a:lnTo>
                <a:lnTo>
                  <a:pt x="464" y="28"/>
                </a:lnTo>
                <a:lnTo>
                  <a:pt x="458" y="28"/>
                </a:lnTo>
                <a:lnTo>
                  <a:pt x="458" y="28"/>
                </a:lnTo>
                <a:lnTo>
                  <a:pt x="458" y="26"/>
                </a:lnTo>
                <a:lnTo>
                  <a:pt x="456" y="24"/>
                </a:lnTo>
                <a:lnTo>
                  <a:pt x="456" y="23"/>
                </a:lnTo>
                <a:lnTo>
                  <a:pt x="454" y="21"/>
                </a:lnTo>
                <a:lnTo>
                  <a:pt x="452" y="17"/>
                </a:lnTo>
                <a:lnTo>
                  <a:pt x="451" y="15"/>
                </a:lnTo>
                <a:lnTo>
                  <a:pt x="449" y="15"/>
                </a:lnTo>
                <a:lnTo>
                  <a:pt x="445" y="15"/>
                </a:lnTo>
                <a:lnTo>
                  <a:pt x="445" y="15"/>
                </a:lnTo>
                <a:lnTo>
                  <a:pt x="441" y="15"/>
                </a:lnTo>
                <a:lnTo>
                  <a:pt x="437" y="17"/>
                </a:lnTo>
                <a:lnTo>
                  <a:pt x="435" y="19"/>
                </a:lnTo>
                <a:lnTo>
                  <a:pt x="433" y="21"/>
                </a:lnTo>
                <a:lnTo>
                  <a:pt x="430" y="24"/>
                </a:lnTo>
                <a:lnTo>
                  <a:pt x="428" y="26"/>
                </a:lnTo>
                <a:lnTo>
                  <a:pt x="424" y="28"/>
                </a:lnTo>
                <a:lnTo>
                  <a:pt x="418" y="28"/>
                </a:lnTo>
                <a:lnTo>
                  <a:pt x="418" y="28"/>
                </a:lnTo>
                <a:lnTo>
                  <a:pt x="409" y="28"/>
                </a:lnTo>
                <a:lnTo>
                  <a:pt x="399" y="26"/>
                </a:lnTo>
                <a:lnTo>
                  <a:pt x="393" y="23"/>
                </a:lnTo>
                <a:lnTo>
                  <a:pt x="386" y="17"/>
                </a:lnTo>
                <a:lnTo>
                  <a:pt x="380" y="13"/>
                </a:lnTo>
                <a:lnTo>
                  <a:pt x="372" y="7"/>
                </a:lnTo>
                <a:lnTo>
                  <a:pt x="367" y="3"/>
                </a:lnTo>
                <a:lnTo>
                  <a:pt x="359" y="0"/>
                </a:lnTo>
                <a:lnTo>
                  <a:pt x="359" y="0"/>
                </a:lnTo>
                <a:lnTo>
                  <a:pt x="357" y="5"/>
                </a:lnTo>
                <a:lnTo>
                  <a:pt x="353" y="13"/>
                </a:lnTo>
                <a:lnTo>
                  <a:pt x="351" y="23"/>
                </a:lnTo>
                <a:lnTo>
                  <a:pt x="348" y="32"/>
                </a:lnTo>
                <a:lnTo>
                  <a:pt x="344" y="40"/>
                </a:lnTo>
                <a:lnTo>
                  <a:pt x="340" y="47"/>
                </a:lnTo>
                <a:lnTo>
                  <a:pt x="336" y="53"/>
                </a:lnTo>
                <a:lnTo>
                  <a:pt x="332" y="55"/>
                </a:lnTo>
                <a:lnTo>
                  <a:pt x="332" y="55"/>
                </a:lnTo>
                <a:lnTo>
                  <a:pt x="328" y="55"/>
                </a:lnTo>
                <a:lnTo>
                  <a:pt x="325" y="53"/>
                </a:lnTo>
                <a:lnTo>
                  <a:pt x="323" y="49"/>
                </a:lnTo>
                <a:lnTo>
                  <a:pt x="321" y="45"/>
                </a:lnTo>
                <a:lnTo>
                  <a:pt x="319" y="43"/>
                </a:lnTo>
                <a:lnTo>
                  <a:pt x="317" y="40"/>
                </a:lnTo>
                <a:lnTo>
                  <a:pt x="315" y="36"/>
                </a:lnTo>
                <a:lnTo>
                  <a:pt x="311" y="34"/>
                </a:lnTo>
                <a:lnTo>
                  <a:pt x="287" y="49"/>
                </a:lnTo>
                <a:lnTo>
                  <a:pt x="275" y="42"/>
                </a:lnTo>
                <a:lnTo>
                  <a:pt x="245" y="45"/>
                </a:lnTo>
              </a:path>
            </a:pathLst>
          </a:custGeom>
          <a:solidFill>
            <a:schemeClr val="accent3">
              <a:lumMod val="85000"/>
            </a:schemeClr>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0" name="Freeform 60"/>
          <p:cNvSpPr>
            <a:spLocks/>
          </p:cNvSpPr>
          <p:nvPr/>
        </p:nvSpPr>
        <p:spPr bwMode="auto">
          <a:xfrm>
            <a:off x="3889375" y="4203602"/>
            <a:ext cx="150813" cy="336550"/>
          </a:xfrm>
          <a:custGeom>
            <a:avLst/>
            <a:gdLst>
              <a:gd name="T0" fmla="*/ 25 w 168"/>
              <a:gd name="T1" fmla="*/ 21 h 385"/>
              <a:gd name="T2" fmla="*/ 34 w 168"/>
              <a:gd name="T3" fmla="*/ 34 h 385"/>
              <a:gd name="T4" fmla="*/ 40 w 168"/>
              <a:gd name="T5" fmla="*/ 51 h 385"/>
              <a:gd name="T6" fmla="*/ 46 w 168"/>
              <a:gd name="T7" fmla="*/ 68 h 385"/>
              <a:gd name="T8" fmla="*/ 49 w 168"/>
              <a:gd name="T9" fmla="*/ 84 h 385"/>
              <a:gd name="T10" fmla="*/ 55 w 168"/>
              <a:gd name="T11" fmla="*/ 105 h 385"/>
              <a:gd name="T12" fmla="*/ 55 w 168"/>
              <a:gd name="T13" fmla="*/ 128 h 385"/>
              <a:gd name="T14" fmla="*/ 61 w 168"/>
              <a:gd name="T15" fmla="*/ 143 h 385"/>
              <a:gd name="T16" fmla="*/ 63 w 168"/>
              <a:gd name="T17" fmla="*/ 160 h 385"/>
              <a:gd name="T18" fmla="*/ 55 w 168"/>
              <a:gd name="T19" fmla="*/ 171 h 385"/>
              <a:gd name="T20" fmla="*/ 51 w 168"/>
              <a:gd name="T21" fmla="*/ 185 h 385"/>
              <a:gd name="T22" fmla="*/ 61 w 168"/>
              <a:gd name="T23" fmla="*/ 200 h 385"/>
              <a:gd name="T24" fmla="*/ 80 w 168"/>
              <a:gd name="T25" fmla="*/ 210 h 385"/>
              <a:gd name="T26" fmla="*/ 95 w 168"/>
              <a:gd name="T27" fmla="*/ 223 h 385"/>
              <a:gd name="T28" fmla="*/ 107 w 168"/>
              <a:gd name="T29" fmla="*/ 246 h 385"/>
              <a:gd name="T30" fmla="*/ 114 w 168"/>
              <a:gd name="T31" fmla="*/ 269 h 385"/>
              <a:gd name="T32" fmla="*/ 126 w 168"/>
              <a:gd name="T33" fmla="*/ 296 h 385"/>
              <a:gd name="T34" fmla="*/ 133 w 168"/>
              <a:gd name="T35" fmla="*/ 318 h 385"/>
              <a:gd name="T36" fmla="*/ 143 w 168"/>
              <a:gd name="T37" fmla="*/ 343 h 385"/>
              <a:gd name="T38" fmla="*/ 154 w 168"/>
              <a:gd name="T39" fmla="*/ 358 h 385"/>
              <a:gd name="T40" fmla="*/ 166 w 168"/>
              <a:gd name="T41" fmla="*/ 374 h 385"/>
              <a:gd name="T42" fmla="*/ 166 w 168"/>
              <a:gd name="T43" fmla="*/ 385 h 385"/>
              <a:gd name="T44" fmla="*/ 160 w 168"/>
              <a:gd name="T45" fmla="*/ 385 h 385"/>
              <a:gd name="T46" fmla="*/ 151 w 168"/>
              <a:gd name="T47" fmla="*/ 381 h 385"/>
              <a:gd name="T48" fmla="*/ 141 w 168"/>
              <a:gd name="T49" fmla="*/ 370 h 385"/>
              <a:gd name="T50" fmla="*/ 126 w 168"/>
              <a:gd name="T51" fmla="*/ 353 h 385"/>
              <a:gd name="T52" fmla="*/ 112 w 168"/>
              <a:gd name="T53" fmla="*/ 339 h 385"/>
              <a:gd name="T54" fmla="*/ 95 w 168"/>
              <a:gd name="T55" fmla="*/ 320 h 385"/>
              <a:gd name="T56" fmla="*/ 88 w 168"/>
              <a:gd name="T57" fmla="*/ 297 h 385"/>
              <a:gd name="T58" fmla="*/ 78 w 168"/>
              <a:gd name="T59" fmla="*/ 275 h 385"/>
              <a:gd name="T60" fmla="*/ 63 w 168"/>
              <a:gd name="T61" fmla="*/ 261 h 385"/>
              <a:gd name="T62" fmla="*/ 48 w 168"/>
              <a:gd name="T63" fmla="*/ 250 h 385"/>
              <a:gd name="T64" fmla="*/ 38 w 168"/>
              <a:gd name="T65" fmla="*/ 240 h 385"/>
              <a:gd name="T66" fmla="*/ 30 w 168"/>
              <a:gd name="T67" fmla="*/ 227 h 385"/>
              <a:gd name="T68" fmla="*/ 25 w 168"/>
              <a:gd name="T69" fmla="*/ 213 h 385"/>
              <a:gd name="T70" fmla="*/ 19 w 168"/>
              <a:gd name="T71" fmla="*/ 198 h 385"/>
              <a:gd name="T72" fmla="*/ 15 w 168"/>
              <a:gd name="T73" fmla="*/ 183 h 385"/>
              <a:gd name="T74" fmla="*/ 13 w 168"/>
              <a:gd name="T75" fmla="*/ 170 h 385"/>
              <a:gd name="T76" fmla="*/ 13 w 168"/>
              <a:gd name="T77" fmla="*/ 158 h 385"/>
              <a:gd name="T78" fmla="*/ 13 w 168"/>
              <a:gd name="T79" fmla="*/ 152 h 385"/>
              <a:gd name="T80" fmla="*/ 13 w 168"/>
              <a:gd name="T81" fmla="*/ 143 h 385"/>
              <a:gd name="T82" fmla="*/ 11 w 168"/>
              <a:gd name="T83" fmla="*/ 131 h 385"/>
              <a:gd name="T84" fmla="*/ 8 w 168"/>
              <a:gd name="T85" fmla="*/ 120 h 385"/>
              <a:gd name="T86" fmla="*/ 4 w 168"/>
              <a:gd name="T87" fmla="*/ 109 h 385"/>
              <a:gd name="T88" fmla="*/ 0 w 168"/>
              <a:gd name="T89" fmla="*/ 93 h 385"/>
              <a:gd name="T90" fmla="*/ 0 w 168"/>
              <a:gd name="T91" fmla="*/ 78 h 385"/>
              <a:gd name="T92" fmla="*/ 2 w 168"/>
              <a:gd name="T93" fmla="*/ 63 h 385"/>
              <a:gd name="T94" fmla="*/ 6 w 168"/>
              <a:gd name="T95" fmla="*/ 49 h 385"/>
              <a:gd name="T96" fmla="*/ 6 w 168"/>
              <a:gd name="T97" fmla="*/ 36 h 385"/>
              <a:gd name="T98" fmla="*/ 2 w 168"/>
              <a:gd name="T99" fmla="*/ 25 h 385"/>
              <a:gd name="T100" fmla="*/ 0 w 168"/>
              <a:gd name="T101" fmla="*/ 13 h 385"/>
              <a:gd name="T102" fmla="*/ 0 w 168"/>
              <a:gd name="T103" fmla="*/ 7 h 385"/>
              <a:gd name="T104" fmla="*/ 0 w 168"/>
              <a:gd name="T105" fmla="*/ 4 h 385"/>
              <a:gd name="T106" fmla="*/ 8 w 168"/>
              <a:gd name="T107" fmla="*/ 0 h 385"/>
              <a:gd name="T108" fmla="*/ 11 w 168"/>
              <a:gd name="T109" fmla="*/ 7 h 385"/>
              <a:gd name="T110" fmla="*/ 15 w 168"/>
              <a:gd name="T111" fmla="*/ 1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8" h="385">
                <a:moveTo>
                  <a:pt x="17" y="15"/>
                </a:move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5" y="105"/>
                </a:lnTo>
                <a:lnTo>
                  <a:pt x="55" y="114"/>
                </a:lnTo>
                <a:lnTo>
                  <a:pt x="55" y="122"/>
                </a:lnTo>
                <a:lnTo>
                  <a:pt x="55" y="128"/>
                </a:lnTo>
                <a:lnTo>
                  <a:pt x="55" y="133"/>
                </a:lnTo>
                <a:lnTo>
                  <a:pt x="57" y="139"/>
                </a:lnTo>
                <a:lnTo>
                  <a:pt x="61" y="143"/>
                </a:lnTo>
                <a:lnTo>
                  <a:pt x="67" y="149"/>
                </a:lnTo>
                <a:lnTo>
                  <a:pt x="65" y="154"/>
                </a:lnTo>
                <a:lnTo>
                  <a:pt x="63" y="160"/>
                </a:lnTo>
                <a:lnTo>
                  <a:pt x="61" y="164"/>
                </a:lnTo>
                <a:lnTo>
                  <a:pt x="57" y="168"/>
                </a:lnTo>
                <a:lnTo>
                  <a:pt x="55" y="171"/>
                </a:lnTo>
                <a:lnTo>
                  <a:pt x="53" y="175"/>
                </a:lnTo>
                <a:lnTo>
                  <a:pt x="51" y="179"/>
                </a:lnTo>
                <a:lnTo>
                  <a:pt x="51" y="185"/>
                </a:lnTo>
                <a:lnTo>
                  <a:pt x="53" y="191"/>
                </a:lnTo>
                <a:lnTo>
                  <a:pt x="57" y="196"/>
                </a:lnTo>
                <a:lnTo>
                  <a:pt x="61" y="200"/>
                </a:lnTo>
                <a:lnTo>
                  <a:pt x="67" y="204"/>
                </a:lnTo>
                <a:lnTo>
                  <a:pt x="74" y="208"/>
                </a:lnTo>
                <a:lnTo>
                  <a:pt x="80" y="210"/>
                </a:lnTo>
                <a:lnTo>
                  <a:pt x="84" y="213"/>
                </a:lnTo>
                <a:lnTo>
                  <a:pt x="88" y="215"/>
                </a:lnTo>
                <a:lnTo>
                  <a:pt x="95" y="223"/>
                </a:lnTo>
                <a:lnTo>
                  <a:pt x="101" y="231"/>
                </a:lnTo>
                <a:lnTo>
                  <a:pt x="105" y="238"/>
                </a:lnTo>
                <a:lnTo>
                  <a:pt x="107" y="246"/>
                </a:lnTo>
                <a:lnTo>
                  <a:pt x="109" y="254"/>
                </a:lnTo>
                <a:lnTo>
                  <a:pt x="111" y="261"/>
                </a:lnTo>
                <a:lnTo>
                  <a:pt x="114" y="269"/>
                </a:lnTo>
                <a:lnTo>
                  <a:pt x="118" y="278"/>
                </a:lnTo>
                <a:lnTo>
                  <a:pt x="122" y="286"/>
                </a:lnTo>
                <a:lnTo>
                  <a:pt x="126" y="296"/>
                </a:lnTo>
                <a:lnTo>
                  <a:pt x="128" y="303"/>
                </a:lnTo>
                <a:lnTo>
                  <a:pt x="132" y="311"/>
                </a:lnTo>
                <a:lnTo>
                  <a:pt x="133" y="318"/>
                </a:lnTo>
                <a:lnTo>
                  <a:pt x="137" y="326"/>
                </a:lnTo>
                <a:lnTo>
                  <a:pt x="139" y="336"/>
                </a:lnTo>
                <a:lnTo>
                  <a:pt x="143" y="343"/>
                </a:lnTo>
                <a:lnTo>
                  <a:pt x="147" y="349"/>
                </a:lnTo>
                <a:lnTo>
                  <a:pt x="151" y="355"/>
                </a:lnTo>
                <a:lnTo>
                  <a:pt x="154" y="358"/>
                </a:lnTo>
                <a:lnTo>
                  <a:pt x="158" y="364"/>
                </a:lnTo>
                <a:lnTo>
                  <a:pt x="162" y="368"/>
                </a:lnTo>
                <a:lnTo>
                  <a:pt x="166" y="374"/>
                </a:lnTo>
                <a:lnTo>
                  <a:pt x="166" y="378"/>
                </a:lnTo>
                <a:lnTo>
                  <a:pt x="168" y="385"/>
                </a:lnTo>
                <a:lnTo>
                  <a:pt x="166" y="385"/>
                </a:lnTo>
                <a:lnTo>
                  <a:pt x="166" y="385"/>
                </a:lnTo>
                <a:lnTo>
                  <a:pt x="162" y="385"/>
                </a:lnTo>
                <a:lnTo>
                  <a:pt x="160" y="385"/>
                </a:lnTo>
                <a:lnTo>
                  <a:pt x="156" y="383"/>
                </a:lnTo>
                <a:lnTo>
                  <a:pt x="154" y="383"/>
                </a:lnTo>
                <a:lnTo>
                  <a:pt x="151" y="381"/>
                </a:lnTo>
                <a:lnTo>
                  <a:pt x="151" y="379"/>
                </a:lnTo>
                <a:lnTo>
                  <a:pt x="145" y="374"/>
                </a:lnTo>
                <a:lnTo>
                  <a:pt x="141" y="370"/>
                </a:lnTo>
                <a:lnTo>
                  <a:pt x="135" y="364"/>
                </a:lnTo>
                <a:lnTo>
                  <a:pt x="132" y="358"/>
                </a:lnTo>
                <a:lnTo>
                  <a:pt x="126" y="353"/>
                </a:lnTo>
                <a:lnTo>
                  <a:pt x="122" y="347"/>
                </a:lnTo>
                <a:lnTo>
                  <a:pt x="118" y="343"/>
                </a:lnTo>
                <a:lnTo>
                  <a:pt x="112" y="339"/>
                </a:lnTo>
                <a:lnTo>
                  <a:pt x="105" y="334"/>
                </a:lnTo>
                <a:lnTo>
                  <a:pt x="99" y="328"/>
                </a:lnTo>
                <a:lnTo>
                  <a:pt x="95" y="320"/>
                </a:lnTo>
                <a:lnTo>
                  <a:pt x="93" y="315"/>
                </a:lnTo>
                <a:lnTo>
                  <a:pt x="90" y="307"/>
                </a:lnTo>
                <a:lnTo>
                  <a:pt x="88" y="297"/>
                </a:lnTo>
                <a:lnTo>
                  <a:pt x="86" y="290"/>
                </a:lnTo>
                <a:lnTo>
                  <a:pt x="82" y="280"/>
                </a:lnTo>
                <a:lnTo>
                  <a:pt x="78" y="275"/>
                </a:lnTo>
                <a:lnTo>
                  <a:pt x="74" y="271"/>
                </a:lnTo>
                <a:lnTo>
                  <a:pt x="69" y="265"/>
                </a:lnTo>
                <a:lnTo>
                  <a:pt x="63" y="261"/>
                </a:lnTo>
                <a:lnTo>
                  <a:pt x="57" y="257"/>
                </a:lnTo>
                <a:lnTo>
                  <a:pt x="51" y="254"/>
                </a:lnTo>
                <a:lnTo>
                  <a:pt x="48" y="250"/>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0"/>
                </a:lnTo>
                <a:lnTo>
                  <a:pt x="13" y="166"/>
                </a:lnTo>
                <a:lnTo>
                  <a:pt x="13" y="162"/>
                </a:lnTo>
                <a:lnTo>
                  <a:pt x="13" y="158"/>
                </a:lnTo>
                <a:lnTo>
                  <a:pt x="13" y="156"/>
                </a:lnTo>
                <a:lnTo>
                  <a:pt x="13" y="154"/>
                </a:lnTo>
                <a:lnTo>
                  <a:pt x="13" y="152"/>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78"/>
                </a:lnTo>
                <a:lnTo>
                  <a:pt x="0" y="72"/>
                </a:lnTo>
                <a:lnTo>
                  <a:pt x="2" y="67"/>
                </a:lnTo>
                <a:lnTo>
                  <a:pt x="2" y="63"/>
                </a:lnTo>
                <a:lnTo>
                  <a:pt x="4" y="59"/>
                </a:lnTo>
                <a:lnTo>
                  <a:pt x="6" y="53"/>
                </a:lnTo>
                <a:lnTo>
                  <a:pt x="6" y="49"/>
                </a:lnTo>
                <a:lnTo>
                  <a:pt x="6" y="44"/>
                </a:lnTo>
                <a:lnTo>
                  <a:pt x="6" y="40"/>
                </a:lnTo>
                <a:lnTo>
                  <a:pt x="6" y="36"/>
                </a:lnTo>
                <a:lnTo>
                  <a:pt x="4" y="32"/>
                </a:lnTo>
                <a:lnTo>
                  <a:pt x="2" y="28"/>
                </a:lnTo>
                <a:lnTo>
                  <a:pt x="2" y="25"/>
                </a:lnTo>
                <a:lnTo>
                  <a:pt x="0" y="21"/>
                </a:lnTo>
                <a:lnTo>
                  <a:pt x="0" y="17"/>
                </a:lnTo>
                <a:lnTo>
                  <a:pt x="0" y="13"/>
                </a:lnTo>
                <a:lnTo>
                  <a:pt x="0" y="11"/>
                </a:lnTo>
                <a:lnTo>
                  <a:pt x="0" y="9"/>
                </a:lnTo>
                <a:lnTo>
                  <a:pt x="0" y="7"/>
                </a:lnTo>
                <a:lnTo>
                  <a:pt x="0" y="6"/>
                </a:lnTo>
                <a:lnTo>
                  <a:pt x="0" y="4"/>
                </a:lnTo>
                <a:lnTo>
                  <a:pt x="0" y="4"/>
                </a:lnTo>
                <a:lnTo>
                  <a:pt x="0" y="2"/>
                </a:lnTo>
                <a:lnTo>
                  <a:pt x="0" y="0"/>
                </a:lnTo>
                <a:lnTo>
                  <a:pt x="8" y="0"/>
                </a:lnTo>
                <a:lnTo>
                  <a:pt x="9" y="2"/>
                </a:lnTo>
                <a:lnTo>
                  <a:pt x="11" y="4"/>
                </a:lnTo>
                <a:lnTo>
                  <a:pt x="11" y="7"/>
                </a:lnTo>
                <a:lnTo>
                  <a:pt x="13" y="9"/>
                </a:lnTo>
                <a:lnTo>
                  <a:pt x="15" y="11"/>
                </a:lnTo>
                <a:lnTo>
                  <a:pt x="15" y="13"/>
                </a:lnTo>
                <a:lnTo>
                  <a:pt x="17" y="15"/>
                </a:lnTo>
                <a:lnTo>
                  <a:pt x="17" y="15"/>
                </a:lnTo>
                <a:close/>
              </a:path>
            </a:pathLst>
          </a:custGeom>
          <a:solidFill>
            <a:schemeClr val="accent1"/>
          </a:solidFill>
          <a:ln w="9525" cmpd="sng">
            <a:solidFill>
              <a:schemeClr val="tx1"/>
            </a:solidFill>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1" name="Freeform 61"/>
          <p:cNvSpPr>
            <a:spLocks/>
          </p:cNvSpPr>
          <p:nvPr/>
        </p:nvSpPr>
        <p:spPr bwMode="auto">
          <a:xfrm>
            <a:off x="3889375" y="4203602"/>
            <a:ext cx="150813" cy="336550"/>
          </a:xfrm>
          <a:custGeom>
            <a:avLst/>
            <a:gdLst>
              <a:gd name="T0" fmla="*/ 21 w 168"/>
              <a:gd name="T1" fmla="*/ 19 h 385"/>
              <a:gd name="T2" fmla="*/ 30 w 168"/>
              <a:gd name="T3" fmla="*/ 30 h 385"/>
              <a:gd name="T4" fmla="*/ 38 w 168"/>
              <a:gd name="T5" fmla="*/ 46 h 385"/>
              <a:gd name="T6" fmla="*/ 44 w 168"/>
              <a:gd name="T7" fmla="*/ 61 h 385"/>
              <a:gd name="T8" fmla="*/ 48 w 168"/>
              <a:gd name="T9" fmla="*/ 78 h 385"/>
              <a:gd name="T10" fmla="*/ 53 w 168"/>
              <a:gd name="T11" fmla="*/ 93 h 385"/>
              <a:gd name="T12" fmla="*/ 55 w 168"/>
              <a:gd name="T13" fmla="*/ 114 h 385"/>
              <a:gd name="T14" fmla="*/ 55 w 168"/>
              <a:gd name="T15" fmla="*/ 133 h 385"/>
              <a:gd name="T16" fmla="*/ 67 w 168"/>
              <a:gd name="T17" fmla="*/ 149 h 385"/>
              <a:gd name="T18" fmla="*/ 63 w 168"/>
              <a:gd name="T19" fmla="*/ 160 h 385"/>
              <a:gd name="T20" fmla="*/ 55 w 168"/>
              <a:gd name="T21" fmla="*/ 171 h 385"/>
              <a:gd name="T22" fmla="*/ 51 w 168"/>
              <a:gd name="T23" fmla="*/ 185 h 385"/>
              <a:gd name="T24" fmla="*/ 57 w 168"/>
              <a:gd name="T25" fmla="*/ 196 h 385"/>
              <a:gd name="T26" fmla="*/ 74 w 168"/>
              <a:gd name="T27" fmla="*/ 208 h 385"/>
              <a:gd name="T28" fmla="*/ 88 w 168"/>
              <a:gd name="T29" fmla="*/ 215 h 385"/>
              <a:gd name="T30" fmla="*/ 101 w 168"/>
              <a:gd name="T31" fmla="*/ 231 h 385"/>
              <a:gd name="T32" fmla="*/ 109 w 168"/>
              <a:gd name="T33" fmla="*/ 254 h 385"/>
              <a:gd name="T34" fmla="*/ 118 w 168"/>
              <a:gd name="T35" fmla="*/ 278 h 385"/>
              <a:gd name="T36" fmla="*/ 126 w 168"/>
              <a:gd name="T37" fmla="*/ 296 h 385"/>
              <a:gd name="T38" fmla="*/ 133 w 168"/>
              <a:gd name="T39" fmla="*/ 318 h 385"/>
              <a:gd name="T40" fmla="*/ 143 w 168"/>
              <a:gd name="T41" fmla="*/ 343 h 385"/>
              <a:gd name="T42" fmla="*/ 151 w 168"/>
              <a:gd name="T43" fmla="*/ 355 h 385"/>
              <a:gd name="T44" fmla="*/ 162 w 168"/>
              <a:gd name="T45" fmla="*/ 368 h 385"/>
              <a:gd name="T46" fmla="*/ 168 w 168"/>
              <a:gd name="T47" fmla="*/ 385 h 385"/>
              <a:gd name="T48" fmla="*/ 166 w 168"/>
              <a:gd name="T49" fmla="*/ 385 h 385"/>
              <a:gd name="T50" fmla="*/ 156 w 168"/>
              <a:gd name="T51" fmla="*/ 383 h 385"/>
              <a:gd name="T52" fmla="*/ 151 w 168"/>
              <a:gd name="T53" fmla="*/ 379 h 385"/>
              <a:gd name="T54" fmla="*/ 141 w 168"/>
              <a:gd name="T55" fmla="*/ 370 h 385"/>
              <a:gd name="T56" fmla="*/ 126 w 168"/>
              <a:gd name="T57" fmla="*/ 353 h 385"/>
              <a:gd name="T58" fmla="*/ 112 w 168"/>
              <a:gd name="T59" fmla="*/ 339 h 385"/>
              <a:gd name="T60" fmla="*/ 99 w 168"/>
              <a:gd name="T61" fmla="*/ 328 h 385"/>
              <a:gd name="T62" fmla="*/ 90 w 168"/>
              <a:gd name="T63" fmla="*/ 307 h 385"/>
              <a:gd name="T64" fmla="*/ 82 w 168"/>
              <a:gd name="T65" fmla="*/ 280 h 385"/>
              <a:gd name="T66" fmla="*/ 74 w 168"/>
              <a:gd name="T67" fmla="*/ 271 h 385"/>
              <a:gd name="T68" fmla="*/ 57 w 168"/>
              <a:gd name="T69" fmla="*/ 257 h 385"/>
              <a:gd name="T70" fmla="*/ 42 w 168"/>
              <a:gd name="T71" fmla="*/ 246 h 385"/>
              <a:gd name="T72" fmla="*/ 38 w 168"/>
              <a:gd name="T73" fmla="*/ 240 h 385"/>
              <a:gd name="T74" fmla="*/ 30 w 168"/>
              <a:gd name="T75" fmla="*/ 227 h 385"/>
              <a:gd name="T76" fmla="*/ 25 w 168"/>
              <a:gd name="T77" fmla="*/ 213 h 385"/>
              <a:gd name="T78" fmla="*/ 19 w 168"/>
              <a:gd name="T79" fmla="*/ 198 h 385"/>
              <a:gd name="T80" fmla="*/ 15 w 168"/>
              <a:gd name="T81" fmla="*/ 183 h 385"/>
              <a:gd name="T82" fmla="*/ 13 w 168"/>
              <a:gd name="T83" fmla="*/ 173 h 385"/>
              <a:gd name="T84" fmla="*/ 13 w 168"/>
              <a:gd name="T85" fmla="*/ 162 h 385"/>
              <a:gd name="T86" fmla="*/ 13 w 168"/>
              <a:gd name="T87" fmla="*/ 154 h 385"/>
              <a:gd name="T88" fmla="*/ 13 w 168"/>
              <a:gd name="T89" fmla="*/ 149 h 385"/>
              <a:gd name="T90" fmla="*/ 13 w 168"/>
              <a:gd name="T91" fmla="*/ 139 h 385"/>
              <a:gd name="T92" fmla="*/ 9 w 168"/>
              <a:gd name="T93" fmla="*/ 128 h 385"/>
              <a:gd name="T94" fmla="*/ 6 w 168"/>
              <a:gd name="T95" fmla="*/ 116 h 385"/>
              <a:gd name="T96" fmla="*/ 2 w 168"/>
              <a:gd name="T97" fmla="*/ 103 h 385"/>
              <a:gd name="T98" fmla="*/ 0 w 168"/>
              <a:gd name="T99" fmla="*/ 89 h 385"/>
              <a:gd name="T100" fmla="*/ 0 w 168"/>
              <a:gd name="T101" fmla="*/ 78 h 385"/>
              <a:gd name="T102" fmla="*/ 2 w 168"/>
              <a:gd name="T103" fmla="*/ 63 h 385"/>
              <a:gd name="T104" fmla="*/ 6 w 168"/>
              <a:gd name="T105" fmla="*/ 49 h 385"/>
              <a:gd name="T106" fmla="*/ 6 w 168"/>
              <a:gd name="T107" fmla="*/ 40 h 385"/>
              <a:gd name="T108" fmla="*/ 2 w 168"/>
              <a:gd name="T109" fmla="*/ 28 h 385"/>
              <a:gd name="T110" fmla="*/ 0 w 168"/>
              <a:gd name="T111" fmla="*/ 17 h 385"/>
              <a:gd name="T112" fmla="*/ 0 w 168"/>
              <a:gd name="T113" fmla="*/ 11 h 385"/>
              <a:gd name="T114" fmla="*/ 0 w 168"/>
              <a:gd name="T115" fmla="*/ 6 h 385"/>
              <a:gd name="T116" fmla="*/ 0 w 168"/>
              <a:gd name="T117" fmla="*/ 2 h 385"/>
              <a:gd name="T118" fmla="*/ 8 w 168"/>
              <a:gd name="T119" fmla="*/ 0 h 385"/>
              <a:gd name="T120" fmla="*/ 11 w 168"/>
              <a:gd name="T121" fmla="*/ 7 h 385"/>
              <a:gd name="T122" fmla="*/ 15 w 168"/>
              <a:gd name="T123" fmla="*/ 1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8" h="385">
                <a:moveTo>
                  <a:pt x="17" y="15"/>
                </a:moveTo>
                <a:lnTo>
                  <a:pt x="17" y="15"/>
                </a:ln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3" y="93"/>
                </a:lnTo>
                <a:lnTo>
                  <a:pt x="55" y="105"/>
                </a:lnTo>
                <a:lnTo>
                  <a:pt x="55" y="114"/>
                </a:lnTo>
                <a:lnTo>
                  <a:pt x="55" y="122"/>
                </a:lnTo>
                <a:lnTo>
                  <a:pt x="55" y="128"/>
                </a:lnTo>
                <a:lnTo>
                  <a:pt x="55" y="133"/>
                </a:lnTo>
                <a:lnTo>
                  <a:pt x="57" y="139"/>
                </a:lnTo>
                <a:lnTo>
                  <a:pt x="61" y="143"/>
                </a:lnTo>
                <a:lnTo>
                  <a:pt x="67" y="149"/>
                </a:lnTo>
                <a:lnTo>
                  <a:pt x="67" y="149"/>
                </a:lnTo>
                <a:lnTo>
                  <a:pt x="65" y="154"/>
                </a:lnTo>
                <a:lnTo>
                  <a:pt x="63" y="160"/>
                </a:lnTo>
                <a:lnTo>
                  <a:pt x="61" y="164"/>
                </a:lnTo>
                <a:lnTo>
                  <a:pt x="57" y="168"/>
                </a:lnTo>
                <a:lnTo>
                  <a:pt x="55" y="171"/>
                </a:lnTo>
                <a:lnTo>
                  <a:pt x="53" y="175"/>
                </a:lnTo>
                <a:lnTo>
                  <a:pt x="51" y="179"/>
                </a:lnTo>
                <a:lnTo>
                  <a:pt x="51" y="185"/>
                </a:lnTo>
                <a:lnTo>
                  <a:pt x="51" y="185"/>
                </a:lnTo>
                <a:lnTo>
                  <a:pt x="53" y="191"/>
                </a:lnTo>
                <a:lnTo>
                  <a:pt x="57" y="196"/>
                </a:lnTo>
                <a:lnTo>
                  <a:pt x="61" y="200"/>
                </a:lnTo>
                <a:lnTo>
                  <a:pt x="67" y="204"/>
                </a:lnTo>
                <a:lnTo>
                  <a:pt x="74" y="208"/>
                </a:lnTo>
                <a:lnTo>
                  <a:pt x="80" y="210"/>
                </a:lnTo>
                <a:lnTo>
                  <a:pt x="84" y="213"/>
                </a:lnTo>
                <a:lnTo>
                  <a:pt x="88" y="215"/>
                </a:lnTo>
                <a:lnTo>
                  <a:pt x="88" y="215"/>
                </a:lnTo>
                <a:lnTo>
                  <a:pt x="95" y="223"/>
                </a:lnTo>
                <a:lnTo>
                  <a:pt x="101" y="231"/>
                </a:lnTo>
                <a:lnTo>
                  <a:pt x="105" y="238"/>
                </a:lnTo>
                <a:lnTo>
                  <a:pt x="107" y="246"/>
                </a:lnTo>
                <a:lnTo>
                  <a:pt x="109" y="254"/>
                </a:lnTo>
                <a:lnTo>
                  <a:pt x="111" y="261"/>
                </a:lnTo>
                <a:lnTo>
                  <a:pt x="114" y="269"/>
                </a:lnTo>
                <a:lnTo>
                  <a:pt x="118" y="278"/>
                </a:lnTo>
                <a:lnTo>
                  <a:pt x="118" y="278"/>
                </a:lnTo>
                <a:lnTo>
                  <a:pt x="122" y="286"/>
                </a:lnTo>
                <a:lnTo>
                  <a:pt x="126" y="296"/>
                </a:lnTo>
                <a:lnTo>
                  <a:pt x="128" y="303"/>
                </a:lnTo>
                <a:lnTo>
                  <a:pt x="132" y="311"/>
                </a:lnTo>
                <a:lnTo>
                  <a:pt x="133" y="318"/>
                </a:lnTo>
                <a:lnTo>
                  <a:pt x="137" y="326"/>
                </a:lnTo>
                <a:lnTo>
                  <a:pt x="139" y="336"/>
                </a:lnTo>
                <a:lnTo>
                  <a:pt x="143" y="343"/>
                </a:lnTo>
                <a:lnTo>
                  <a:pt x="143" y="343"/>
                </a:lnTo>
                <a:lnTo>
                  <a:pt x="147" y="349"/>
                </a:lnTo>
                <a:lnTo>
                  <a:pt x="151" y="355"/>
                </a:lnTo>
                <a:lnTo>
                  <a:pt x="154" y="358"/>
                </a:lnTo>
                <a:lnTo>
                  <a:pt x="158" y="364"/>
                </a:lnTo>
                <a:lnTo>
                  <a:pt x="162" y="368"/>
                </a:lnTo>
                <a:lnTo>
                  <a:pt x="166" y="374"/>
                </a:lnTo>
                <a:lnTo>
                  <a:pt x="166" y="378"/>
                </a:lnTo>
                <a:lnTo>
                  <a:pt x="168" y="385"/>
                </a:lnTo>
                <a:lnTo>
                  <a:pt x="168" y="385"/>
                </a:lnTo>
                <a:lnTo>
                  <a:pt x="166" y="385"/>
                </a:lnTo>
                <a:lnTo>
                  <a:pt x="166" y="385"/>
                </a:lnTo>
                <a:lnTo>
                  <a:pt x="162" y="385"/>
                </a:lnTo>
                <a:lnTo>
                  <a:pt x="160" y="385"/>
                </a:lnTo>
                <a:lnTo>
                  <a:pt x="156" y="383"/>
                </a:lnTo>
                <a:lnTo>
                  <a:pt x="154" y="383"/>
                </a:lnTo>
                <a:lnTo>
                  <a:pt x="151" y="381"/>
                </a:lnTo>
                <a:lnTo>
                  <a:pt x="151" y="379"/>
                </a:lnTo>
                <a:lnTo>
                  <a:pt x="151" y="379"/>
                </a:lnTo>
                <a:lnTo>
                  <a:pt x="145" y="374"/>
                </a:lnTo>
                <a:lnTo>
                  <a:pt x="141" y="370"/>
                </a:lnTo>
                <a:lnTo>
                  <a:pt x="135" y="364"/>
                </a:lnTo>
                <a:lnTo>
                  <a:pt x="132" y="358"/>
                </a:lnTo>
                <a:lnTo>
                  <a:pt x="126" y="353"/>
                </a:lnTo>
                <a:lnTo>
                  <a:pt x="122" y="347"/>
                </a:lnTo>
                <a:lnTo>
                  <a:pt x="118" y="343"/>
                </a:lnTo>
                <a:lnTo>
                  <a:pt x="112" y="339"/>
                </a:lnTo>
                <a:lnTo>
                  <a:pt x="112" y="339"/>
                </a:lnTo>
                <a:lnTo>
                  <a:pt x="105" y="334"/>
                </a:lnTo>
                <a:lnTo>
                  <a:pt x="99" y="328"/>
                </a:lnTo>
                <a:lnTo>
                  <a:pt x="95" y="320"/>
                </a:lnTo>
                <a:lnTo>
                  <a:pt x="93" y="315"/>
                </a:lnTo>
                <a:lnTo>
                  <a:pt x="90" y="307"/>
                </a:lnTo>
                <a:lnTo>
                  <a:pt x="88" y="297"/>
                </a:lnTo>
                <a:lnTo>
                  <a:pt x="86" y="290"/>
                </a:lnTo>
                <a:lnTo>
                  <a:pt x="82" y="280"/>
                </a:lnTo>
                <a:lnTo>
                  <a:pt x="82" y="280"/>
                </a:lnTo>
                <a:lnTo>
                  <a:pt x="78" y="275"/>
                </a:lnTo>
                <a:lnTo>
                  <a:pt x="74" y="271"/>
                </a:lnTo>
                <a:lnTo>
                  <a:pt x="69" y="265"/>
                </a:lnTo>
                <a:lnTo>
                  <a:pt x="63" y="261"/>
                </a:lnTo>
                <a:lnTo>
                  <a:pt x="57" y="257"/>
                </a:lnTo>
                <a:lnTo>
                  <a:pt x="51" y="254"/>
                </a:lnTo>
                <a:lnTo>
                  <a:pt x="48" y="250"/>
                </a:lnTo>
                <a:lnTo>
                  <a:pt x="42" y="246"/>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3"/>
                </a:lnTo>
                <a:lnTo>
                  <a:pt x="13" y="170"/>
                </a:lnTo>
                <a:lnTo>
                  <a:pt x="13" y="166"/>
                </a:lnTo>
                <a:lnTo>
                  <a:pt x="13" y="162"/>
                </a:lnTo>
                <a:lnTo>
                  <a:pt x="13" y="158"/>
                </a:lnTo>
                <a:lnTo>
                  <a:pt x="13" y="156"/>
                </a:lnTo>
                <a:lnTo>
                  <a:pt x="13" y="154"/>
                </a:lnTo>
                <a:lnTo>
                  <a:pt x="13" y="152"/>
                </a:lnTo>
                <a:lnTo>
                  <a:pt x="13" y="149"/>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84"/>
                </a:lnTo>
                <a:lnTo>
                  <a:pt x="0" y="78"/>
                </a:lnTo>
                <a:lnTo>
                  <a:pt x="0" y="72"/>
                </a:lnTo>
                <a:lnTo>
                  <a:pt x="2" y="67"/>
                </a:lnTo>
                <a:lnTo>
                  <a:pt x="2" y="63"/>
                </a:lnTo>
                <a:lnTo>
                  <a:pt x="4" y="59"/>
                </a:lnTo>
                <a:lnTo>
                  <a:pt x="6" y="53"/>
                </a:lnTo>
                <a:lnTo>
                  <a:pt x="6" y="49"/>
                </a:lnTo>
                <a:lnTo>
                  <a:pt x="6" y="44"/>
                </a:lnTo>
                <a:lnTo>
                  <a:pt x="6" y="44"/>
                </a:lnTo>
                <a:lnTo>
                  <a:pt x="6" y="40"/>
                </a:lnTo>
                <a:lnTo>
                  <a:pt x="6" y="36"/>
                </a:lnTo>
                <a:lnTo>
                  <a:pt x="4" y="32"/>
                </a:lnTo>
                <a:lnTo>
                  <a:pt x="2" y="28"/>
                </a:lnTo>
                <a:lnTo>
                  <a:pt x="2" y="25"/>
                </a:lnTo>
                <a:lnTo>
                  <a:pt x="0" y="21"/>
                </a:lnTo>
                <a:lnTo>
                  <a:pt x="0" y="17"/>
                </a:lnTo>
                <a:lnTo>
                  <a:pt x="0" y="13"/>
                </a:lnTo>
                <a:lnTo>
                  <a:pt x="0" y="13"/>
                </a:lnTo>
                <a:lnTo>
                  <a:pt x="0" y="11"/>
                </a:lnTo>
                <a:lnTo>
                  <a:pt x="0" y="9"/>
                </a:lnTo>
                <a:lnTo>
                  <a:pt x="0" y="7"/>
                </a:lnTo>
                <a:lnTo>
                  <a:pt x="0" y="6"/>
                </a:lnTo>
                <a:lnTo>
                  <a:pt x="0" y="4"/>
                </a:lnTo>
                <a:lnTo>
                  <a:pt x="0" y="4"/>
                </a:lnTo>
                <a:lnTo>
                  <a:pt x="0" y="2"/>
                </a:lnTo>
                <a:lnTo>
                  <a:pt x="0" y="0"/>
                </a:lnTo>
                <a:lnTo>
                  <a:pt x="8" y="0"/>
                </a:lnTo>
                <a:lnTo>
                  <a:pt x="8" y="0"/>
                </a:lnTo>
                <a:lnTo>
                  <a:pt x="9" y="2"/>
                </a:lnTo>
                <a:lnTo>
                  <a:pt x="11" y="4"/>
                </a:lnTo>
                <a:lnTo>
                  <a:pt x="11" y="7"/>
                </a:lnTo>
                <a:lnTo>
                  <a:pt x="13" y="9"/>
                </a:lnTo>
                <a:lnTo>
                  <a:pt x="15" y="11"/>
                </a:lnTo>
                <a:lnTo>
                  <a:pt x="15" y="13"/>
                </a:lnTo>
                <a:lnTo>
                  <a:pt x="17" y="15"/>
                </a:lnTo>
                <a:lnTo>
                  <a:pt x="17" y="15"/>
                </a:lnTo>
              </a:path>
            </a:pathLst>
          </a:custGeom>
          <a:solidFill>
            <a:srgbClr val="5A83B4"/>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2" name="Freeform 62"/>
          <p:cNvSpPr>
            <a:spLocks/>
          </p:cNvSpPr>
          <p:nvPr/>
        </p:nvSpPr>
        <p:spPr bwMode="auto">
          <a:xfrm>
            <a:off x="4225925" y="4597302"/>
            <a:ext cx="71438" cy="330200"/>
          </a:xfrm>
          <a:custGeom>
            <a:avLst/>
            <a:gdLst>
              <a:gd name="T0" fmla="*/ 9 w 80"/>
              <a:gd name="T1" fmla="*/ 53 h 378"/>
              <a:gd name="T2" fmla="*/ 7 w 80"/>
              <a:gd name="T3" fmla="*/ 42 h 378"/>
              <a:gd name="T4" fmla="*/ 2 w 80"/>
              <a:gd name="T5" fmla="*/ 27 h 378"/>
              <a:gd name="T6" fmla="*/ 0 w 80"/>
              <a:gd name="T7" fmla="*/ 8 h 378"/>
              <a:gd name="T8" fmla="*/ 2 w 80"/>
              <a:gd name="T9" fmla="*/ 0 h 378"/>
              <a:gd name="T10" fmla="*/ 15 w 80"/>
              <a:gd name="T11" fmla="*/ 8 h 378"/>
              <a:gd name="T12" fmla="*/ 32 w 80"/>
              <a:gd name="T13" fmla="*/ 27 h 378"/>
              <a:gd name="T14" fmla="*/ 44 w 80"/>
              <a:gd name="T15" fmla="*/ 51 h 378"/>
              <a:gd name="T16" fmla="*/ 49 w 80"/>
              <a:gd name="T17" fmla="*/ 103 h 378"/>
              <a:gd name="T18" fmla="*/ 51 w 80"/>
              <a:gd name="T19" fmla="*/ 114 h 378"/>
              <a:gd name="T20" fmla="*/ 51 w 80"/>
              <a:gd name="T21" fmla="*/ 126 h 378"/>
              <a:gd name="T22" fmla="*/ 55 w 80"/>
              <a:gd name="T23" fmla="*/ 141 h 378"/>
              <a:gd name="T24" fmla="*/ 67 w 80"/>
              <a:gd name="T25" fmla="*/ 154 h 378"/>
              <a:gd name="T26" fmla="*/ 74 w 80"/>
              <a:gd name="T27" fmla="*/ 170 h 378"/>
              <a:gd name="T28" fmla="*/ 68 w 80"/>
              <a:gd name="T29" fmla="*/ 189 h 378"/>
              <a:gd name="T30" fmla="*/ 57 w 80"/>
              <a:gd name="T31" fmla="*/ 204 h 378"/>
              <a:gd name="T32" fmla="*/ 51 w 80"/>
              <a:gd name="T33" fmla="*/ 219 h 378"/>
              <a:gd name="T34" fmla="*/ 53 w 80"/>
              <a:gd name="T35" fmla="*/ 235 h 378"/>
              <a:gd name="T36" fmla="*/ 55 w 80"/>
              <a:gd name="T37" fmla="*/ 252 h 378"/>
              <a:gd name="T38" fmla="*/ 57 w 80"/>
              <a:gd name="T39" fmla="*/ 311 h 378"/>
              <a:gd name="T40" fmla="*/ 68 w 80"/>
              <a:gd name="T41" fmla="*/ 334 h 378"/>
              <a:gd name="T42" fmla="*/ 80 w 80"/>
              <a:gd name="T43" fmla="*/ 351 h 378"/>
              <a:gd name="T44" fmla="*/ 80 w 80"/>
              <a:gd name="T45" fmla="*/ 364 h 378"/>
              <a:gd name="T46" fmla="*/ 78 w 80"/>
              <a:gd name="T47" fmla="*/ 370 h 378"/>
              <a:gd name="T48" fmla="*/ 80 w 80"/>
              <a:gd name="T49" fmla="*/ 376 h 378"/>
              <a:gd name="T50" fmla="*/ 72 w 80"/>
              <a:gd name="T51" fmla="*/ 372 h 378"/>
              <a:gd name="T52" fmla="*/ 63 w 80"/>
              <a:gd name="T53" fmla="*/ 366 h 378"/>
              <a:gd name="T54" fmla="*/ 55 w 80"/>
              <a:gd name="T55" fmla="*/ 364 h 378"/>
              <a:gd name="T56" fmla="*/ 51 w 80"/>
              <a:gd name="T57" fmla="*/ 370 h 378"/>
              <a:gd name="T58" fmla="*/ 51 w 80"/>
              <a:gd name="T59" fmla="*/ 376 h 378"/>
              <a:gd name="T60" fmla="*/ 44 w 80"/>
              <a:gd name="T61" fmla="*/ 376 h 378"/>
              <a:gd name="T62" fmla="*/ 36 w 80"/>
              <a:gd name="T63" fmla="*/ 368 h 378"/>
              <a:gd name="T64" fmla="*/ 34 w 80"/>
              <a:gd name="T65" fmla="*/ 359 h 378"/>
              <a:gd name="T66" fmla="*/ 34 w 80"/>
              <a:gd name="T67" fmla="*/ 351 h 378"/>
              <a:gd name="T68" fmla="*/ 38 w 80"/>
              <a:gd name="T69" fmla="*/ 343 h 378"/>
              <a:gd name="T70" fmla="*/ 38 w 80"/>
              <a:gd name="T71" fmla="*/ 336 h 378"/>
              <a:gd name="T72" fmla="*/ 34 w 80"/>
              <a:gd name="T73" fmla="*/ 328 h 378"/>
              <a:gd name="T74" fmla="*/ 28 w 80"/>
              <a:gd name="T75" fmla="*/ 324 h 378"/>
              <a:gd name="T76" fmla="*/ 21 w 80"/>
              <a:gd name="T77" fmla="*/ 307 h 378"/>
              <a:gd name="T78" fmla="*/ 17 w 80"/>
              <a:gd name="T79" fmla="*/ 282 h 378"/>
              <a:gd name="T80" fmla="*/ 17 w 80"/>
              <a:gd name="T81" fmla="*/ 259 h 378"/>
              <a:gd name="T82" fmla="*/ 11 w 80"/>
              <a:gd name="T83" fmla="*/ 242 h 378"/>
              <a:gd name="T84" fmla="*/ 4 w 80"/>
              <a:gd name="T85" fmla="*/ 231 h 378"/>
              <a:gd name="T86" fmla="*/ 2 w 80"/>
              <a:gd name="T87" fmla="*/ 221 h 378"/>
              <a:gd name="T88" fmla="*/ 7 w 80"/>
              <a:gd name="T89" fmla="*/ 214 h 378"/>
              <a:gd name="T90" fmla="*/ 13 w 80"/>
              <a:gd name="T91" fmla="*/ 198 h 378"/>
              <a:gd name="T92" fmla="*/ 19 w 80"/>
              <a:gd name="T93" fmla="*/ 181 h 378"/>
              <a:gd name="T94" fmla="*/ 23 w 80"/>
              <a:gd name="T95" fmla="*/ 166 h 378"/>
              <a:gd name="T96" fmla="*/ 26 w 80"/>
              <a:gd name="T97" fmla="*/ 156 h 378"/>
              <a:gd name="T98" fmla="*/ 21 w 80"/>
              <a:gd name="T99" fmla="*/ 67 h 378"/>
              <a:gd name="T100" fmla="*/ 17 w 80"/>
              <a:gd name="T101" fmla="*/ 61 h 378"/>
              <a:gd name="T102" fmla="*/ 11 w 80"/>
              <a:gd name="T103" fmla="*/ 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0" h="378">
                <a:moveTo>
                  <a:pt x="11" y="57"/>
                </a:moveTo>
                <a:lnTo>
                  <a:pt x="11" y="55"/>
                </a:lnTo>
                <a:lnTo>
                  <a:pt x="9" y="53"/>
                </a:lnTo>
                <a:lnTo>
                  <a:pt x="9" y="50"/>
                </a:lnTo>
                <a:lnTo>
                  <a:pt x="9" y="48"/>
                </a:lnTo>
                <a:lnTo>
                  <a:pt x="7" y="42"/>
                </a:lnTo>
                <a:lnTo>
                  <a:pt x="5" y="36"/>
                </a:lnTo>
                <a:lnTo>
                  <a:pt x="4" y="32"/>
                </a:lnTo>
                <a:lnTo>
                  <a:pt x="2" y="27"/>
                </a:lnTo>
                <a:lnTo>
                  <a:pt x="0" y="21"/>
                </a:lnTo>
                <a:lnTo>
                  <a:pt x="0" y="15"/>
                </a:lnTo>
                <a:lnTo>
                  <a:pt x="0" y="8"/>
                </a:lnTo>
                <a:lnTo>
                  <a:pt x="0" y="0"/>
                </a:lnTo>
                <a:lnTo>
                  <a:pt x="0" y="0"/>
                </a:lnTo>
                <a:lnTo>
                  <a:pt x="2" y="0"/>
                </a:lnTo>
                <a:lnTo>
                  <a:pt x="4" y="0"/>
                </a:lnTo>
                <a:lnTo>
                  <a:pt x="5" y="0"/>
                </a:lnTo>
                <a:lnTo>
                  <a:pt x="15" y="8"/>
                </a:lnTo>
                <a:lnTo>
                  <a:pt x="23" y="13"/>
                </a:lnTo>
                <a:lnTo>
                  <a:pt x="28" y="21"/>
                </a:lnTo>
                <a:lnTo>
                  <a:pt x="32" y="27"/>
                </a:lnTo>
                <a:lnTo>
                  <a:pt x="36" y="34"/>
                </a:lnTo>
                <a:lnTo>
                  <a:pt x="40" y="42"/>
                </a:lnTo>
                <a:lnTo>
                  <a:pt x="44" y="51"/>
                </a:lnTo>
                <a:lnTo>
                  <a:pt x="47" y="61"/>
                </a:lnTo>
                <a:lnTo>
                  <a:pt x="47" y="99"/>
                </a:lnTo>
                <a:lnTo>
                  <a:pt x="49" y="103"/>
                </a:lnTo>
                <a:lnTo>
                  <a:pt x="51" y="107"/>
                </a:lnTo>
                <a:lnTo>
                  <a:pt x="51" y="111"/>
                </a:lnTo>
                <a:lnTo>
                  <a:pt x="51" y="114"/>
                </a:lnTo>
                <a:lnTo>
                  <a:pt x="51" y="118"/>
                </a:lnTo>
                <a:lnTo>
                  <a:pt x="51" y="122"/>
                </a:lnTo>
                <a:lnTo>
                  <a:pt x="51" y="126"/>
                </a:lnTo>
                <a:lnTo>
                  <a:pt x="51" y="130"/>
                </a:lnTo>
                <a:lnTo>
                  <a:pt x="53" y="135"/>
                </a:lnTo>
                <a:lnTo>
                  <a:pt x="55" y="141"/>
                </a:lnTo>
                <a:lnTo>
                  <a:pt x="59" y="145"/>
                </a:lnTo>
                <a:lnTo>
                  <a:pt x="63" y="151"/>
                </a:lnTo>
                <a:lnTo>
                  <a:pt x="67" y="154"/>
                </a:lnTo>
                <a:lnTo>
                  <a:pt x="70" y="158"/>
                </a:lnTo>
                <a:lnTo>
                  <a:pt x="72" y="164"/>
                </a:lnTo>
                <a:lnTo>
                  <a:pt x="74" y="170"/>
                </a:lnTo>
                <a:lnTo>
                  <a:pt x="72" y="177"/>
                </a:lnTo>
                <a:lnTo>
                  <a:pt x="70" y="183"/>
                </a:lnTo>
                <a:lnTo>
                  <a:pt x="68" y="189"/>
                </a:lnTo>
                <a:lnTo>
                  <a:pt x="65" y="195"/>
                </a:lnTo>
                <a:lnTo>
                  <a:pt x="61" y="198"/>
                </a:lnTo>
                <a:lnTo>
                  <a:pt x="57" y="204"/>
                </a:lnTo>
                <a:lnTo>
                  <a:pt x="55" y="208"/>
                </a:lnTo>
                <a:lnTo>
                  <a:pt x="53" y="212"/>
                </a:lnTo>
                <a:lnTo>
                  <a:pt x="51" y="219"/>
                </a:lnTo>
                <a:lnTo>
                  <a:pt x="51" y="223"/>
                </a:lnTo>
                <a:lnTo>
                  <a:pt x="51" y="229"/>
                </a:lnTo>
                <a:lnTo>
                  <a:pt x="53" y="235"/>
                </a:lnTo>
                <a:lnTo>
                  <a:pt x="53" y="240"/>
                </a:lnTo>
                <a:lnTo>
                  <a:pt x="55" y="246"/>
                </a:lnTo>
                <a:lnTo>
                  <a:pt x="55" y="252"/>
                </a:lnTo>
                <a:lnTo>
                  <a:pt x="55" y="257"/>
                </a:lnTo>
                <a:lnTo>
                  <a:pt x="55" y="301"/>
                </a:lnTo>
                <a:lnTo>
                  <a:pt x="57" y="311"/>
                </a:lnTo>
                <a:lnTo>
                  <a:pt x="59" y="320"/>
                </a:lnTo>
                <a:lnTo>
                  <a:pt x="63" y="328"/>
                </a:lnTo>
                <a:lnTo>
                  <a:pt x="68" y="334"/>
                </a:lnTo>
                <a:lnTo>
                  <a:pt x="72" y="340"/>
                </a:lnTo>
                <a:lnTo>
                  <a:pt x="76" y="345"/>
                </a:lnTo>
                <a:lnTo>
                  <a:pt x="80" y="351"/>
                </a:lnTo>
                <a:lnTo>
                  <a:pt x="80" y="359"/>
                </a:lnTo>
                <a:lnTo>
                  <a:pt x="80" y="362"/>
                </a:lnTo>
                <a:lnTo>
                  <a:pt x="80" y="364"/>
                </a:lnTo>
                <a:lnTo>
                  <a:pt x="78" y="366"/>
                </a:lnTo>
                <a:lnTo>
                  <a:pt x="78" y="368"/>
                </a:lnTo>
                <a:lnTo>
                  <a:pt x="78" y="370"/>
                </a:lnTo>
                <a:lnTo>
                  <a:pt x="78" y="372"/>
                </a:lnTo>
                <a:lnTo>
                  <a:pt x="78" y="374"/>
                </a:lnTo>
                <a:lnTo>
                  <a:pt x="80" y="376"/>
                </a:lnTo>
                <a:lnTo>
                  <a:pt x="78" y="376"/>
                </a:lnTo>
                <a:lnTo>
                  <a:pt x="74" y="374"/>
                </a:lnTo>
                <a:lnTo>
                  <a:pt x="72" y="372"/>
                </a:lnTo>
                <a:lnTo>
                  <a:pt x="68" y="370"/>
                </a:lnTo>
                <a:lnTo>
                  <a:pt x="67" y="368"/>
                </a:lnTo>
                <a:lnTo>
                  <a:pt x="63" y="366"/>
                </a:lnTo>
                <a:lnTo>
                  <a:pt x="61" y="364"/>
                </a:lnTo>
                <a:lnTo>
                  <a:pt x="57" y="362"/>
                </a:lnTo>
                <a:lnTo>
                  <a:pt x="55" y="364"/>
                </a:lnTo>
                <a:lnTo>
                  <a:pt x="53" y="366"/>
                </a:lnTo>
                <a:lnTo>
                  <a:pt x="53" y="368"/>
                </a:lnTo>
                <a:lnTo>
                  <a:pt x="51" y="370"/>
                </a:lnTo>
                <a:lnTo>
                  <a:pt x="51" y="372"/>
                </a:lnTo>
                <a:lnTo>
                  <a:pt x="51" y="374"/>
                </a:lnTo>
                <a:lnTo>
                  <a:pt x="51" y="376"/>
                </a:lnTo>
                <a:lnTo>
                  <a:pt x="51" y="378"/>
                </a:lnTo>
                <a:lnTo>
                  <a:pt x="47" y="378"/>
                </a:lnTo>
                <a:lnTo>
                  <a:pt x="44" y="376"/>
                </a:lnTo>
                <a:lnTo>
                  <a:pt x="42" y="374"/>
                </a:lnTo>
                <a:lnTo>
                  <a:pt x="38" y="372"/>
                </a:lnTo>
                <a:lnTo>
                  <a:pt x="36" y="368"/>
                </a:lnTo>
                <a:lnTo>
                  <a:pt x="34" y="364"/>
                </a:lnTo>
                <a:lnTo>
                  <a:pt x="34" y="362"/>
                </a:lnTo>
                <a:lnTo>
                  <a:pt x="34" y="359"/>
                </a:lnTo>
                <a:lnTo>
                  <a:pt x="34" y="355"/>
                </a:lnTo>
                <a:lnTo>
                  <a:pt x="34" y="353"/>
                </a:lnTo>
                <a:lnTo>
                  <a:pt x="34" y="351"/>
                </a:lnTo>
                <a:lnTo>
                  <a:pt x="36" y="347"/>
                </a:lnTo>
                <a:lnTo>
                  <a:pt x="36" y="345"/>
                </a:lnTo>
                <a:lnTo>
                  <a:pt x="38" y="343"/>
                </a:lnTo>
                <a:lnTo>
                  <a:pt x="38" y="341"/>
                </a:lnTo>
                <a:lnTo>
                  <a:pt x="38" y="340"/>
                </a:lnTo>
                <a:lnTo>
                  <a:pt x="38" y="336"/>
                </a:lnTo>
                <a:lnTo>
                  <a:pt x="36" y="332"/>
                </a:lnTo>
                <a:lnTo>
                  <a:pt x="36" y="330"/>
                </a:lnTo>
                <a:lnTo>
                  <a:pt x="34" y="328"/>
                </a:lnTo>
                <a:lnTo>
                  <a:pt x="32" y="328"/>
                </a:lnTo>
                <a:lnTo>
                  <a:pt x="30" y="326"/>
                </a:lnTo>
                <a:lnTo>
                  <a:pt x="28" y="324"/>
                </a:lnTo>
                <a:lnTo>
                  <a:pt x="26" y="322"/>
                </a:lnTo>
                <a:lnTo>
                  <a:pt x="25" y="315"/>
                </a:lnTo>
                <a:lnTo>
                  <a:pt x="21" y="307"/>
                </a:lnTo>
                <a:lnTo>
                  <a:pt x="19" y="299"/>
                </a:lnTo>
                <a:lnTo>
                  <a:pt x="19" y="292"/>
                </a:lnTo>
                <a:lnTo>
                  <a:pt x="17" y="282"/>
                </a:lnTo>
                <a:lnTo>
                  <a:pt x="17" y="275"/>
                </a:lnTo>
                <a:lnTo>
                  <a:pt x="17" y="267"/>
                </a:lnTo>
                <a:lnTo>
                  <a:pt x="17" y="259"/>
                </a:lnTo>
                <a:lnTo>
                  <a:pt x="17" y="252"/>
                </a:lnTo>
                <a:lnTo>
                  <a:pt x="15" y="248"/>
                </a:lnTo>
                <a:lnTo>
                  <a:pt x="11" y="242"/>
                </a:lnTo>
                <a:lnTo>
                  <a:pt x="9" y="238"/>
                </a:lnTo>
                <a:lnTo>
                  <a:pt x="5" y="235"/>
                </a:lnTo>
                <a:lnTo>
                  <a:pt x="4" y="231"/>
                </a:lnTo>
                <a:lnTo>
                  <a:pt x="2" y="227"/>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3" y="69"/>
                </a:lnTo>
                <a:lnTo>
                  <a:pt x="21" y="67"/>
                </a:lnTo>
                <a:lnTo>
                  <a:pt x="19" y="65"/>
                </a:lnTo>
                <a:lnTo>
                  <a:pt x="19" y="63"/>
                </a:lnTo>
                <a:lnTo>
                  <a:pt x="17" y="61"/>
                </a:lnTo>
                <a:lnTo>
                  <a:pt x="15" y="59"/>
                </a:lnTo>
                <a:lnTo>
                  <a:pt x="13" y="57"/>
                </a:lnTo>
                <a:lnTo>
                  <a:pt x="11" y="57"/>
                </a:lnTo>
                <a:close/>
              </a:path>
            </a:pathLst>
          </a:custGeom>
          <a:solidFill>
            <a:schemeClr val="accent1"/>
          </a:solidFill>
          <a:ln w="9525" cmpd="sng">
            <a:solidFill>
              <a:schemeClr val="tx1"/>
            </a:solidFill>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3" name="Freeform 63"/>
          <p:cNvSpPr>
            <a:spLocks/>
          </p:cNvSpPr>
          <p:nvPr/>
        </p:nvSpPr>
        <p:spPr bwMode="auto">
          <a:xfrm>
            <a:off x="4225925" y="4597302"/>
            <a:ext cx="71438" cy="330200"/>
          </a:xfrm>
          <a:custGeom>
            <a:avLst/>
            <a:gdLst>
              <a:gd name="T0" fmla="*/ 11 w 80"/>
              <a:gd name="T1" fmla="*/ 55 h 378"/>
              <a:gd name="T2" fmla="*/ 9 w 80"/>
              <a:gd name="T3" fmla="*/ 48 h 378"/>
              <a:gd name="T4" fmla="*/ 5 w 80"/>
              <a:gd name="T5" fmla="*/ 36 h 378"/>
              <a:gd name="T6" fmla="*/ 0 w 80"/>
              <a:gd name="T7" fmla="*/ 21 h 378"/>
              <a:gd name="T8" fmla="*/ 0 w 80"/>
              <a:gd name="T9" fmla="*/ 0 h 378"/>
              <a:gd name="T10" fmla="*/ 2 w 80"/>
              <a:gd name="T11" fmla="*/ 0 h 378"/>
              <a:gd name="T12" fmla="*/ 5 w 80"/>
              <a:gd name="T13" fmla="*/ 0 h 378"/>
              <a:gd name="T14" fmla="*/ 28 w 80"/>
              <a:gd name="T15" fmla="*/ 21 h 378"/>
              <a:gd name="T16" fmla="*/ 40 w 80"/>
              <a:gd name="T17" fmla="*/ 42 h 378"/>
              <a:gd name="T18" fmla="*/ 47 w 80"/>
              <a:gd name="T19" fmla="*/ 99 h 378"/>
              <a:gd name="T20" fmla="*/ 51 w 80"/>
              <a:gd name="T21" fmla="*/ 107 h 378"/>
              <a:gd name="T22" fmla="*/ 51 w 80"/>
              <a:gd name="T23" fmla="*/ 118 h 378"/>
              <a:gd name="T24" fmla="*/ 51 w 80"/>
              <a:gd name="T25" fmla="*/ 130 h 378"/>
              <a:gd name="T26" fmla="*/ 55 w 80"/>
              <a:gd name="T27" fmla="*/ 141 h 378"/>
              <a:gd name="T28" fmla="*/ 67 w 80"/>
              <a:gd name="T29" fmla="*/ 154 h 378"/>
              <a:gd name="T30" fmla="*/ 74 w 80"/>
              <a:gd name="T31" fmla="*/ 170 h 378"/>
              <a:gd name="T32" fmla="*/ 70 w 80"/>
              <a:gd name="T33" fmla="*/ 183 h 378"/>
              <a:gd name="T34" fmla="*/ 61 w 80"/>
              <a:gd name="T35" fmla="*/ 198 h 378"/>
              <a:gd name="T36" fmla="*/ 53 w 80"/>
              <a:gd name="T37" fmla="*/ 212 h 378"/>
              <a:gd name="T38" fmla="*/ 51 w 80"/>
              <a:gd name="T39" fmla="*/ 223 h 378"/>
              <a:gd name="T40" fmla="*/ 53 w 80"/>
              <a:gd name="T41" fmla="*/ 240 h 378"/>
              <a:gd name="T42" fmla="*/ 55 w 80"/>
              <a:gd name="T43" fmla="*/ 257 h 378"/>
              <a:gd name="T44" fmla="*/ 57 w 80"/>
              <a:gd name="T45" fmla="*/ 311 h 378"/>
              <a:gd name="T46" fmla="*/ 68 w 80"/>
              <a:gd name="T47" fmla="*/ 334 h 378"/>
              <a:gd name="T48" fmla="*/ 80 w 80"/>
              <a:gd name="T49" fmla="*/ 351 h 378"/>
              <a:gd name="T50" fmla="*/ 80 w 80"/>
              <a:gd name="T51" fmla="*/ 362 h 378"/>
              <a:gd name="T52" fmla="*/ 78 w 80"/>
              <a:gd name="T53" fmla="*/ 368 h 378"/>
              <a:gd name="T54" fmla="*/ 78 w 80"/>
              <a:gd name="T55" fmla="*/ 374 h 378"/>
              <a:gd name="T56" fmla="*/ 78 w 80"/>
              <a:gd name="T57" fmla="*/ 376 h 378"/>
              <a:gd name="T58" fmla="*/ 68 w 80"/>
              <a:gd name="T59" fmla="*/ 370 h 378"/>
              <a:gd name="T60" fmla="*/ 61 w 80"/>
              <a:gd name="T61" fmla="*/ 364 h 378"/>
              <a:gd name="T62" fmla="*/ 55 w 80"/>
              <a:gd name="T63" fmla="*/ 364 h 378"/>
              <a:gd name="T64" fmla="*/ 51 w 80"/>
              <a:gd name="T65" fmla="*/ 370 h 378"/>
              <a:gd name="T66" fmla="*/ 51 w 80"/>
              <a:gd name="T67" fmla="*/ 376 h 378"/>
              <a:gd name="T68" fmla="*/ 47 w 80"/>
              <a:gd name="T69" fmla="*/ 378 h 378"/>
              <a:gd name="T70" fmla="*/ 38 w 80"/>
              <a:gd name="T71" fmla="*/ 372 h 378"/>
              <a:gd name="T72" fmla="*/ 34 w 80"/>
              <a:gd name="T73" fmla="*/ 362 h 378"/>
              <a:gd name="T74" fmla="*/ 34 w 80"/>
              <a:gd name="T75" fmla="*/ 355 h 378"/>
              <a:gd name="T76" fmla="*/ 36 w 80"/>
              <a:gd name="T77" fmla="*/ 347 h 378"/>
              <a:gd name="T78" fmla="*/ 38 w 80"/>
              <a:gd name="T79" fmla="*/ 341 h 378"/>
              <a:gd name="T80" fmla="*/ 38 w 80"/>
              <a:gd name="T81" fmla="*/ 336 h 378"/>
              <a:gd name="T82" fmla="*/ 34 w 80"/>
              <a:gd name="T83" fmla="*/ 328 h 378"/>
              <a:gd name="T84" fmla="*/ 28 w 80"/>
              <a:gd name="T85" fmla="*/ 324 h 378"/>
              <a:gd name="T86" fmla="*/ 25 w 80"/>
              <a:gd name="T87" fmla="*/ 315 h 378"/>
              <a:gd name="T88" fmla="*/ 19 w 80"/>
              <a:gd name="T89" fmla="*/ 292 h 378"/>
              <a:gd name="T90" fmla="*/ 17 w 80"/>
              <a:gd name="T91" fmla="*/ 267 h 378"/>
              <a:gd name="T92" fmla="*/ 17 w 80"/>
              <a:gd name="T93" fmla="*/ 252 h 378"/>
              <a:gd name="T94" fmla="*/ 9 w 80"/>
              <a:gd name="T95" fmla="*/ 238 h 378"/>
              <a:gd name="T96" fmla="*/ 2 w 80"/>
              <a:gd name="T97" fmla="*/ 227 h 378"/>
              <a:gd name="T98" fmla="*/ 2 w 80"/>
              <a:gd name="T99" fmla="*/ 221 h 378"/>
              <a:gd name="T100" fmla="*/ 7 w 80"/>
              <a:gd name="T101" fmla="*/ 214 h 378"/>
              <a:gd name="T102" fmla="*/ 13 w 80"/>
              <a:gd name="T103" fmla="*/ 198 h 378"/>
              <a:gd name="T104" fmla="*/ 19 w 80"/>
              <a:gd name="T105" fmla="*/ 181 h 378"/>
              <a:gd name="T106" fmla="*/ 23 w 80"/>
              <a:gd name="T107" fmla="*/ 166 h 378"/>
              <a:gd name="T108" fmla="*/ 26 w 80"/>
              <a:gd name="T109" fmla="*/ 156 h 378"/>
              <a:gd name="T110" fmla="*/ 23 w 80"/>
              <a:gd name="T111" fmla="*/ 69 h 378"/>
              <a:gd name="T112" fmla="*/ 19 w 80"/>
              <a:gd name="T113" fmla="*/ 63 h 378"/>
              <a:gd name="T114" fmla="*/ 13 w 80"/>
              <a:gd name="T115" fmla="*/ 5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 h="378">
                <a:moveTo>
                  <a:pt x="11" y="57"/>
                </a:moveTo>
                <a:lnTo>
                  <a:pt x="11" y="57"/>
                </a:lnTo>
                <a:lnTo>
                  <a:pt x="11" y="55"/>
                </a:lnTo>
                <a:lnTo>
                  <a:pt x="9" y="53"/>
                </a:lnTo>
                <a:lnTo>
                  <a:pt x="9" y="50"/>
                </a:lnTo>
                <a:lnTo>
                  <a:pt x="9" y="48"/>
                </a:lnTo>
                <a:lnTo>
                  <a:pt x="9" y="48"/>
                </a:lnTo>
                <a:lnTo>
                  <a:pt x="7" y="42"/>
                </a:lnTo>
                <a:lnTo>
                  <a:pt x="5" y="36"/>
                </a:lnTo>
                <a:lnTo>
                  <a:pt x="4" y="32"/>
                </a:lnTo>
                <a:lnTo>
                  <a:pt x="2" y="27"/>
                </a:lnTo>
                <a:lnTo>
                  <a:pt x="0" y="21"/>
                </a:lnTo>
                <a:lnTo>
                  <a:pt x="0" y="15"/>
                </a:lnTo>
                <a:lnTo>
                  <a:pt x="0" y="8"/>
                </a:lnTo>
                <a:lnTo>
                  <a:pt x="0" y="0"/>
                </a:lnTo>
                <a:lnTo>
                  <a:pt x="0" y="0"/>
                </a:lnTo>
                <a:lnTo>
                  <a:pt x="0" y="0"/>
                </a:lnTo>
                <a:lnTo>
                  <a:pt x="2" y="0"/>
                </a:lnTo>
                <a:lnTo>
                  <a:pt x="4" y="0"/>
                </a:lnTo>
                <a:lnTo>
                  <a:pt x="5" y="0"/>
                </a:lnTo>
                <a:lnTo>
                  <a:pt x="5" y="0"/>
                </a:lnTo>
                <a:lnTo>
                  <a:pt x="15" y="8"/>
                </a:lnTo>
                <a:lnTo>
                  <a:pt x="23" y="13"/>
                </a:lnTo>
                <a:lnTo>
                  <a:pt x="28" y="21"/>
                </a:lnTo>
                <a:lnTo>
                  <a:pt x="32" y="27"/>
                </a:lnTo>
                <a:lnTo>
                  <a:pt x="36" y="34"/>
                </a:lnTo>
                <a:lnTo>
                  <a:pt x="40" y="42"/>
                </a:lnTo>
                <a:lnTo>
                  <a:pt x="44" y="51"/>
                </a:lnTo>
                <a:lnTo>
                  <a:pt x="47" y="61"/>
                </a:lnTo>
                <a:lnTo>
                  <a:pt x="47" y="99"/>
                </a:lnTo>
                <a:lnTo>
                  <a:pt x="47" y="99"/>
                </a:lnTo>
                <a:lnTo>
                  <a:pt x="49" y="103"/>
                </a:lnTo>
                <a:lnTo>
                  <a:pt x="51" y="107"/>
                </a:lnTo>
                <a:lnTo>
                  <a:pt x="51" y="111"/>
                </a:lnTo>
                <a:lnTo>
                  <a:pt x="51" y="114"/>
                </a:lnTo>
                <a:lnTo>
                  <a:pt x="51" y="118"/>
                </a:lnTo>
                <a:lnTo>
                  <a:pt x="51" y="122"/>
                </a:lnTo>
                <a:lnTo>
                  <a:pt x="51" y="126"/>
                </a:lnTo>
                <a:lnTo>
                  <a:pt x="51" y="130"/>
                </a:lnTo>
                <a:lnTo>
                  <a:pt x="51" y="130"/>
                </a:lnTo>
                <a:lnTo>
                  <a:pt x="53" y="135"/>
                </a:lnTo>
                <a:lnTo>
                  <a:pt x="55" y="141"/>
                </a:lnTo>
                <a:lnTo>
                  <a:pt x="59" y="145"/>
                </a:lnTo>
                <a:lnTo>
                  <a:pt x="63" y="151"/>
                </a:lnTo>
                <a:lnTo>
                  <a:pt x="67" y="154"/>
                </a:lnTo>
                <a:lnTo>
                  <a:pt x="70" y="158"/>
                </a:lnTo>
                <a:lnTo>
                  <a:pt x="72" y="164"/>
                </a:lnTo>
                <a:lnTo>
                  <a:pt x="74" y="170"/>
                </a:lnTo>
                <a:lnTo>
                  <a:pt x="74" y="170"/>
                </a:lnTo>
                <a:lnTo>
                  <a:pt x="72" y="177"/>
                </a:lnTo>
                <a:lnTo>
                  <a:pt x="70" y="183"/>
                </a:lnTo>
                <a:lnTo>
                  <a:pt x="68" y="189"/>
                </a:lnTo>
                <a:lnTo>
                  <a:pt x="65" y="195"/>
                </a:lnTo>
                <a:lnTo>
                  <a:pt x="61" y="198"/>
                </a:lnTo>
                <a:lnTo>
                  <a:pt x="57" y="204"/>
                </a:lnTo>
                <a:lnTo>
                  <a:pt x="55" y="208"/>
                </a:lnTo>
                <a:lnTo>
                  <a:pt x="53" y="212"/>
                </a:lnTo>
                <a:lnTo>
                  <a:pt x="53" y="212"/>
                </a:lnTo>
                <a:lnTo>
                  <a:pt x="51" y="219"/>
                </a:lnTo>
                <a:lnTo>
                  <a:pt x="51" y="223"/>
                </a:lnTo>
                <a:lnTo>
                  <a:pt x="51" y="229"/>
                </a:lnTo>
                <a:lnTo>
                  <a:pt x="53" y="235"/>
                </a:lnTo>
                <a:lnTo>
                  <a:pt x="53" y="240"/>
                </a:lnTo>
                <a:lnTo>
                  <a:pt x="55" y="246"/>
                </a:lnTo>
                <a:lnTo>
                  <a:pt x="55" y="252"/>
                </a:lnTo>
                <a:lnTo>
                  <a:pt x="55" y="257"/>
                </a:lnTo>
                <a:lnTo>
                  <a:pt x="55" y="301"/>
                </a:lnTo>
                <a:lnTo>
                  <a:pt x="55" y="301"/>
                </a:lnTo>
                <a:lnTo>
                  <a:pt x="57" y="311"/>
                </a:lnTo>
                <a:lnTo>
                  <a:pt x="59" y="320"/>
                </a:lnTo>
                <a:lnTo>
                  <a:pt x="63" y="328"/>
                </a:lnTo>
                <a:lnTo>
                  <a:pt x="68" y="334"/>
                </a:lnTo>
                <a:lnTo>
                  <a:pt x="72" y="340"/>
                </a:lnTo>
                <a:lnTo>
                  <a:pt x="76" y="345"/>
                </a:lnTo>
                <a:lnTo>
                  <a:pt x="80" y="351"/>
                </a:lnTo>
                <a:lnTo>
                  <a:pt x="80" y="359"/>
                </a:lnTo>
                <a:lnTo>
                  <a:pt x="80" y="359"/>
                </a:lnTo>
                <a:lnTo>
                  <a:pt x="80" y="362"/>
                </a:lnTo>
                <a:lnTo>
                  <a:pt x="80" y="364"/>
                </a:lnTo>
                <a:lnTo>
                  <a:pt x="78" y="366"/>
                </a:lnTo>
                <a:lnTo>
                  <a:pt x="78" y="368"/>
                </a:lnTo>
                <a:lnTo>
                  <a:pt x="78" y="370"/>
                </a:lnTo>
                <a:lnTo>
                  <a:pt x="78" y="372"/>
                </a:lnTo>
                <a:lnTo>
                  <a:pt x="78" y="374"/>
                </a:lnTo>
                <a:lnTo>
                  <a:pt x="80" y="376"/>
                </a:lnTo>
                <a:lnTo>
                  <a:pt x="80" y="376"/>
                </a:lnTo>
                <a:lnTo>
                  <a:pt x="78" y="376"/>
                </a:lnTo>
                <a:lnTo>
                  <a:pt x="74" y="374"/>
                </a:lnTo>
                <a:lnTo>
                  <a:pt x="72" y="372"/>
                </a:lnTo>
                <a:lnTo>
                  <a:pt x="68" y="370"/>
                </a:lnTo>
                <a:lnTo>
                  <a:pt x="67" y="368"/>
                </a:lnTo>
                <a:lnTo>
                  <a:pt x="63" y="366"/>
                </a:lnTo>
                <a:lnTo>
                  <a:pt x="61" y="364"/>
                </a:lnTo>
                <a:lnTo>
                  <a:pt x="57" y="362"/>
                </a:lnTo>
                <a:lnTo>
                  <a:pt x="57" y="362"/>
                </a:lnTo>
                <a:lnTo>
                  <a:pt x="55" y="364"/>
                </a:lnTo>
                <a:lnTo>
                  <a:pt x="53" y="366"/>
                </a:lnTo>
                <a:lnTo>
                  <a:pt x="53" y="368"/>
                </a:lnTo>
                <a:lnTo>
                  <a:pt x="51" y="370"/>
                </a:lnTo>
                <a:lnTo>
                  <a:pt x="51" y="372"/>
                </a:lnTo>
                <a:lnTo>
                  <a:pt x="51" y="374"/>
                </a:lnTo>
                <a:lnTo>
                  <a:pt x="51" y="376"/>
                </a:lnTo>
                <a:lnTo>
                  <a:pt x="51" y="378"/>
                </a:lnTo>
                <a:lnTo>
                  <a:pt x="51" y="378"/>
                </a:lnTo>
                <a:lnTo>
                  <a:pt x="47" y="378"/>
                </a:lnTo>
                <a:lnTo>
                  <a:pt x="44" y="376"/>
                </a:lnTo>
                <a:lnTo>
                  <a:pt x="42" y="374"/>
                </a:lnTo>
                <a:lnTo>
                  <a:pt x="38" y="372"/>
                </a:lnTo>
                <a:lnTo>
                  <a:pt x="36" y="368"/>
                </a:lnTo>
                <a:lnTo>
                  <a:pt x="34" y="364"/>
                </a:lnTo>
                <a:lnTo>
                  <a:pt x="34" y="362"/>
                </a:lnTo>
                <a:lnTo>
                  <a:pt x="34" y="359"/>
                </a:lnTo>
                <a:lnTo>
                  <a:pt x="34" y="359"/>
                </a:lnTo>
                <a:lnTo>
                  <a:pt x="34" y="355"/>
                </a:lnTo>
                <a:lnTo>
                  <a:pt x="34" y="353"/>
                </a:lnTo>
                <a:lnTo>
                  <a:pt x="34" y="351"/>
                </a:lnTo>
                <a:lnTo>
                  <a:pt x="36" y="347"/>
                </a:lnTo>
                <a:lnTo>
                  <a:pt x="36" y="345"/>
                </a:lnTo>
                <a:lnTo>
                  <a:pt x="38" y="343"/>
                </a:lnTo>
                <a:lnTo>
                  <a:pt x="38" y="341"/>
                </a:lnTo>
                <a:lnTo>
                  <a:pt x="38" y="340"/>
                </a:lnTo>
                <a:lnTo>
                  <a:pt x="38" y="340"/>
                </a:lnTo>
                <a:lnTo>
                  <a:pt x="38" y="336"/>
                </a:lnTo>
                <a:lnTo>
                  <a:pt x="36" y="332"/>
                </a:lnTo>
                <a:lnTo>
                  <a:pt x="36" y="330"/>
                </a:lnTo>
                <a:lnTo>
                  <a:pt x="34" y="328"/>
                </a:lnTo>
                <a:lnTo>
                  <a:pt x="32" y="328"/>
                </a:lnTo>
                <a:lnTo>
                  <a:pt x="30" y="326"/>
                </a:lnTo>
                <a:lnTo>
                  <a:pt x="28" y="324"/>
                </a:lnTo>
                <a:lnTo>
                  <a:pt x="26" y="322"/>
                </a:lnTo>
                <a:lnTo>
                  <a:pt x="26" y="322"/>
                </a:lnTo>
                <a:lnTo>
                  <a:pt x="25" y="315"/>
                </a:lnTo>
                <a:lnTo>
                  <a:pt x="21" y="307"/>
                </a:lnTo>
                <a:lnTo>
                  <a:pt x="19" y="299"/>
                </a:lnTo>
                <a:lnTo>
                  <a:pt x="19" y="292"/>
                </a:lnTo>
                <a:lnTo>
                  <a:pt x="17" y="282"/>
                </a:lnTo>
                <a:lnTo>
                  <a:pt x="17" y="275"/>
                </a:lnTo>
                <a:lnTo>
                  <a:pt x="17" y="267"/>
                </a:lnTo>
                <a:lnTo>
                  <a:pt x="17" y="259"/>
                </a:lnTo>
                <a:lnTo>
                  <a:pt x="17" y="259"/>
                </a:lnTo>
                <a:lnTo>
                  <a:pt x="17" y="252"/>
                </a:lnTo>
                <a:lnTo>
                  <a:pt x="15" y="248"/>
                </a:lnTo>
                <a:lnTo>
                  <a:pt x="11" y="242"/>
                </a:lnTo>
                <a:lnTo>
                  <a:pt x="9" y="238"/>
                </a:lnTo>
                <a:lnTo>
                  <a:pt x="5" y="235"/>
                </a:lnTo>
                <a:lnTo>
                  <a:pt x="4" y="231"/>
                </a:lnTo>
                <a:lnTo>
                  <a:pt x="2" y="227"/>
                </a:lnTo>
                <a:lnTo>
                  <a:pt x="0" y="221"/>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6" y="71"/>
                </a:lnTo>
                <a:lnTo>
                  <a:pt x="23" y="69"/>
                </a:lnTo>
                <a:lnTo>
                  <a:pt x="21" y="67"/>
                </a:lnTo>
                <a:lnTo>
                  <a:pt x="19" y="65"/>
                </a:lnTo>
                <a:lnTo>
                  <a:pt x="19" y="63"/>
                </a:lnTo>
                <a:lnTo>
                  <a:pt x="17" y="61"/>
                </a:lnTo>
                <a:lnTo>
                  <a:pt x="15" y="59"/>
                </a:lnTo>
                <a:lnTo>
                  <a:pt x="13" y="57"/>
                </a:lnTo>
                <a:lnTo>
                  <a:pt x="11" y="57"/>
                </a:lnTo>
              </a:path>
            </a:pathLst>
          </a:custGeom>
          <a:solidFill>
            <a:srgbClr val="5A83B4"/>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4" name="Freeform 64"/>
          <p:cNvSpPr>
            <a:spLocks/>
          </p:cNvSpPr>
          <p:nvPr/>
        </p:nvSpPr>
        <p:spPr bwMode="auto">
          <a:xfrm>
            <a:off x="4078288" y="3903564"/>
            <a:ext cx="217488" cy="211138"/>
          </a:xfrm>
          <a:custGeom>
            <a:avLst/>
            <a:gdLst>
              <a:gd name="T0" fmla="*/ 181 w 240"/>
              <a:gd name="T1" fmla="*/ 105 h 243"/>
              <a:gd name="T2" fmla="*/ 187 w 240"/>
              <a:gd name="T3" fmla="*/ 79 h 243"/>
              <a:gd name="T4" fmla="*/ 204 w 240"/>
              <a:gd name="T5" fmla="*/ 61 h 243"/>
              <a:gd name="T6" fmla="*/ 225 w 240"/>
              <a:gd name="T7" fmla="*/ 60 h 243"/>
              <a:gd name="T8" fmla="*/ 234 w 240"/>
              <a:gd name="T9" fmla="*/ 44 h 243"/>
              <a:gd name="T10" fmla="*/ 208 w 240"/>
              <a:gd name="T11" fmla="*/ 44 h 243"/>
              <a:gd name="T12" fmla="*/ 175 w 240"/>
              <a:gd name="T13" fmla="*/ 39 h 243"/>
              <a:gd name="T14" fmla="*/ 160 w 240"/>
              <a:gd name="T15" fmla="*/ 19 h 243"/>
              <a:gd name="T16" fmla="*/ 152 w 240"/>
              <a:gd name="T17" fmla="*/ 0 h 243"/>
              <a:gd name="T18" fmla="*/ 141 w 240"/>
              <a:gd name="T19" fmla="*/ 0 h 243"/>
              <a:gd name="T20" fmla="*/ 133 w 240"/>
              <a:gd name="T21" fmla="*/ 16 h 243"/>
              <a:gd name="T22" fmla="*/ 120 w 240"/>
              <a:gd name="T23" fmla="*/ 21 h 243"/>
              <a:gd name="T24" fmla="*/ 110 w 240"/>
              <a:gd name="T25" fmla="*/ 16 h 243"/>
              <a:gd name="T26" fmla="*/ 105 w 240"/>
              <a:gd name="T27" fmla="*/ 23 h 243"/>
              <a:gd name="T28" fmla="*/ 93 w 240"/>
              <a:gd name="T29" fmla="*/ 25 h 243"/>
              <a:gd name="T30" fmla="*/ 82 w 240"/>
              <a:gd name="T31" fmla="*/ 23 h 243"/>
              <a:gd name="T32" fmla="*/ 72 w 240"/>
              <a:gd name="T33" fmla="*/ 29 h 243"/>
              <a:gd name="T34" fmla="*/ 65 w 240"/>
              <a:gd name="T35" fmla="*/ 33 h 243"/>
              <a:gd name="T36" fmla="*/ 57 w 240"/>
              <a:gd name="T37" fmla="*/ 35 h 243"/>
              <a:gd name="T38" fmla="*/ 34 w 240"/>
              <a:gd name="T39" fmla="*/ 44 h 243"/>
              <a:gd name="T40" fmla="*/ 21 w 240"/>
              <a:gd name="T41" fmla="*/ 56 h 243"/>
              <a:gd name="T42" fmla="*/ 19 w 240"/>
              <a:gd name="T43" fmla="*/ 69 h 243"/>
              <a:gd name="T44" fmla="*/ 11 w 240"/>
              <a:gd name="T45" fmla="*/ 79 h 243"/>
              <a:gd name="T46" fmla="*/ 4 w 240"/>
              <a:gd name="T47" fmla="*/ 86 h 243"/>
              <a:gd name="T48" fmla="*/ 2 w 240"/>
              <a:gd name="T49" fmla="*/ 102 h 243"/>
              <a:gd name="T50" fmla="*/ 11 w 240"/>
              <a:gd name="T51" fmla="*/ 113 h 243"/>
              <a:gd name="T52" fmla="*/ 15 w 240"/>
              <a:gd name="T53" fmla="*/ 136 h 243"/>
              <a:gd name="T54" fmla="*/ 4 w 240"/>
              <a:gd name="T55" fmla="*/ 163 h 243"/>
              <a:gd name="T56" fmla="*/ 0 w 240"/>
              <a:gd name="T57" fmla="*/ 187 h 243"/>
              <a:gd name="T58" fmla="*/ 0 w 240"/>
              <a:gd name="T59" fmla="*/ 203 h 243"/>
              <a:gd name="T60" fmla="*/ 5 w 240"/>
              <a:gd name="T61" fmla="*/ 212 h 243"/>
              <a:gd name="T62" fmla="*/ 13 w 240"/>
              <a:gd name="T63" fmla="*/ 220 h 243"/>
              <a:gd name="T64" fmla="*/ 9 w 240"/>
              <a:gd name="T65" fmla="*/ 229 h 243"/>
              <a:gd name="T66" fmla="*/ 9 w 240"/>
              <a:gd name="T67" fmla="*/ 239 h 243"/>
              <a:gd name="T68" fmla="*/ 17 w 240"/>
              <a:gd name="T69" fmla="*/ 239 h 243"/>
              <a:gd name="T70" fmla="*/ 30 w 240"/>
              <a:gd name="T71" fmla="*/ 222 h 243"/>
              <a:gd name="T72" fmla="*/ 49 w 240"/>
              <a:gd name="T73" fmla="*/ 218 h 243"/>
              <a:gd name="T74" fmla="*/ 70 w 240"/>
              <a:gd name="T75" fmla="*/ 229 h 243"/>
              <a:gd name="T76" fmla="*/ 86 w 240"/>
              <a:gd name="T77" fmla="*/ 235 h 243"/>
              <a:gd name="T78" fmla="*/ 93 w 240"/>
              <a:gd name="T79" fmla="*/ 227 h 243"/>
              <a:gd name="T80" fmla="*/ 107 w 240"/>
              <a:gd name="T81" fmla="*/ 224 h 243"/>
              <a:gd name="T82" fmla="*/ 114 w 240"/>
              <a:gd name="T83" fmla="*/ 227 h 243"/>
              <a:gd name="T84" fmla="*/ 122 w 240"/>
              <a:gd name="T85" fmla="*/ 231 h 243"/>
              <a:gd name="T86" fmla="*/ 135 w 240"/>
              <a:gd name="T87" fmla="*/ 233 h 243"/>
              <a:gd name="T88" fmla="*/ 149 w 240"/>
              <a:gd name="T89" fmla="*/ 218 h 243"/>
              <a:gd name="T90" fmla="*/ 110 w 240"/>
              <a:gd name="T91" fmla="*/ 201 h 243"/>
              <a:gd name="T92" fmla="*/ 126 w 240"/>
              <a:gd name="T93" fmla="*/ 187 h 243"/>
              <a:gd name="T94" fmla="*/ 143 w 240"/>
              <a:gd name="T95" fmla="*/ 172 h 243"/>
              <a:gd name="T96" fmla="*/ 150 w 240"/>
              <a:gd name="T97" fmla="*/ 157 h 243"/>
              <a:gd name="T98" fmla="*/ 160 w 240"/>
              <a:gd name="T99" fmla="*/ 140 h 243"/>
              <a:gd name="T100" fmla="*/ 169 w 240"/>
              <a:gd name="T101" fmla="*/ 123 h 243"/>
              <a:gd name="T102" fmla="*/ 179 w 240"/>
              <a:gd name="T10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0" h="243">
                <a:moveTo>
                  <a:pt x="185" y="111"/>
                </a:moveTo>
                <a:lnTo>
                  <a:pt x="185" y="111"/>
                </a:lnTo>
                <a:lnTo>
                  <a:pt x="179" y="107"/>
                </a:lnTo>
                <a:lnTo>
                  <a:pt x="181" y="105"/>
                </a:lnTo>
                <a:lnTo>
                  <a:pt x="183" y="100"/>
                </a:lnTo>
                <a:lnTo>
                  <a:pt x="185" y="94"/>
                </a:lnTo>
                <a:lnTo>
                  <a:pt x="187" y="86"/>
                </a:lnTo>
                <a:lnTo>
                  <a:pt x="187" y="79"/>
                </a:lnTo>
                <a:lnTo>
                  <a:pt x="189" y="73"/>
                </a:lnTo>
                <a:lnTo>
                  <a:pt x="192" y="67"/>
                </a:lnTo>
                <a:lnTo>
                  <a:pt x="198" y="63"/>
                </a:lnTo>
                <a:lnTo>
                  <a:pt x="204" y="61"/>
                </a:lnTo>
                <a:lnTo>
                  <a:pt x="210" y="61"/>
                </a:lnTo>
                <a:lnTo>
                  <a:pt x="215" y="60"/>
                </a:lnTo>
                <a:lnTo>
                  <a:pt x="221" y="60"/>
                </a:lnTo>
                <a:lnTo>
                  <a:pt x="225" y="60"/>
                </a:lnTo>
                <a:lnTo>
                  <a:pt x="231" y="58"/>
                </a:lnTo>
                <a:lnTo>
                  <a:pt x="234" y="54"/>
                </a:lnTo>
                <a:lnTo>
                  <a:pt x="240" y="50"/>
                </a:lnTo>
                <a:lnTo>
                  <a:pt x="234" y="44"/>
                </a:lnTo>
                <a:lnTo>
                  <a:pt x="229" y="44"/>
                </a:lnTo>
                <a:lnTo>
                  <a:pt x="223" y="42"/>
                </a:lnTo>
                <a:lnTo>
                  <a:pt x="215" y="44"/>
                </a:lnTo>
                <a:lnTo>
                  <a:pt x="208" y="44"/>
                </a:lnTo>
                <a:lnTo>
                  <a:pt x="200" y="44"/>
                </a:lnTo>
                <a:lnTo>
                  <a:pt x="190" y="42"/>
                </a:lnTo>
                <a:lnTo>
                  <a:pt x="179" y="40"/>
                </a:lnTo>
                <a:lnTo>
                  <a:pt x="175" y="39"/>
                </a:lnTo>
                <a:lnTo>
                  <a:pt x="171" y="35"/>
                </a:lnTo>
                <a:lnTo>
                  <a:pt x="168" y="31"/>
                </a:lnTo>
                <a:lnTo>
                  <a:pt x="164" y="25"/>
                </a:lnTo>
                <a:lnTo>
                  <a:pt x="160" y="19"/>
                </a:lnTo>
                <a:lnTo>
                  <a:pt x="158" y="14"/>
                </a:lnTo>
                <a:lnTo>
                  <a:pt x="156" y="6"/>
                </a:lnTo>
                <a:lnTo>
                  <a:pt x="154" y="0"/>
                </a:lnTo>
                <a:lnTo>
                  <a:pt x="152" y="0"/>
                </a:lnTo>
                <a:lnTo>
                  <a:pt x="149" y="0"/>
                </a:lnTo>
                <a:lnTo>
                  <a:pt x="147" y="0"/>
                </a:lnTo>
                <a:lnTo>
                  <a:pt x="145" y="0"/>
                </a:lnTo>
                <a:lnTo>
                  <a:pt x="141" y="0"/>
                </a:lnTo>
                <a:lnTo>
                  <a:pt x="139" y="4"/>
                </a:lnTo>
                <a:lnTo>
                  <a:pt x="137" y="8"/>
                </a:lnTo>
                <a:lnTo>
                  <a:pt x="137" y="12"/>
                </a:lnTo>
                <a:lnTo>
                  <a:pt x="133" y="16"/>
                </a:lnTo>
                <a:lnTo>
                  <a:pt x="131" y="19"/>
                </a:lnTo>
                <a:lnTo>
                  <a:pt x="128" y="21"/>
                </a:lnTo>
                <a:lnTo>
                  <a:pt x="124" y="21"/>
                </a:lnTo>
                <a:lnTo>
                  <a:pt x="120" y="21"/>
                </a:lnTo>
                <a:lnTo>
                  <a:pt x="118" y="19"/>
                </a:lnTo>
                <a:lnTo>
                  <a:pt x="114" y="18"/>
                </a:lnTo>
                <a:lnTo>
                  <a:pt x="112" y="16"/>
                </a:lnTo>
                <a:lnTo>
                  <a:pt x="110" y="16"/>
                </a:lnTo>
                <a:lnTo>
                  <a:pt x="110" y="18"/>
                </a:lnTo>
                <a:lnTo>
                  <a:pt x="108" y="19"/>
                </a:lnTo>
                <a:lnTo>
                  <a:pt x="107" y="21"/>
                </a:lnTo>
                <a:lnTo>
                  <a:pt x="105" y="23"/>
                </a:lnTo>
                <a:lnTo>
                  <a:pt x="103" y="25"/>
                </a:lnTo>
                <a:lnTo>
                  <a:pt x="101" y="25"/>
                </a:lnTo>
                <a:lnTo>
                  <a:pt x="97" y="27"/>
                </a:lnTo>
                <a:lnTo>
                  <a:pt x="93" y="25"/>
                </a:lnTo>
                <a:lnTo>
                  <a:pt x="91" y="23"/>
                </a:lnTo>
                <a:lnTo>
                  <a:pt x="89" y="23"/>
                </a:lnTo>
                <a:lnTo>
                  <a:pt x="86" y="21"/>
                </a:lnTo>
                <a:lnTo>
                  <a:pt x="82" y="23"/>
                </a:lnTo>
                <a:lnTo>
                  <a:pt x="80" y="23"/>
                </a:lnTo>
                <a:lnTo>
                  <a:pt x="78" y="25"/>
                </a:lnTo>
                <a:lnTo>
                  <a:pt x="74" y="27"/>
                </a:lnTo>
                <a:lnTo>
                  <a:pt x="72" y="29"/>
                </a:lnTo>
                <a:lnTo>
                  <a:pt x="72" y="33"/>
                </a:lnTo>
                <a:lnTo>
                  <a:pt x="68" y="33"/>
                </a:lnTo>
                <a:lnTo>
                  <a:pt x="66" y="33"/>
                </a:lnTo>
                <a:lnTo>
                  <a:pt x="65" y="33"/>
                </a:lnTo>
                <a:lnTo>
                  <a:pt x="63" y="35"/>
                </a:lnTo>
                <a:lnTo>
                  <a:pt x="61" y="35"/>
                </a:lnTo>
                <a:lnTo>
                  <a:pt x="61" y="33"/>
                </a:lnTo>
                <a:lnTo>
                  <a:pt x="57" y="35"/>
                </a:lnTo>
                <a:lnTo>
                  <a:pt x="53" y="37"/>
                </a:lnTo>
                <a:lnTo>
                  <a:pt x="47" y="39"/>
                </a:lnTo>
                <a:lnTo>
                  <a:pt x="40" y="40"/>
                </a:lnTo>
                <a:lnTo>
                  <a:pt x="34" y="44"/>
                </a:lnTo>
                <a:lnTo>
                  <a:pt x="28" y="46"/>
                </a:lnTo>
                <a:lnTo>
                  <a:pt x="23" y="48"/>
                </a:lnTo>
                <a:lnTo>
                  <a:pt x="21" y="52"/>
                </a:lnTo>
                <a:lnTo>
                  <a:pt x="21" y="56"/>
                </a:lnTo>
                <a:lnTo>
                  <a:pt x="21" y="58"/>
                </a:lnTo>
                <a:lnTo>
                  <a:pt x="19" y="61"/>
                </a:lnTo>
                <a:lnTo>
                  <a:pt x="19" y="65"/>
                </a:lnTo>
                <a:lnTo>
                  <a:pt x="19" y="69"/>
                </a:lnTo>
                <a:lnTo>
                  <a:pt x="17" y="71"/>
                </a:lnTo>
                <a:lnTo>
                  <a:pt x="15" y="75"/>
                </a:lnTo>
                <a:lnTo>
                  <a:pt x="13" y="77"/>
                </a:lnTo>
                <a:lnTo>
                  <a:pt x="11" y="79"/>
                </a:lnTo>
                <a:lnTo>
                  <a:pt x="9" y="81"/>
                </a:lnTo>
                <a:lnTo>
                  <a:pt x="7" y="81"/>
                </a:lnTo>
                <a:lnTo>
                  <a:pt x="5" y="82"/>
                </a:lnTo>
                <a:lnTo>
                  <a:pt x="4" y="86"/>
                </a:lnTo>
                <a:lnTo>
                  <a:pt x="4" y="88"/>
                </a:lnTo>
                <a:lnTo>
                  <a:pt x="2" y="92"/>
                </a:lnTo>
                <a:lnTo>
                  <a:pt x="2" y="96"/>
                </a:lnTo>
                <a:lnTo>
                  <a:pt x="2" y="102"/>
                </a:lnTo>
                <a:lnTo>
                  <a:pt x="4" y="105"/>
                </a:lnTo>
                <a:lnTo>
                  <a:pt x="5" y="107"/>
                </a:lnTo>
                <a:lnTo>
                  <a:pt x="9" y="111"/>
                </a:lnTo>
                <a:lnTo>
                  <a:pt x="11" y="113"/>
                </a:lnTo>
                <a:lnTo>
                  <a:pt x="13" y="117"/>
                </a:lnTo>
                <a:lnTo>
                  <a:pt x="15" y="123"/>
                </a:lnTo>
                <a:lnTo>
                  <a:pt x="15" y="128"/>
                </a:lnTo>
                <a:lnTo>
                  <a:pt x="15" y="136"/>
                </a:lnTo>
                <a:lnTo>
                  <a:pt x="13" y="143"/>
                </a:lnTo>
                <a:lnTo>
                  <a:pt x="9" y="151"/>
                </a:lnTo>
                <a:lnTo>
                  <a:pt x="7" y="157"/>
                </a:lnTo>
                <a:lnTo>
                  <a:pt x="4" y="163"/>
                </a:lnTo>
                <a:lnTo>
                  <a:pt x="2" y="168"/>
                </a:lnTo>
                <a:lnTo>
                  <a:pt x="0" y="176"/>
                </a:lnTo>
                <a:lnTo>
                  <a:pt x="0" y="185"/>
                </a:lnTo>
                <a:lnTo>
                  <a:pt x="0" y="187"/>
                </a:lnTo>
                <a:lnTo>
                  <a:pt x="0" y="191"/>
                </a:lnTo>
                <a:lnTo>
                  <a:pt x="0" y="195"/>
                </a:lnTo>
                <a:lnTo>
                  <a:pt x="0" y="199"/>
                </a:lnTo>
                <a:lnTo>
                  <a:pt x="0" y="203"/>
                </a:lnTo>
                <a:lnTo>
                  <a:pt x="0" y="206"/>
                </a:lnTo>
                <a:lnTo>
                  <a:pt x="2" y="208"/>
                </a:lnTo>
                <a:lnTo>
                  <a:pt x="2" y="210"/>
                </a:lnTo>
                <a:lnTo>
                  <a:pt x="5" y="212"/>
                </a:lnTo>
                <a:lnTo>
                  <a:pt x="9" y="212"/>
                </a:lnTo>
                <a:lnTo>
                  <a:pt x="13" y="212"/>
                </a:lnTo>
                <a:lnTo>
                  <a:pt x="15" y="216"/>
                </a:lnTo>
                <a:lnTo>
                  <a:pt x="13" y="220"/>
                </a:lnTo>
                <a:lnTo>
                  <a:pt x="13" y="222"/>
                </a:lnTo>
                <a:lnTo>
                  <a:pt x="13" y="226"/>
                </a:lnTo>
                <a:lnTo>
                  <a:pt x="11" y="227"/>
                </a:lnTo>
                <a:lnTo>
                  <a:pt x="9" y="229"/>
                </a:lnTo>
                <a:lnTo>
                  <a:pt x="9" y="231"/>
                </a:lnTo>
                <a:lnTo>
                  <a:pt x="9" y="235"/>
                </a:lnTo>
                <a:lnTo>
                  <a:pt x="7" y="239"/>
                </a:lnTo>
                <a:lnTo>
                  <a:pt x="9" y="239"/>
                </a:lnTo>
                <a:lnTo>
                  <a:pt x="9" y="241"/>
                </a:lnTo>
                <a:lnTo>
                  <a:pt x="11" y="243"/>
                </a:lnTo>
                <a:lnTo>
                  <a:pt x="13" y="243"/>
                </a:lnTo>
                <a:lnTo>
                  <a:pt x="17" y="239"/>
                </a:lnTo>
                <a:lnTo>
                  <a:pt x="19" y="235"/>
                </a:lnTo>
                <a:lnTo>
                  <a:pt x="23" y="231"/>
                </a:lnTo>
                <a:lnTo>
                  <a:pt x="26" y="226"/>
                </a:lnTo>
                <a:lnTo>
                  <a:pt x="30" y="222"/>
                </a:lnTo>
                <a:lnTo>
                  <a:pt x="34" y="220"/>
                </a:lnTo>
                <a:lnTo>
                  <a:pt x="38" y="218"/>
                </a:lnTo>
                <a:lnTo>
                  <a:pt x="44" y="216"/>
                </a:lnTo>
                <a:lnTo>
                  <a:pt x="49" y="218"/>
                </a:lnTo>
                <a:lnTo>
                  <a:pt x="53" y="220"/>
                </a:lnTo>
                <a:lnTo>
                  <a:pt x="59" y="222"/>
                </a:lnTo>
                <a:lnTo>
                  <a:pt x="65" y="226"/>
                </a:lnTo>
                <a:lnTo>
                  <a:pt x="70" y="229"/>
                </a:lnTo>
                <a:lnTo>
                  <a:pt x="76" y="231"/>
                </a:lnTo>
                <a:lnTo>
                  <a:pt x="80" y="233"/>
                </a:lnTo>
                <a:lnTo>
                  <a:pt x="84" y="235"/>
                </a:lnTo>
                <a:lnTo>
                  <a:pt x="86" y="235"/>
                </a:lnTo>
                <a:lnTo>
                  <a:pt x="87" y="233"/>
                </a:lnTo>
                <a:lnTo>
                  <a:pt x="89" y="231"/>
                </a:lnTo>
                <a:lnTo>
                  <a:pt x="91" y="229"/>
                </a:lnTo>
                <a:lnTo>
                  <a:pt x="93" y="227"/>
                </a:lnTo>
                <a:lnTo>
                  <a:pt x="97" y="226"/>
                </a:lnTo>
                <a:lnTo>
                  <a:pt x="99" y="224"/>
                </a:lnTo>
                <a:lnTo>
                  <a:pt x="105" y="224"/>
                </a:lnTo>
                <a:lnTo>
                  <a:pt x="107" y="224"/>
                </a:lnTo>
                <a:lnTo>
                  <a:pt x="108" y="224"/>
                </a:lnTo>
                <a:lnTo>
                  <a:pt x="110" y="226"/>
                </a:lnTo>
                <a:lnTo>
                  <a:pt x="112" y="226"/>
                </a:lnTo>
                <a:lnTo>
                  <a:pt x="114" y="227"/>
                </a:lnTo>
                <a:lnTo>
                  <a:pt x="118" y="227"/>
                </a:lnTo>
                <a:lnTo>
                  <a:pt x="120" y="227"/>
                </a:lnTo>
                <a:lnTo>
                  <a:pt x="122" y="229"/>
                </a:lnTo>
                <a:lnTo>
                  <a:pt x="122" y="231"/>
                </a:lnTo>
                <a:lnTo>
                  <a:pt x="126" y="233"/>
                </a:lnTo>
                <a:lnTo>
                  <a:pt x="128" y="235"/>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2" y="197"/>
                </a:lnTo>
                <a:lnTo>
                  <a:pt x="116" y="193"/>
                </a:lnTo>
                <a:lnTo>
                  <a:pt x="120" y="189"/>
                </a:lnTo>
                <a:lnTo>
                  <a:pt x="126" y="187"/>
                </a:lnTo>
                <a:lnTo>
                  <a:pt x="129" y="184"/>
                </a:lnTo>
                <a:lnTo>
                  <a:pt x="135" y="182"/>
                </a:lnTo>
                <a:lnTo>
                  <a:pt x="139" y="178"/>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close/>
              </a:path>
            </a:pathLst>
          </a:custGeom>
          <a:solidFill>
            <a:schemeClr val="accent1"/>
          </a:solidFill>
          <a:ln w="9525" cmpd="sng">
            <a:solidFill>
              <a:schemeClr val="tx1"/>
            </a:solidFill>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5" name="Freeform 65"/>
          <p:cNvSpPr>
            <a:spLocks/>
          </p:cNvSpPr>
          <p:nvPr/>
        </p:nvSpPr>
        <p:spPr bwMode="auto">
          <a:xfrm>
            <a:off x="4078288" y="3903564"/>
            <a:ext cx="217488" cy="211138"/>
          </a:xfrm>
          <a:custGeom>
            <a:avLst/>
            <a:gdLst>
              <a:gd name="T0" fmla="*/ 179 w 240"/>
              <a:gd name="T1" fmla="*/ 107 h 243"/>
              <a:gd name="T2" fmla="*/ 187 w 240"/>
              <a:gd name="T3" fmla="*/ 86 h 243"/>
              <a:gd name="T4" fmla="*/ 198 w 240"/>
              <a:gd name="T5" fmla="*/ 63 h 243"/>
              <a:gd name="T6" fmla="*/ 215 w 240"/>
              <a:gd name="T7" fmla="*/ 60 h 243"/>
              <a:gd name="T8" fmla="*/ 234 w 240"/>
              <a:gd name="T9" fmla="*/ 54 h 243"/>
              <a:gd name="T10" fmla="*/ 229 w 240"/>
              <a:gd name="T11" fmla="*/ 44 h 243"/>
              <a:gd name="T12" fmla="*/ 200 w 240"/>
              <a:gd name="T13" fmla="*/ 44 h 243"/>
              <a:gd name="T14" fmla="*/ 175 w 240"/>
              <a:gd name="T15" fmla="*/ 39 h 243"/>
              <a:gd name="T16" fmla="*/ 160 w 240"/>
              <a:gd name="T17" fmla="*/ 19 h 243"/>
              <a:gd name="T18" fmla="*/ 154 w 240"/>
              <a:gd name="T19" fmla="*/ 0 h 243"/>
              <a:gd name="T20" fmla="*/ 145 w 240"/>
              <a:gd name="T21" fmla="*/ 0 h 243"/>
              <a:gd name="T22" fmla="*/ 137 w 240"/>
              <a:gd name="T23" fmla="*/ 8 h 243"/>
              <a:gd name="T24" fmla="*/ 128 w 240"/>
              <a:gd name="T25" fmla="*/ 21 h 243"/>
              <a:gd name="T26" fmla="*/ 118 w 240"/>
              <a:gd name="T27" fmla="*/ 19 h 243"/>
              <a:gd name="T28" fmla="*/ 110 w 240"/>
              <a:gd name="T29" fmla="*/ 16 h 243"/>
              <a:gd name="T30" fmla="*/ 105 w 240"/>
              <a:gd name="T31" fmla="*/ 23 h 243"/>
              <a:gd name="T32" fmla="*/ 97 w 240"/>
              <a:gd name="T33" fmla="*/ 27 h 243"/>
              <a:gd name="T34" fmla="*/ 86 w 240"/>
              <a:gd name="T35" fmla="*/ 21 h 243"/>
              <a:gd name="T36" fmla="*/ 78 w 240"/>
              <a:gd name="T37" fmla="*/ 25 h 243"/>
              <a:gd name="T38" fmla="*/ 68 w 240"/>
              <a:gd name="T39" fmla="*/ 33 h 243"/>
              <a:gd name="T40" fmla="*/ 63 w 240"/>
              <a:gd name="T41" fmla="*/ 35 h 243"/>
              <a:gd name="T42" fmla="*/ 57 w 240"/>
              <a:gd name="T43" fmla="*/ 35 h 243"/>
              <a:gd name="T44" fmla="*/ 34 w 240"/>
              <a:gd name="T45" fmla="*/ 44 h 243"/>
              <a:gd name="T46" fmla="*/ 21 w 240"/>
              <a:gd name="T47" fmla="*/ 52 h 243"/>
              <a:gd name="T48" fmla="*/ 19 w 240"/>
              <a:gd name="T49" fmla="*/ 65 h 243"/>
              <a:gd name="T50" fmla="*/ 13 w 240"/>
              <a:gd name="T51" fmla="*/ 77 h 243"/>
              <a:gd name="T52" fmla="*/ 7 w 240"/>
              <a:gd name="T53" fmla="*/ 81 h 243"/>
              <a:gd name="T54" fmla="*/ 2 w 240"/>
              <a:gd name="T55" fmla="*/ 92 h 243"/>
              <a:gd name="T56" fmla="*/ 4 w 240"/>
              <a:gd name="T57" fmla="*/ 105 h 243"/>
              <a:gd name="T58" fmla="*/ 13 w 240"/>
              <a:gd name="T59" fmla="*/ 117 h 243"/>
              <a:gd name="T60" fmla="*/ 15 w 240"/>
              <a:gd name="T61" fmla="*/ 136 h 243"/>
              <a:gd name="T62" fmla="*/ 4 w 240"/>
              <a:gd name="T63" fmla="*/ 163 h 243"/>
              <a:gd name="T64" fmla="*/ 0 w 240"/>
              <a:gd name="T65" fmla="*/ 185 h 243"/>
              <a:gd name="T66" fmla="*/ 0 w 240"/>
              <a:gd name="T67" fmla="*/ 199 h 243"/>
              <a:gd name="T68" fmla="*/ 2 w 240"/>
              <a:gd name="T69" fmla="*/ 210 h 243"/>
              <a:gd name="T70" fmla="*/ 13 w 240"/>
              <a:gd name="T71" fmla="*/ 212 h 243"/>
              <a:gd name="T72" fmla="*/ 13 w 240"/>
              <a:gd name="T73" fmla="*/ 222 h 243"/>
              <a:gd name="T74" fmla="*/ 9 w 240"/>
              <a:gd name="T75" fmla="*/ 231 h 243"/>
              <a:gd name="T76" fmla="*/ 9 w 240"/>
              <a:gd name="T77" fmla="*/ 239 h 243"/>
              <a:gd name="T78" fmla="*/ 13 w 240"/>
              <a:gd name="T79" fmla="*/ 243 h 243"/>
              <a:gd name="T80" fmla="*/ 26 w 240"/>
              <a:gd name="T81" fmla="*/ 226 h 243"/>
              <a:gd name="T82" fmla="*/ 44 w 240"/>
              <a:gd name="T83" fmla="*/ 216 h 243"/>
              <a:gd name="T84" fmla="*/ 59 w 240"/>
              <a:gd name="T85" fmla="*/ 222 h 243"/>
              <a:gd name="T86" fmla="*/ 80 w 240"/>
              <a:gd name="T87" fmla="*/ 233 h 243"/>
              <a:gd name="T88" fmla="*/ 87 w 240"/>
              <a:gd name="T89" fmla="*/ 233 h 243"/>
              <a:gd name="T90" fmla="*/ 97 w 240"/>
              <a:gd name="T91" fmla="*/ 226 h 243"/>
              <a:gd name="T92" fmla="*/ 107 w 240"/>
              <a:gd name="T93" fmla="*/ 224 h 243"/>
              <a:gd name="T94" fmla="*/ 114 w 240"/>
              <a:gd name="T95" fmla="*/ 227 h 243"/>
              <a:gd name="T96" fmla="*/ 122 w 240"/>
              <a:gd name="T97" fmla="*/ 229 h 243"/>
              <a:gd name="T98" fmla="*/ 131 w 240"/>
              <a:gd name="T99" fmla="*/ 237 h 243"/>
              <a:gd name="T100" fmla="*/ 141 w 240"/>
              <a:gd name="T101" fmla="*/ 226 h 243"/>
              <a:gd name="T102" fmla="*/ 156 w 240"/>
              <a:gd name="T103" fmla="*/ 206 h 243"/>
              <a:gd name="T104" fmla="*/ 112 w 240"/>
              <a:gd name="T105" fmla="*/ 197 h 243"/>
              <a:gd name="T106" fmla="*/ 129 w 240"/>
              <a:gd name="T107" fmla="*/ 184 h 243"/>
              <a:gd name="T108" fmla="*/ 143 w 240"/>
              <a:gd name="T109" fmla="*/ 172 h 243"/>
              <a:gd name="T110" fmla="*/ 150 w 240"/>
              <a:gd name="T111" fmla="*/ 157 h 243"/>
              <a:gd name="T112" fmla="*/ 160 w 240"/>
              <a:gd name="T113" fmla="*/ 140 h 243"/>
              <a:gd name="T114" fmla="*/ 169 w 240"/>
              <a:gd name="T115" fmla="*/ 123 h 243"/>
              <a:gd name="T116" fmla="*/ 179 w 240"/>
              <a:gd name="T117"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0" h="243">
                <a:moveTo>
                  <a:pt x="185" y="111"/>
                </a:moveTo>
                <a:lnTo>
                  <a:pt x="185" y="111"/>
                </a:lnTo>
                <a:lnTo>
                  <a:pt x="179" y="107"/>
                </a:lnTo>
                <a:lnTo>
                  <a:pt x="179" y="107"/>
                </a:lnTo>
                <a:lnTo>
                  <a:pt x="181" y="105"/>
                </a:lnTo>
                <a:lnTo>
                  <a:pt x="183" y="100"/>
                </a:lnTo>
                <a:lnTo>
                  <a:pt x="185" y="94"/>
                </a:lnTo>
                <a:lnTo>
                  <a:pt x="187" y="86"/>
                </a:lnTo>
                <a:lnTo>
                  <a:pt x="187" y="79"/>
                </a:lnTo>
                <a:lnTo>
                  <a:pt x="189" y="73"/>
                </a:lnTo>
                <a:lnTo>
                  <a:pt x="192" y="67"/>
                </a:lnTo>
                <a:lnTo>
                  <a:pt x="198" y="63"/>
                </a:lnTo>
                <a:lnTo>
                  <a:pt x="198" y="63"/>
                </a:lnTo>
                <a:lnTo>
                  <a:pt x="204" y="61"/>
                </a:lnTo>
                <a:lnTo>
                  <a:pt x="210" y="61"/>
                </a:lnTo>
                <a:lnTo>
                  <a:pt x="215" y="60"/>
                </a:lnTo>
                <a:lnTo>
                  <a:pt x="221" y="60"/>
                </a:lnTo>
                <a:lnTo>
                  <a:pt x="225" y="60"/>
                </a:lnTo>
                <a:lnTo>
                  <a:pt x="231" y="58"/>
                </a:lnTo>
                <a:lnTo>
                  <a:pt x="234" y="54"/>
                </a:lnTo>
                <a:lnTo>
                  <a:pt x="240" y="50"/>
                </a:lnTo>
                <a:lnTo>
                  <a:pt x="240" y="50"/>
                </a:lnTo>
                <a:lnTo>
                  <a:pt x="234" y="44"/>
                </a:lnTo>
                <a:lnTo>
                  <a:pt x="229" y="44"/>
                </a:lnTo>
                <a:lnTo>
                  <a:pt x="223" y="42"/>
                </a:lnTo>
                <a:lnTo>
                  <a:pt x="215" y="44"/>
                </a:lnTo>
                <a:lnTo>
                  <a:pt x="208" y="44"/>
                </a:lnTo>
                <a:lnTo>
                  <a:pt x="200" y="44"/>
                </a:lnTo>
                <a:lnTo>
                  <a:pt x="190" y="42"/>
                </a:lnTo>
                <a:lnTo>
                  <a:pt x="179" y="40"/>
                </a:lnTo>
                <a:lnTo>
                  <a:pt x="179" y="40"/>
                </a:lnTo>
                <a:lnTo>
                  <a:pt x="175" y="39"/>
                </a:lnTo>
                <a:lnTo>
                  <a:pt x="171" y="35"/>
                </a:lnTo>
                <a:lnTo>
                  <a:pt x="168" y="31"/>
                </a:lnTo>
                <a:lnTo>
                  <a:pt x="164" y="25"/>
                </a:lnTo>
                <a:lnTo>
                  <a:pt x="160" y="19"/>
                </a:lnTo>
                <a:lnTo>
                  <a:pt x="158" y="14"/>
                </a:lnTo>
                <a:lnTo>
                  <a:pt x="156" y="6"/>
                </a:lnTo>
                <a:lnTo>
                  <a:pt x="154" y="0"/>
                </a:lnTo>
                <a:lnTo>
                  <a:pt x="154" y="0"/>
                </a:lnTo>
                <a:lnTo>
                  <a:pt x="152" y="0"/>
                </a:lnTo>
                <a:lnTo>
                  <a:pt x="149" y="0"/>
                </a:lnTo>
                <a:lnTo>
                  <a:pt x="147" y="0"/>
                </a:lnTo>
                <a:lnTo>
                  <a:pt x="145" y="0"/>
                </a:lnTo>
                <a:lnTo>
                  <a:pt x="145" y="0"/>
                </a:lnTo>
                <a:lnTo>
                  <a:pt x="141" y="0"/>
                </a:lnTo>
                <a:lnTo>
                  <a:pt x="139" y="4"/>
                </a:lnTo>
                <a:lnTo>
                  <a:pt x="137" y="8"/>
                </a:lnTo>
                <a:lnTo>
                  <a:pt x="137" y="12"/>
                </a:lnTo>
                <a:lnTo>
                  <a:pt x="133" y="16"/>
                </a:lnTo>
                <a:lnTo>
                  <a:pt x="131" y="19"/>
                </a:lnTo>
                <a:lnTo>
                  <a:pt x="128" y="21"/>
                </a:lnTo>
                <a:lnTo>
                  <a:pt x="124" y="21"/>
                </a:lnTo>
                <a:lnTo>
                  <a:pt x="124" y="21"/>
                </a:lnTo>
                <a:lnTo>
                  <a:pt x="120" y="21"/>
                </a:lnTo>
                <a:lnTo>
                  <a:pt x="118" y="19"/>
                </a:lnTo>
                <a:lnTo>
                  <a:pt x="114" y="18"/>
                </a:lnTo>
                <a:lnTo>
                  <a:pt x="112" y="16"/>
                </a:lnTo>
                <a:lnTo>
                  <a:pt x="112" y="16"/>
                </a:lnTo>
                <a:lnTo>
                  <a:pt x="110" y="16"/>
                </a:lnTo>
                <a:lnTo>
                  <a:pt x="110" y="18"/>
                </a:lnTo>
                <a:lnTo>
                  <a:pt x="108" y="19"/>
                </a:lnTo>
                <a:lnTo>
                  <a:pt x="107" y="21"/>
                </a:lnTo>
                <a:lnTo>
                  <a:pt x="105" y="23"/>
                </a:lnTo>
                <a:lnTo>
                  <a:pt x="103" y="25"/>
                </a:lnTo>
                <a:lnTo>
                  <a:pt x="101" y="25"/>
                </a:lnTo>
                <a:lnTo>
                  <a:pt x="97" y="27"/>
                </a:lnTo>
                <a:lnTo>
                  <a:pt x="97" y="27"/>
                </a:lnTo>
                <a:lnTo>
                  <a:pt x="93" y="25"/>
                </a:lnTo>
                <a:lnTo>
                  <a:pt x="91" y="23"/>
                </a:lnTo>
                <a:lnTo>
                  <a:pt x="89" y="23"/>
                </a:lnTo>
                <a:lnTo>
                  <a:pt x="86" y="21"/>
                </a:lnTo>
                <a:lnTo>
                  <a:pt x="86" y="21"/>
                </a:lnTo>
                <a:lnTo>
                  <a:pt x="82" y="23"/>
                </a:lnTo>
                <a:lnTo>
                  <a:pt x="80" y="23"/>
                </a:lnTo>
                <a:lnTo>
                  <a:pt x="78" y="25"/>
                </a:lnTo>
                <a:lnTo>
                  <a:pt x="74" y="27"/>
                </a:lnTo>
                <a:lnTo>
                  <a:pt x="72" y="29"/>
                </a:lnTo>
                <a:lnTo>
                  <a:pt x="72" y="33"/>
                </a:lnTo>
                <a:lnTo>
                  <a:pt x="68" y="33"/>
                </a:lnTo>
                <a:lnTo>
                  <a:pt x="66" y="33"/>
                </a:lnTo>
                <a:lnTo>
                  <a:pt x="66" y="33"/>
                </a:lnTo>
                <a:lnTo>
                  <a:pt x="65" y="33"/>
                </a:lnTo>
                <a:lnTo>
                  <a:pt x="63" y="35"/>
                </a:lnTo>
                <a:lnTo>
                  <a:pt x="61" y="35"/>
                </a:lnTo>
                <a:lnTo>
                  <a:pt x="61" y="33"/>
                </a:lnTo>
                <a:lnTo>
                  <a:pt x="61" y="33"/>
                </a:lnTo>
                <a:lnTo>
                  <a:pt x="57" y="35"/>
                </a:lnTo>
                <a:lnTo>
                  <a:pt x="53" y="37"/>
                </a:lnTo>
                <a:lnTo>
                  <a:pt x="47" y="39"/>
                </a:lnTo>
                <a:lnTo>
                  <a:pt x="40" y="40"/>
                </a:lnTo>
                <a:lnTo>
                  <a:pt x="34" y="44"/>
                </a:lnTo>
                <a:lnTo>
                  <a:pt x="28" y="46"/>
                </a:lnTo>
                <a:lnTo>
                  <a:pt x="23" y="48"/>
                </a:lnTo>
                <a:lnTo>
                  <a:pt x="21" y="52"/>
                </a:lnTo>
                <a:lnTo>
                  <a:pt x="21" y="52"/>
                </a:lnTo>
                <a:lnTo>
                  <a:pt x="21" y="56"/>
                </a:lnTo>
                <a:lnTo>
                  <a:pt x="21" y="58"/>
                </a:lnTo>
                <a:lnTo>
                  <a:pt x="19" y="61"/>
                </a:lnTo>
                <a:lnTo>
                  <a:pt x="19" y="65"/>
                </a:lnTo>
                <a:lnTo>
                  <a:pt x="19" y="69"/>
                </a:lnTo>
                <a:lnTo>
                  <a:pt x="17" y="71"/>
                </a:lnTo>
                <a:lnTo>
                  <a:pt x="15" y="75"/>
                </a:lnTo>
                <a:lnTo>
                  <a:pt x="13" y="77"/>
                </a:lnTo>
                <a:lnTo>
                  <a:pt x="13" y="77"/>
                </a:lnTo>
                <a:lnTo>
                  <a:pt x="11" y="79"/>
                </a:lnTo>
                <a:lnTo>
                  <a:pt x="9" y="81"/>
                </a:lnTo>
                <a:lnTo>
                  <a:pt x="7" y="81"/>
                </a:lnTo>
                <a:lnTo>
                  <a:pt x="5" y="82"/>
                </a:lnTo>
                <a:lnTo>
                  <a:pt x="4" y="86"/>
                </a:lnTo>
                <a:lnTo>
                  <a:pt x="4" y="88"/>
                </a:lnTo>
                <a:lnTo>
                  <a:pt x="2" y="92"/>
                </a:lnTo>
                <a:lnTo>
                  <a:pt x="2" y="96"/>
                </a:lnTo>
                <a:lnTo>
                  <a:pt x="2" y="96"/>
                </a:lnTo>
                <a:lnTo>
                  <a:pt x="2" y="102"/>
                </a:lnTo>
                <a:lnTo>
                  <a:pt x="4" y="105"/>
                </a:lnTo>
                <a:lnTo>
                  <a:pt x="5" y="107"/>
                </a:lnTo>
                <a:lnTo>
                  <a:pt x="9" y="111"/>
                </a:lnTo>
                <a:lnTo>
                  <a:pt x="11" y="113"/>
                </a:lnTo>
                <a:lnTo>
                  <a:pt x="13" y="117"/>
                </a:lnTo>
                <a:lnTo>
                  <a:pt x="15" y="123"/>
                </a:lnTo>
                <a:lnTo>
                  <a:pt x="15" y="128"/>
                </a:lnTo>
                <a:lnTo>
                  <a:pt x="15" y="128"/>
                </a:lnTo>
                <a:lnTo>
                  <a:pt x="15" y="136"/>
                </a:lnTo>
                <a:lnTo>
                  <a:pt x="13" y="143"/>
                </a:lnTo>
                <a:lnTo>
                  <a:pt x="9" y="151"/>
                </a:lnTo>
                <a:lnTo>
                  <a:pt x="7" y="157"/>
                </a:lnTo>
                <a:lnTo>
                  <a:pt x="4" y="163"/>
                </a:lnTo>
                <a:lnTo>
                  <a:pt x="2" y="168"/>
                </a:lnTo>
                <a:lnTo>
                  <a:pt x="0" y="176"/>
                </a:lnTo>
                <a:lnTo>
                  <a:pt x="0" y="185"/>
                </a:lnTo>
                <a:lnTo>
                  <a:pt x="0" y="185"/>
                </a:lnTo>
                <a:lnTo>
                  <a:pt x="0" y="187"/>
                </a:lnTo>
                <a:lnTo>
                  <a:pt x="0" y="191"/>
                </a:lnTo>
                <a:lnTo>
                  <a:pt x="0" y="195"/>
                </a:lnTo>
                <a:lnTo>
                  <a:pt x="0" y="199"/>
                </a:lnTo>
                <a:lnTo>
                  <a:pt x="0" y="203"/>
                </a:lnTo>
                <a:lnTo>
                  <a:pt x="0" y="206"/>
                </a:lnTo>
                <a:lnTo>
                  <a:pt x="2" y="208"/>
                </a:lnTo>
                <a:lnTo>
                  <a:pt x="2" y="210"/>
                </a:lnTo>
                <a:lnTo>
                  <a:pt x="2" y="210"/>
                </a:lnTo>
                <a:lnTo>
                  <a:pt x="5" y="212"/>
                </a:lnTo>
                <a:lnTo>
                  <a:pt x="9" y="212"/>
                </a:lnTo>
                <a:lnTo>
                  <a:pt x="13" y="212"/>
                </a:lnTo>
                <a:lnTo>
                  <a:pt x="15" y="216"/>
                </a:lnTo>
                <a:lnTo>
                  <a:pt x="15" y="216"/>
                </a:lnTo>
                <a:lnTo>
                  <a:pt x="13" y="220"/>
                </a:lnTo>
                <a:lnTo>
                  <a:pt x="13" y="222"/>
                </a:lnTo>
                <a:lnTo>
                  <a:pt x="13" y="226"/>
                </a:lnTo>
                <a:lnTo>
                  <a:pt x="11" y="227"/>
                </a:lnTo>
                <a:lnTo>
                  <a:pt x="9" y="229"/>
                </a:lnTo>
                <a:lnTo>
                  <a:pt x="9" y="231"/>
                </a:lnTo>
                <a:lnTo>
                  <a:pt x="9" y="235"/>
                </a:lnTo>
                <a:lnTo>
                  <a:pt x="7" y="239"/>
                </a:lnTo>
                <a:lnTo>
                  <a:pt x="7" y="239"/>
                </a:lnTo>
                <a:lnTo>
                  <a:pt x="9" y="239"/>
                </a:lnTo>
                <a:lnTo>
                  <a:pt x="9" y="241"/>
                </a:lnTo>
                <a:lnTo>
                  <a:pt x="11" y="243"/>
                </a:lnTo>
                <a:lnTo>
                  <a:pt x="13" y="243"/>
                </a:lnTo>
                <a:lnTo>
                  <a:pt x="13" y="243"/>
                </a:lnTo>
                <a:lnTo>
                  <a:pt x="17" y="239"/>
                </a:lnTo>
                <a:lnTo>
                  <a:pt x="19" y="235"/>
                </a:lnTo>
                <a:lnTo>
                  <a:pt x="23" y="231"/>
                </a:lnTo>
                <a:lnTo>
                  <a:pt x="26" y="226"/>
                </a:lnTo>
                <a:lnTo>
                  <a:pt x="30" y="222"/>
                </a:lnTo>
                <a:lnTo>
                  <a:pt x="34" y="220"/>
                </a:lnTo>
                <a:lnTo>
                  <a:pt x="38" y="218"/>
                </a:lnTo>
                <a:lnTo>
                  <a:pt x="44" y="216"/>
                </a:lnTo>
                <a:lnTo>
                  <a:pt x="44" y="216"/>
                </a:lnTo>
                <a:lnTo>
                  <a:pt x="49" y="218"/>
                </a:lnTo>
                <a:lnTo>
                  <a:pt x="53" y="220"/>
                </a:lnTo>
                <a:lnTo>
                  <a:pt x="59" y="222"/>
                </a:lnTo>
                <a:lnTo>
                  <a:pt x="65" y="226"/>
                </a:lnTo>
                <a:lnTo>
                  <a:pt x="70" y="229"/>
                </a:lnTo>
                <a:lnTo>
                  <a:pt x="76" y="231"/>
                </a:lnTo>
                <a:lnTo>
                  <a:pt x="80" y="233"/>
                </a:lnTo>
                <a:lnTo>
                  <a:pt x="84" y="235"/>
                </a:lnTo>
                <a:lnTo>
                  <a:pt x="84" y="235"/>
                </a:lnTo>
                <a:lnTo>
                  <a:pt x="86" y="235"/>
                </a:lnTo>
                <a:lnTo>
                  <a:pt x="87" y="233"/>
                </a:lnTo>
                <a:lnTo>
                  <a:pt x="89" y="231"/>
                </a:lnTo>
                <a:lnTo>
                  <a:pt x="91" y="229"/>
                </a:lnTo>
                <a:lnTo>
                  <a:pt x="93" y="227"/>
                </a:lnTo>
                <a:lnTo>
                  <a:pt x="97" y="226"/>
                </a:lnTo>
                <a:lnTo>
                  <a:pt x="99" y="224"/>
                </a:lnTo>
                <a:lnTo>
                  <a:pt x="105" y="224"/>
                </a:lnTo>
                <a:lnTo>
                  <a:pt x="105" y="224"/>
                </a:lnTo>
                <a:lnTo>
                  <a:pt x="107" y="224"/>
                </a:lnTo>
                <a:lnTo>
                  <a:pt x="108" y="224"/>
                </a:lnTo>
                <a:lnTo>
                  <a:pt x="110" y="226"/>
                </a:lnTo>
                <a:lnTo>
                  <a:pt x="112" y="226"/>
                </a:lnTo>
                <a:lnTo>
                  <a:pt x="114" y="227"/>
                </a:lnTo>
                <a:lnTo>
                  <a:pt x="118" y="227"/>
                </a:lnTo>
                <a:lnTo>
                  <a:pt x="120" y="227"/>
                </a:lnTo>
                <a:lnTo>
                  <a:pt x="122" y="229"/>
                </a:lnTo>
                <a:lnTo>
                  <a:pt x="122" y="229"/>
                </a:lnTo>
                <a:lnTo>
                  <a:pt x="122" y="231"/>
                </a:lnTo>
                <a:lnTo>
                  <a:pt x="126" y="233"/>
                </a:lnTo>
                <a:lnTo>
                  <a:pt x="128" y="235"/>
                </a:lnTo>
                <a:lnTo>
                  <a:pt x="131" y="237"/>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0" y="201"/>
                </a:lnTo>
                <a:lnTo>
                  <a:pt x="112" y="197"/>
                </a:lnTo>
                <a:lnTo>
                  <a:pt x="116" y="193"/>
                </a:lnTo>
                <a:lnTo>
                  <a:pt x="120" y="189"/>
                </a:lnTo>
                <a:lnTo>
                  <a:pt x="126" y="187"/>
                </a:lnTo>
                <a:lnTo>
                  <a:pt x="129" y="184"/>
                </a:lnTo>
                <a:lnTo>
                  <a:pt x="135" y="182"/>
                </a:lnTo>
                <a:lnTo>
                  <a:pt x="139" y="178"/>
                </a:lnTo>
                <a:lnTo>
                  <a:pt x="143" y="172"/>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path>
            </a:pathLst>
          </a:custGeom>
          <a:solidFill>
            <a:srgbClr val="5A83B4"/>
          </a:solidFill>
          <a:ln w="9525" cmpd="sng">
            <a:solidFill>
              <a:schemeClr val="tx1"/>
            </a:solidFill>
            <a:prstDash val="solid"/>
            <a:round/>
            <a:headEnd/>
            <a:tailEnd/>
          </a:ln>
        </p:spPr>
        <p:txBody>
          <a:bodyPr/>
          <a:lstStyle/>
          <a:p>
            <a:pPr defTabSz="457200"/>
            <a:endParaRPr lang="en-US" sz="2000" dirty="0">
              <a:solidFill>
                <a:srgbClr val="000000"/>
              </a:solidFill>
              <a:latin typeface="Calibri"/>
              <a:ea typeface="ＭＳ Ｐゴシック" pitchFamily="127" charset="-128"/>
              <a:sym typeface="Calibri"/>
            </a:endParaRPr>
          </a:p>
        </p:txBody>
      </p:sp>
      <p:grpSp>
        <p:nvGrpSpPr>
          <p:cNvPr id="66" name="Group 237"/>
          <p:cNvGrpSpPr>
            <a:grpSpLocks/>
          </p:cNvGrpSpPr>
          <p:nvPr/>
        </p:nvGrpSpPr>
        <p:grpSpPr bwMode="auto">
          <a:xfrm>
            <a:off x="12700" y="1436589"/>
            <a:ext cx="5702300" cy="4756150"/>
            <a:chOff x="876" y="644"/>
            <a:chExt cx="3592" cy="2996"/>
          </a:xfrm>
        </p:grpSpPr>
        <p:sp>
          <p:nvSpPr>
            <p:cNvPr id="67" name="Line 116"/>
            <p:cNvSpPr>
              <a:spLocks noChangeShapeType="1"/>
            </p:cNvSpPr>
            <p:nvPr/>
          </p:nvSpPr>
          <p:spPr bwMode="auto">
            <a:xfrm>
              <a:off x="1386" y="1092"/>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8" name="Line 117"/>
            <p:cNvSpPr>
              <a:spLocks noChangeShapeType="1"/>
            </p:cNvSpPr>
            <p:nvPr/>
          </p:nvSpPr>
          <p:spPr bwMode="auto">
            <a:xfrm>
              <a:off x="1260" y="1476"/>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69" name="Line 118"/>
            <p:cNvSpPr>
              <a:spLocks noChangeShapeType="1"/>
            </p:cNvSpPr>
            <p:nvPr/>
          </p:nvSpPr>
          <p:spPr bwMode="auto">
            <a:xfrm>
              <a:off x="1252" y="1588"/>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0" name="Line 119"/>
            <p:cNvSpPr>
              <a:spLocks noChangeShapeType="1"/>
            </p:cNvSpPr>
            <p:nvPr/>
          </p:nvSpPr>
          <p:spPr bwMode="auto">
            <a:xfrm>
              <a:off x="1268" y="1652"/>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1" name="Line 120"/>
            <p:cNvSpPr>
              <a:spLocks noChangeShapeType="1"/>
            </p:cNvSpPr>
            <p:nvPr/>
          </p:nvSpPr>
          <p:spPr bwMode="auto">
            <a:xfrm>
              <a:off x="1404" y="1844"/>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2" name="Line 121"/>
            <p:cNvSpPr>
              <a:spLocks noChangeShapeType="1"/>
            </p:cNvSpPr>
            <p:nvPr/>
          </p:nvSpPr>
          <p:spPr bwMode="auto">
            <a:xfrm>
              <a:off x="1500" y="1940"/>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3" name="Line 122"/>
            <p:cNvSpPr>
              <a:spLocks noChangeShapeType="1"/>
            </p:cNvSpPr>
            <p:nvPr/>
          </p:nvSpPr>
          <p:spPr bwMode="auto">
            <a:xfrm>
              <a:off x="1956" y="1900"/>
              <a:ext cx="2" cy="18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4" name="Line 123"/>
            <p:cNvSpPr>
              <a:spLocks noChangeShapeType="1"/>
            </p:cNvSpPr>
            <p:nvPr/>
          </p:nvSpPr>
          <p:spPr bwMode="auto">
            <a:xfrm>
              <a:off x="2060" y="1876"/>
              <a:ext cx="1" cy="32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5" name="Line 125"/>
            <p:cNvSpPr>
              <a:spLocks noChangeShapeType="1"/>
            </p:cNvSpPr>
            <p:nvPr/>
          </p:nvSpPr>
          <p:spPr bwMode="auto">
            <a:xfrm>
              <a:off x="2100" y="1868"/>
              <a:ext cx="2" cy="14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6" name="Line 127"/>
            <p:cNvSpPr>
              <a:spLocks noChangeShapeType="1"/>
            </p:cNvSpPr>
            <p:nvPr/>
          </p:nvSpPr>
          <p:spPr bwMode="auto">
            <a:xfrm>
              <a:off x="2396" y="2152"/>
              <a:ext cx="8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7" name="Line 128"/>
            <p:cNvSpPr>
              <a:spLocks noChangeShapeType="1"/>
            </p:cNvSpPr>
            <p:nvPr/>
          </p:nvSpPr>
          <p:spPr bwMode="auto">
            <a:xfrm>
              <a:off x="3256" y="2300"/>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8" name="Line 129"/>
            <p:cNvSpPr>
              <a:spLocks noChangeShapeType="1"/>
            </p:cNvSpPr>
            <p:nvPr/>
          </p:nvSpPr>
          <p:spPr bwMode="auto">
            <a:xfrm>
              <a:off x="3256" y="2368"/>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79" name="Line 130"/>
            <p:cNvSpPr>
              <a:spLocks noChangeShapeType="1"/>
            </p:cNvSpPr>
            <p:nvPr/>
          </p:nvSpPr>
          <p:spPr bwMode="auto">
            <a:xfrm>
              <a:off x="3704" y="1492"/>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0" name="Line 131"/>
            <p:cNvSpPr>
              <a:spLocks noChangeShapeType="1"/>
            </p:cNvSpPr>
            <p:nvPr/>
          </p:nvSpPr>
          <p:spPr bwMode="auto">
            <a:xfrm flipV="1">
              <a:off x="3896" y="1596"/>
              <a:ext cx="106" cy="6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1" name="Line 132"/>
            <p:cNvSpPr>
              <a:spLocks noChangeShapeType="1"/>
            </p:cNvSpPr>
            <p:nvPr/>
          </p:nvSpPr>
          <p:spPr bwMode="auto">
            <a:xfrm>
              <a:off x="3784" y="2708"/>
              <a:ext cx="8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2" name="Line 133"/>
            <p:cNvSpPr>
              <a:spLocks noChangeShapeType="1"/>
            </p:cNvSpPr>
            <p:nvPr/>
          </p:nvSpPr>
          <p:spPr bwMode="auto">
            <a:xfrm>
              <a:off x="3296" y="3384"/>
              <a:ext cx="8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3" name="Line 134"/>
            <p:cNvSpPr>
              <a:spLocks noChangeShapeType="1"/>
            </p:cNvSpPr>
            <p:nvPr/>
          </p:nvSpPr>
          <p:spPr bwMode="auto">
            <a:xfrm>
              <a:off x="3140" y="3500"/>
              <a:ext cx="86"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4" name="Line 135"/>
            <p:cNvSpPr>
              <a:spLocks noChangeShapeType="1"/>
            </p:cNvSpPr>
            <p:nvPr/>
          </p:nvSpPr>
          <p:spPr bwMode="auto">
            <a:xfrm>
              <a:off x="2456" y="680"/>
              <a:ext cx="114"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5" name="Line 137"/>
            <p:cNvSpPr>
              <a:spLocks noChangeShapeType="1"/>
            </p:cNvSpPr>
            <p:nvPr/>
          </p:nvSpPr>
          <p:spPr bwMode="auto">
            <a:xfrm flipH="1">
              <a:off x="3036" y="1796"/>
              <a:ext cx="68" cy="8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6" name="Line 138"/>
            <p:cNvSpPr>
              <a:spLocks noChangeShapeType="1"/>
            </p:cNvSpPr>
            <p:nvPr/>
          </p:nvSpPr>
          <p:spPr bwMode="auto">
            <a:xfrm>
              <a:off x="3468" y="1984"/>
              <a:ext cx="0" cy="9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87" name="Rectangle 140"/>
            <p:cNvSpPr>
              <a:spLocks noChangeArrowheads="1"/>
            </p:cNvSpPr>
            <p:nvPr/>
          </p:nvSpPr>
          <p:spPr bwMode="auto">
            <a:xfrm>
              <a:off x="2712" y="1000"/>
              <a:ext cx="13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Libya</a:t>
              </a:r>
            </a:p>
          </p:txBody>
        </p:sp>
        <p:sp>
          <p:nvSpPr>
            <p:cNvPr id="88" name="Rectangle 142"/>
            <p:cNvSpPr>
              <a:spLocks noChangeArrowheads="1"/>
            </p:cNvSpPr>
            <p:nvPr/>
          </p:nvSpPr>
          <p:spPr bwMode="auto">
            <a:xfrm>
              <a:off x="2596" y="644"/>
              <a:ext cx="212"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Tunisia</a:t>
              </a:r>
            </a:p>
          </p:txBody>
        </p:sp>
        <p:sp>
          <p:nvSpPr>
            <p:cNvPr id="89" name="Rectangle 144"/>
            <p:cNvSpPr>
              <a:spLocks noChangeArrowheads="1"/>
            </p:cNvSpPr>
            <p:nvPr/>
          </p:nvSpPr>
          <p:spPr bwMode="auto">
            <a:xfrm>
              <a:off x="2064" y="944"/>
              <a:ext cx="17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Algeria</a:t>
              </a:r>
            </a:p>
          </p:txBody>
        </p:sp>
        <p:sp>
          <p:nvSpPr>
            <p:cNvPr id="90" name="Rectangle 146"/>
            <p:cNvSpPr>
              <a:spLocks noChangeArrowheads="1"/>
            </p:cNvSpPr>
            <p:nvPr/>
          </p:nvSpPr>
          <p:spPr bwMode="auto">
            <a:xfrm>
              <a:off x="1768" y="732"/>
              <a:ext cx="21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Morocco</a:t>
              </a:r>
            </a:p>
          </p:txBody>
        </p:sp>
        <p:sp>
          <p:nvSpPr>
            <p:cNvPr id="91" name="Rectangle 148"/>
            <p:cNvSpPr>
              <a:spLocks noChangeArrowheads="1"/>
            </p:cNvSpPr>
            <p:nvPr/>
          </p:nvSpPr>
          <p:spPr bwMode="auto">
            <a:xfrm>
              <a:off x="956" y="1052"/>
              <a:ext cx="40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Western Sahara</a:t>
              </a:r>
            </a:p>
          </p:txBody>
        </p:sp>
        <p:sp>
          <p:nvSpPr>
            <p:cNvPr id="92" name="Rectangle 150"/>
            <p:cNvSpPr>
              <a:spLocks noChangeArrowheads="1"/>
            </p:cNvSpPr>
            <p:nvPr/>
          </p:nvSpPr>
          <p:spPr bwMode="auto">
            <a:xfrm>
              <a:off x="876" y="1616"/>
              <a:ext cx="38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Guinea Bissau</a:t>
              </a:r>
            </a:p>
          </p:txBody>
        </p:sp>
        <p:sp>
          <p:nvSpPr>
            <p:cNvPr id="93" name="Rectangle 152"/>
            <p:cNvSpPr>
              <a:spLocks noChangeArrowheads="1"/>
            </p:cNvSpPr>
            <p:nvPr/>
          </p:nvSpPr>
          <p:spPr bwMode="auto">
            <a:xfrm>
              <a:off x="1432" y="1288"/>
              <a:ext cx="26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Mauritania</a:t>
              </a:r>
            </a:p>
          </p:txBody>
        </p:sp>
        <p:sp>
          <p:nvSpPr>
            <p:cNvPr id="94" name="Rectangle 154"/>
            <p:cNvSpPr>
              <a:spLocks noChangeArrowheads="1"/>
            </p:cNvSpPr>
            <p:nvPr/>
          </p:nvSpPr>
          <p:spPr bwMode="auto">
            <a:xfrm>
              <a:off x="3192" y="1000"/>
              <a:ext cx="14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Egypt</a:t>
              </a:r>
            </a:p>
          </p:txBody>
        </p:sp>
        <p:sp>
          <p:nvSpPr>
            <p:cNvPr id="95" name="Rectangle 156"/>
            <p:cNvSpPr>
              <a:spLocks noChangeArrowheads="1"/>
            </p:cNvSpPr>
            <p:nvPr/>
          </p:nvSpPr>
          <p:spPr bwMode="auto">
            <a:xfrm>
              <a:off x="2776" y="1488"/>
              <a:ext cx="13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Chad</a:t>
              </a:r>
            </a:p>
          </p:txBody>
        </p:sp>
        <p:sp>
          <p:nvSpPr>
            <p:cNvPr id="96" name="Rectangle 158"/>
            <p:cNvSpPr>
              <a:spLocks noChangeArrowheads="1"/>
            </p:cNvSpPr>
            <p:nvPr/>
          </p:nvSpPr>
          <p:spPr bwMode="auto">
            <a:xfrm>
              <a:off x="2392" y="1400"/>
              <a:ext cx="13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Niger</a:t>
              </a:r>
            </a:p>
          </p:txBody>
        </p:sp>
        <p:sp>
          <p:nvSpPr>
            <p:cNvPr id="97" name="Rectangle 160"/>
            <p:cNvSpPr>
              <a:spLocks noChangeArrowheads="1"/>
            </p:cNvSpPr>
            <p:nvPr/>
          </p:nvSpPr>
          <p:spPr bwMode="auto">
            <a:xfrm>
              <a:off x="3844" y="1456"/>
              <a:ext cx="16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Eritrea</a:t>
              </a:r>
            </a:p>
          </p:txBody>
        </p:sp>
        <p:sp>
          <p:nvSpPr>
            <p:cNvPr id="98" name="Rectangle 162"/>
            <p:cNvSpPr>
              <a:spLocks noChangeArrowheads="1"/>
            </p:cNvSpPr>
            <p:nvPr/>
          </p:nvSpPr>
          <p:spPr bwMode="auto">
            <a:xfrm>
              <a:off x="3296" y="1376"/>
              <a:ext cx="18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Sudan</a:t>
              </a:r>
            </a:p>
          </p:txBody>
        </p:sp>
        <p:sp>
          <p:nvSpPr>
            <p:cNvPr id="99" name="Rectangle 164"/>
            <p:cNvSpPr>
              <a:spLocks noChangeArrowheads="1"/>
            </p:cNvSpPr>
            <p:nvPr/>
          </p:nvSpPr>
          <p:spPr bwMode="auto">
            <a:xfrm>
              <a:off x="3108" y="1660"/>
              <a:ext cx="37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Central African </a:t>
              </a:r>
            </a:p>
            <a:p>
              <a:pPr defTabSz="895350">
                <a:buSzPct val="120000"/>
              </a:pPr>
              <a:r>
                <a:rPr lang="en-US" sz="700" dirty="0">
                  <a:solidFill>
                    <a:srgbClr val="000000"/>
                  </a:solidFill>
                  <a:latin typeface="Calibri"/>
                  <a:ea typeface="ＭＳ Ｐゴシック" pitchFamily="127" charset="-128"/>
                  <a:sym typeface="Calibri"/>
                </a:rPr>
                <a:t>Republic</a:t>
              </a:r>
            </a:p>
          </p:txBody>
        </p:sp>
        <p:sp>
          <p:nvSpPr>
            <p:cNvPr id="100" name="Rectangle 166"/>
            <p:cNvSpPr>
              <a:spLocks noChangeArrowheads="1"/>
            </p:cNvSpPr>
            <p:nvPr/>
          </p:nvSpPr>
          <p:spPr bwMode="auto">
            <a:xfrm>
              <a:off x="2296" y="1736"/>
              <a:ext cx="17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FFFFFF"/>
                  </a:solidFill>
                  <a:latin typeface="Calibri"/>
                  <a:ea typeface="ＭＳ Ｐゴシック" pitchFamily="127" charset="-128"/>
                  <a:sym typeface="Calibri"/>
                </a:rPr>
                <a:t>Nigeria</a:t>
              </a:r>
            </a:p>
          </p:txBody>
        </p:sp>
        <p:sp>
          <p:nvSpPr>
            <p:cNvPr id="101" name="Rectangle 168"/>
            <p:cNvSpPr>
              <a:spLocks noChangeArrowheads="1"/>
            </p:cNvSpPr>
            <p:nvPr/>
          </p:nvSpPr>
          <p:spPr bwMode="auto">
            <a:xfrm>
              <a:off x="1928" y="1368"/>
              <a:ext cx="1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Mali</a:t>
              </a:r>
            </a:p>
          </p:txBody>
        </p:sp>
        <p:sp>
          <p:nvSpPr>
            <p:cNvPr id="102" name="Rectangle 170"/>
            <p:cNvSpPr>
              <a:spLocks noChangeArrowheads="1"/>
            </p:cNvSpPr>
            <p:nvPr/>
          </p:nvSpPr>
          <p:spPr bwMode="auto">
            <a:xfrm>
              <a:off x="1032" y="1436"/>
              <a:ext cx="20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Senegal</a:t>
              </a:r>
            </a:p>
          </p:txBody>
        </p:sp>
        <p:sp>
          <p:nvSpPr>
            <p:cNvPr id="103" name="Rectangle 172"/>
            <p:cNvSpPr>
              <a:spLocks noChangeArrowheads="1"/>
            </p:cNvSpPr>
            <p:nvPr/>
          </p:nvSpPr>
          <p:spPr bwMode="auto">
            <a:xfrm>
              <a:off x="1312" y="1904"/>
              <a:ext cx="16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Liberia</a:t>
              </a:r>
            </a:p>
          </p:txBody>
        </p:sp>
        <p:sp>
          <p:nvSpPr>
            <p:cNvPr id="104" name="Rectangle 174"/>
            <p:cNvSpPr>
              <a:spLocks noChangeArrowheads="1"/>
            </p:cNvSpPr>
            <p:nvPr/>
          </p:nvSpPr>
          <p:spPr bwMode="auto">
            <a:xfrm>
              <a:off x="1968" y="2208"/>
              <a:ext cx="12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Togo</a:t>
              </a:r>
            </a:p>
          </p:txBody>
        </p:sp>
        <p:sp>
          <p:nvSpPr>
            <p:cNvPr id="105" name="Rectangle 176"/>
            <p:cNvSpPr>
              <a:spLocks noChangeArrowheads="1"/>
            </p:cNvSpPr>
            <p:nvPr/>
          </p:nvSpPr>
          <p:spPr bwMode="auto">
            <a:xfrm>
              <a:off x="2400" y="1968"/>
              <a:ext cx="26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Cameroon</a:t>
              </a:r>
            </a:p>
          </p:txBody>
        </p:sp>
        <p:sp>
          <p:nvSpPr>
            <p:cNvPr id="106" name="Rectangle 178"/>
            <p:cNvSpPr>
              <a:spLocks noChangeArrowheads="1"/>
            </p:cNvSpPr>
            <p:nvPr/>
          </p:nvSpPr>
          <p:spPr bwMode="auto">
            <a:xfrm>
              <a:off x="3664" y="1792"/>
              <a:ext cx="23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Ethiopia</a:t>
              </a:r>
            </a:p>
          </p:txBody>
        </p:sp>
        <p:sp>
          <p:nvSpPr>
            <p:cNvPr id="107" name="Rectangle 180"/>
            <p:cNvSpPr>
              <a:spLocks noChangeArrowheads="1"/>
            </p:cNvSpPr>
            <p:nvPr/>
          </p:nvSpPr>
          <p:spPr bwMode="auto">
            <a:xfrm>
              <a:off x="4016" y="1736"/>
              <a:ext cx="22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Somalia</a:t>
              </a:r>
            </a:p>
          </p:txBody>
        </p:sp>
        <p:sp>
          <p:nvSpPr>
            <p:cNvPr id="108" name="Rectangle 182"/>
            <p:cNvSpPr>
              <a:spLocks noChangeArrowheads="1"/>
            </p:cNvSpPr>
            <p:nvPr/>
          </p:nvSpPr>
          <p:spPr bwMode="auto">
            <a:xfrm>
              <a:off x="4016" y="1528"/>
              <a:ext cx="22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Djibouti</a:t>
              </a:r>
            </a:p>
          </p:txBody>
        </p:sp>
        <p:sp>
          <p:nvSpPr>
            <p:cNvPr id="109" name="Rectangle 184"/>
            <p:cNvSpPr>
              <a:spLocks noChangeArrowheads="1"/>
            </p:cNvSpPr>
            <p:nvPr/>
          </p:nvSpPr>
          <p:spPr bwMode="auto">
            <a:xfrm>
              <a:off x="1036" y="1552"/>
              <a:ext cx="212"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Gambia</a:t>
              </a:r>
            </a:p>
          </p:txBody>
        </p:sp>
        <p:sp>
          <p:nvSpPr>
            <p:cNvPr id="110" name="Rectangle 186"/>
            <p:cNvSpPr>
              <a:spLocks noChangeArrowheads="1"/>
            </p:cNvSpPr>
            <p:nvPr/>
          </p:nvSpPr>
          <p:spPr bwMode="auto">
            <a:xfrm>
              <a:off x="1060" y="1808"/>
              <a:ext cx="32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Sierra Leone</a:t>
              </a:r>
            </a:p>
          </p:txBody>
        </p:sp>
        <p:sp>
          <p:nvSpPr>
            <p:cNvPr id="111" name="Rectangle 188"/>
            <p:cNvSpPr>
              <a:spLocks noChangeArrowheads="1"/>
            </p:cNvSpPr>
            <p:nvPr/>
          </p:nvSpPr>
          <p:spPr bwMode="auto">
            <a:xfrm>
              <a:off x="1400" y="1688"/>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Guinea</a:t>
              </a:r>
            </a:p>
          </p:txBody>
        </p:sp>
        <p:sp>
          <p:nvSpPr>
            <p:cNvPr id="112" name="Rectangle 190"/>
            <p:cNvSpPr>
              <a:spLocks noChangeArrowheads="1"/>
            </p:cNvSpPr>
            <p:nvPr/>
          </p:nvSpPr>
          <p:spPr bwMode="auto">
            <a:xfrm>
              <a:off x="1680" y="1816"/>
              <a:ext cx="168"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Ivory </a:t>
              </a:r>
            </a:p>
            <a:p>
              <a:pPr defTabSz="895350">
                <a:buSzPct val="120000"/>
              </a:pPr>
              <a:r>
                <a:rPr lang="en-US" sz="700" dirty="0">
                  <a:solidFill>
                    <a:srgbClr val="000000"/>
                  </a:solidFill>
                  <a:latin typeface="Calibri"/>
                  <a:ea typeface="ＭＳ Ｐゴシック" pitchFamily="127" charset="-128"/>
                  <a:sym typeface="Calibri"/>
                </a:rPr>
                <a:t>Coast</a:t>
              </a:r>
            </a:p>
          </p:txBody>
        </p:sp>
        <p:sp>
          <p:nvSpPr>
            <p:cNvPr id="113" name="Rectangle 192"/>
            <p:cNvSpPr>
              <a:spLocks noChangeArrowheads="1"/>
            </p:cNvSpPr>
            <p:nvPr/>
          </p:nvSpPr>
          <p:spPr bwMode="auto">
            <a:xfrm>
              <a:off x="2088" y="2032"/>
              <a:ext cx="14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Benin</a:t>
              </a:r>
            </a:p>
          </p:txBody>
        </p:sp>
        <p:sp>
          <p:nvSpPr>
            <p:cNvPr id="114" name="Rectangle 194"/>
            <p:cNvSpPr>
              <a:spLocks noChangeArrowheads="1"/>
            </p:cNvSpPr>
            <p:nvPr/>
          </p:nvSpPr>
          <p:spPr bwMode="auto">
            <a:xfrm>
              <a:off x="3016" y="2120"/>
              <a:ext cx="12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smtClean="0">
                  <a:solidFill>
                    <a:srgbClr val="000000"/>
                  </a:solidFill>
                  <a:latin typeface="Calibri"/>
                  <a:ea typeface="ＭＳ Ｐゴシック" pitchFamily="127" charset="-128"/>
                  <a:sym typeface="Calibri"/>
                </a:rPr>
                <a:t>DRC</a:t>
              </a:r>
              <a:endParaRPr lang="en-US" sz="700" dirty="0">
                <a:solidFill>
                  <a:srgbClr val="000000"/>
                </a:solidFill>
                <a:latin typeface="Calibri"/>
                <a:ea typeface="ＭＳ Ｐゴシック" pitchFamily="127" charset="-128"/>
                <a:sym typeface="Calibri"/>
              </a:endParaRPr>
            </a:p>
          </p:txBody>
        </p:sp>
        <p:sp>
          <p:nvSpPr>
            <p:cNvPr id="115" name="Rectangle 196"/>
            <p:cNvSpPr>
              <a:spLocks noChangeArrowheads="1"/>
            </p:cNvSpPr>
            <p:nvPr/>
          </p:nvSpPr>
          <p:spPr bwMode="auto">
            <a:xfrm>
              <a:off x="3340" y="1908"/>
              <a:ext cx="20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Uganda</a:t>
              </a:r>
            </a:p>
          </p:txBody>
        </p:sp>
        <p:sp>
          <p:nvSpPr>
            <p:cNvPr id="116" name="Rectangle 198"/>
            <p:cNvSpPr>
              <a:spLocks noChangeArrowheads="1"/>
            </p:cNvSpPr>
            <p:nvPr/>
          </p:nvSpPr>
          <p:spPr bwMode="auto">
            <a:xfrm>
              <a:off x="2424" y="2208"/>
              <a:ext cx="16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Gabon</a:t>
              </a:r>
            </a:p>
          </p:txBody>
        </p:sp>
        <p:sp>
          <p:nvSpPr>
            <p:cNvPr id="117" name="Rectangle 200"/>
            <p:cNvSpPr>
              <a:spLocks noChangeArrowheads="1"/>
            </p:cNvSpPr>
            <p:nvPr/>
          </p:nvSpPr>
          <p:spPr bwMode="auto">
            <a:xfrm>
              <a:off x="3628" y="2148"/>
              <a:ext cx="16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FFFFFF"/>
                  </a:solidFill>
                  <a:latin typeface="Calibri"/>
                  <a:ea typeface="ＭＳ Ｐゴシック" pitchFamily="127" charset="-128"/>
                  <a:sym typeface="Calibri"/>
                </a:rPr>
                <a:t>Kenya</a:t>
              </a:r>
            </a:p>
          </p:txBody>
        </p:sp>
        <p:sp>
          <p:nvSpPr>
            <p:cNvPr id="118" name="Rectangle 202"/>
            <p:cNvSpPr>
              <a:spLocks noChangeArrowheads="1"/>
            </p:cNvSpPr>
            <p:nvPr/>
          </p:nvSpPr>
          <p:spPr bwMode="auto">
            <a:xfrm>
              <a:off x="1856" y="1624"/>
              <a:ext cx="192"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Burkina</a:t>
              </a:r>
            </a:p>
          </p:txBody>
        </p:sp>
        <p:sp>
          <p:nvSpPr>
            <p:cNvPr id="119" name="Rectangle 204"/>
            <p:cNvSpPr>
              <a:spLocks noChangeArrowheads="1"/>
            </p:cNvSpPr>
            <p:nvPr/>
          </p:nvSpPr>
          <p:spPr bwMode="auto">
            <a:xfrm>
              <a:off x="1864" y="2088"/>
              <a:ext cx="16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Ghana</a:t>
              </a:r>
            </a:p>
          </p:txBody>
        </p:sp>
        <p:sp>
          <p:nvSpPr>
            <p:cNvPr id="120" name="Rectangle 206"/>
            <p:cNvSpPr>
              <a:spLocks noChangeArrowheads="1"/>
            </p:cNvSpPr>
            <p:nvPr/>
          </p:nvSpPr>
          <p:spPr bwMode="auto">
            <a:xfrm>
              <a:off x="2124" y="2116"/>
              <a:ext cx="264"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Equatorial </a:t>
              </a:r>
              <a:br>
                <a:rPr lang="en-US" sz="700" dirty="0">
                  <a:solidFill>
                    <a:srgbClr val="000000"/>
                  </a:solidFill>
                  <a:latin typeface="Calibri"/>
                  <a:ea typeface="ＭＳ Ｐゴシック" pitchFamily="127" charset="-128"/>
                  <a:sym typeface="Calibri"/>
                </a:rPr>
              </a:br>
              <a:r>
                <a:rPr lang="en-US" sz="700" dirty="0">
                  <a:solidFill>
                    <a:srgbClr val="000000"/>
                  </a:solidFill>
                  <a:latin typeface="Calibri"/>
                  <a:ea typeface="ＭＳ Ｐゴシック" pitchFamily="127" charset="-128"/>
                  <a:sym typeface="Calibri"/>
                </a:rPr>
                <a:t>Guinea</a:t>
              </a:r>
            </a:p>
          </p:txBody>
        </p:sp>
        <p:sp>
          <p:nvSpPr>
            <p:cNvPr id="121" name="Rectangle 208"/>
            <p:cNvSpPr>
              <a:spLocks noChangeArrowheads="1"/>
            </p:cNvSpPr>
            <p:nvPr/>
          </p:nvSpPr>
          <p:spPr bwMode="auto">
            <a:xfrm>
              <a:off x="2544" y="2328"/>
              <a:ext cx="18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Congo</a:t>
              </a:r>
            </a:p>
          </p:txBody>
        </p:sp>
        <p:sp>
          <p:nvSpPr>
            <p:cNvPr id="122" name="Rectangle 210"/>
            <p:cNvSpPr>
              <a:spLocks noChangeArrowheads="1"/>
            </p:cNvSpPr>
            <p:nvPr/>
          </p:nvSpPr>
          <p:spPr bwMode="auto">
            <a:xfrm>
              <a:off x="3040" y="2256"/>
              <a:ext cx="20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Rwanda</a:t>
              </a:r>
            </a:p>
          </p:txBody>
        </p:sp>
        <p:sp>
          <p:nvSpPr>
            <p:cNvPr id="123" name="Rectangle 212"/>
            <p:cNvSpPr>
              <a:spLocks noChangeArrowheads="1"/>
            </p:cNvSpPr>
            <p:nvPr/>
          </p:nvSpPr>
          <p:spPr bwMode="auto">
            <a:xfrm>
              <a:off x="3464" y="2456"/>
              <a:ext cx="232"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Tanzania</a:t>
              </a:r>
            </a:p>
          </p:txBody>
        </p:sp>
        <p:sp>
          <p:nvSpPr>
            <p:cNvPr id="124" name="Rectangle 214"/>
            <p:cNvSpPr>
              <a:spLocks noChangeArrowheads="1"/>
            </p:cNvSpPr>
            <p:nvPr/>
          </p:nvSpPr>
          <p:spPr bwMode="auto">
            <a:xfrm>
              <a:off x="3888" y="2672"/>
              <a:ext cx="32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Mozambique</a:t>
              </a:r>
            </a:p>
          </p:txBody>
        </p:sp>
        <p:sp>
          <p:nvSpPr>
            <p:cNvPr id="125" name="Rectangle 216"/>
            <p:cNvSpPr>
              <a:spLocks noChangeArrowheads="1"/>
            </p:cNvSpPr>
            <p:nvPr/>
          </p:nvSpPr>
          <p:spPr bwMode="auto">
            <a:xfrm>
              <a:off x="2680" y="2696"/>
              <a:ext cx="17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Angola</a:t>
              </a:r>
            </a:p>
          </p:txBody>
        </p:sp>
        <p:sp>
          <p:nvSpPr>
            <p:cNvPr id="126" name="Rectangle 218"/>
            <p:cNvSpPr>
              <a:spLocks noChangeArrowheads="1"/>
            </p:cNvSpPr>
            <p:nvPr/>
          </p:nvSpPr>
          <p:spPr bwMode="auto">
            <a:xfrm>
              <a:off x="3048" y="2816"/>
              <a:ext cx="22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Zambia</a:t>
              </a:r>
            </a:p>
          </p:txBody>
        </p:sp>
        <p:sp>
          <p:nvSpPr>
            <p:cNvPr id="127" name="Rectangle 220"/>
            <p:cNvSpPr>
              <a:spLocks noChangeArrowheads="1"/>
            </p:cNvSpPr>
            <p:nvPr/>
          </p:nvSpPr>
          <p:spPr bwMode="auto">
            <a:xfrm>
              <a:off x="3040" y="2336"/>
              <a:ext cx="192"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Burundi</a:t>
              </a:r>
            </a:p>
          </p:txBody>
        </p:sp>
        <p:sp>
          <p:nvSpPr>
            <p:cNvPr id="128" name="Rectangle 222"/>
            <p:cNvSpPr>
              <a:spLocks noChangeArrowheads="1"/>
            </p:cNvSpPr>
            <p:nvPr/>
          </p:nvSpPr>
          <p:spPr bwMode="auto">
            <a:xfrm>
              <a:off x="3312" y="2664"/>
              <a:ext cx="17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Malawi</a:t>
              </a:r>
            </a:p>
          </p:txBody>
        </p:sp>
        <p:sp>
          <p:nvSpPr>
            <p:cNvPr id="129" name="Rectangle 224"/>
            <p:cNvSpPr>
              <a:spLocks noChangeArrowheads="1"/>
            </p:cNvSpPr>
            <p:nvPr/>
          </p:nvSpPr>
          <p:spPr bwMode="auto">
            <a:xfrm>
              <a:off x="4128" y="3192"/>
              <a:ext cx="34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Madagascar</a:t>
              </a:r>
            </a:p>
          </p:txBody>
        </p:sp>
        <p:sp>
          <p:nvSpPr>
            <p:cNvPr id="130" name="Rectangle 226"/>
            <p:cNvSpPr>
              <a:spLocks noChangeArrowheads="1"/>
            </p:cNvSpPr>
            <p:nvPr/>
          </p:nvSpPr>
          <p:spPr bwMode="auto">
            <a:xfrm>
              <a:off x="2960" y="3136"/>
              <a:ext cx="24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Botswana</a:t>
              </a:r>
            </a:p>
          </p:txBody>
        </p:sp>
        <p:sp>
          <p:nvSpPr>
            <p:cNvPr id="131" name="Rectangle 228"/>
            <p:cNvSpPr>
              <a:spLocks noChangeArrowheads="1"/>
            </p:cNvSpPr>
            <p:nvPr/>
          </p:nvSpPr>
          <p:spPr bwMode="auto">
            <a:xfrm>
              <a:off x="3192" y="3008"/>
              <a:ext cx="28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FFFFFF"/>
                  </a:solidFill>
                  <a:latin typeface="Calibri"/>
                  <a:ea typeface="ＭＳ Ｐゴシック" pitchFamily="127" charset="-128"/>
                  <a:sym typeface="Calibri"/>
                </a:rPr>
                <a:t>Zimbabwe</a:t>
              </a:r>
            </a:p>
          </p:txBody>
        </p:sp>
        <p:sp>
          <p:nvSpPr>
            <p:cNvPr id="132" name="Rectangle 230"/>
            <p:cNvSpPr>
              <a:spLocks noChangeArrowheads="1"/>
            </p:cNvSpPr>
            <p:nvPr/>
          </p:nvSpPr>
          <p:spPr bwMode="auto">
            <a:xfrm>
              <a:off x="2664" y="3064"/>
              <a:ext cx="208"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Namibia</a:t>
              </a:r>
            </a:p>
          </p:txBody>
        </p:sp>
        <p:sp>
          <p:nvSpPr>
            <p:cNvPr id="133" name="Rectangle 232"/>
            <p:cNvSpPr>
              <a:spLocks noChangeArrowheads="1"/>
            </p:cNvSpPr>
            <p:nvPr/>
          </p:nvSpPr>
          <p:spPr bwMode="auto">
            <a:xfrm>
              <a:off x="2832" y="3572"/>
              <a:ext cx="36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South Africa</a:t>
              </a:r>
            </a:p>
          </p:txBody>
        </p:sp>
        <p:sp>
          <p:nvSpPr>
            <p:cNvPr id="134" name="Rectangle 234"/>
            <p:cNvSpPr>
              <a:spLocks noChangeArrowheads="1"/>
            </p:cNvSpPr>
            <p:nvPr/>
          </p:nvSpPr>
          <p:spPr bwMode="auto">
            <a:xfrm>
              <a:off x="2912" y="3464"/>
              <a:ext cx="200"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Lesotho</a:t>
              </a:r>
            </a:p>
          </p:txBody>
        </p:sp>
        <p:sp>
          <p:nvSpPr>
            <p:cNvPr id="135" name="Rectangle 236"/>
            <p:cNvSpPr>
              <a:spLocks noChangeArrowheads="1"/>
            </p:cNvSpPr>
            <p:nvPr/>
          </p:nvSpPr>
          <p:spPr bwMode="auto">
            <a:xfrm>
              <a:off x="3032" y="3344"/>
              <a:ext cx="256"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a:solidFill>
                    <a:srgbClr val="000000"/>
                  </a:solidFill>
                  <a:latin typeface="Calibri"/>
                  <a:ea typeface="ＭＳ Ｐゴシック" pitchFamily="127" charset="-128"/>
                  <a:sym typeface="Calibri"/>
                </a:rPr>
                <a:t>Swaziland</a:t>
              </a:r>
            </a:p>
          </p:txBody>
        </p:sp>
      </p:grpSp>
      <p:sp>
        <p:nvSpPr>
          <p:cNvPr id="137" name="Freeform 17"/>
          <p:cNvSpPr>
            <a:spLocks/>
          </p:cNvSpPr>
          <p:nvPr/>
        </p:nvSpPr>
        <p:spPr bwMode="auto">
          <a:xfrm>
            <a:off x="4961196" y="1371600"/>
            <a:ext cx="1222912" cy="1236994"/>
          </a:xfrm>
          <a:custGeom>
            <a:avLst/>
            <a:gdLst>
              <a:gd name="T0" fmla="*/ 358 w 374"/>
              <a:gd name="T1" fmla="*/ 105 h 390"/>
              <a:gd name="T2" fmla="*/ 373 w 374"/>
              <a:gd name="T3" fmla="*/ 137 h 390"/>
              <a:gd name="T4" fmla="*/ 349 w 374"/>
              <a:gd name="T5" fmla="*/ 146 h 390"/>
              <a:gd name="T6" fmla="*/ 326 w 374"/>
              <a:gd name="T7" fmla="*/ 187 h 390"/>
              <a:gd name="T8" fmla="*/ 318 w 374"/>
              <a:gd name="T9" fmla="*/ 211 h 390"/>
              <a:gd name="T10" fmla="*/ 308 w 374"/>
              <a:gd name="T11" fmla="*/ 178 h 390"/>
              <a:gd name="T12" fmla="*/ 293 w 374"/>
              <a:gd name="T13" fmla="*/ 187 h 390"/>
              <a:gd name="T14" fmla="*/ 308 w 374"/>
              <a:gd name="T15" fmla="*/ 162 h 390"/>
              <a:gd name="T16" fmla="*/ 276 w 374"/>
              <a:gd name="T17" fmla="*/ 146 h 390"/>
              <a:gd name="T18" fmla="*/ 261 w 374"/>
              <a:gd name="T19" fmla="*/ 146 h 390"/>
              <a:gd name="T20" fmla="*/ 252 w 374"/>
              <a:gd name="T21" fmla="*/ 170 h 390"/>
              <a:gd name="T22" fmla="*/ 268 w 374"/>
              <a:gd name="T23" fmla="*/ 211 h 390"/>
              <a:gd name="T24" fmla="*/ 261 w 374"/>
              <a:gd name="T25" fmla="*/ 202 h 390"/>
              <a:gd name="T26" fmla="*/ 236 w 374"/>
              <a:gd name="T27" fmla="*/ 236 h 390"/>
              <a:gd name="T28" fmla="*/ 180 w 374"/>
              <a:gd name="T29" fmla="*/ 276 h 390"/>
              <a:gd name="T30" fmla="*/ 171 w 374"/>
              <a:gd name="T31" fmla="*/ 283 h 390"/>
              <a:gd name="T32" fmla="*/ 156 w 374"/>
              <a:gd name="T33" fmla="*/ 292 h 390"/>
              <a:gd name="T34" fmla="*/ 156 w 374"/>
              <a:gd name="T35" fmla="*/ 324 h 390"/>
              <a:gd name="T36" fmla="*/ 147 w 374"/>
              <a:gd name="T37" fmla="*/ 364 h 390"/>
              <a:gd name="T38" fmla="*/ 131 w 374"/>
              <a:gd name="T39" fmla="*/ 380 h 390"/>
              <a:gd name="T40" fmla="*/ 106 w 374"/>
              <a:gd name="T41" fmla="*/ 380 h 390"/>
              <a:gd name="T42" fmla="*/ 65 w 374"/>
              <a:gd name="T43" fmla="*/ 283 h 390"/>
              <a:gd name="T44" fmla="*/ 59 w 374"/>
              <a:gd name="T45" fmla="*/ 202 h 390"/>
              <a:gd name="T46" fmla="*/ 34 w 374"/>
              <a:gd name="T47" fmla="*/ 227 h 390"/>
              <a:gd name="T48" fmla="*/ 25 w 374"/>
              <a:gd name="T49" fmla="*/ 202 h 390"/>
              <a:gd name="T50" fmla="*/ 19 w 374"/>
              <a:gd name="T51" fmla="*/ 195 h 390"/>
              <a:gd name="T52" fmla="*/ 9 w 374"/>
              <a:gd name="T53" fmla="*/ 178 h 390"/>
              <a:gd name="T54" fmla="*/ 34 w 374"/>
              <a:gd name="T55" fmla="*/ 170 h 390"/>
              <a:gd name="T56" fmla="*/ 25 w 374"/>
              <a:gd name="T57" fmla="*/ 153 h 390"/>
              <a:gd name="T58" fmla="*/ 19 w 374"/>
              <a:gd name="T59" fmla="*/ 146 h 390"/>
              <a:gd name="T60" fmla="*/ 25 w 374"/>
              <a:gd name="T61" fmla="*/ 121 h 390"/>
              <a:gd name="T62" fmla="*/ 50 w 374"/>
              <a:gd name="T63" fmla="*/ 121 h 390"/>
              <a:gd name="T64" fmla="*/ 82 w 374"/>
              <a:gd name="T65" fmla="*/ 65 h 390"/>
              <a:gd name="T66" fmla="*/ 90 w 374"/>
              <a:gd name="T67" fmla="*/ 56 h 390"/>
              <a:gd name="T68" fmla="*/ 82 w 374"/>
              <a:gd name="T69" fmla="*/ 33 h 390"/>
              <a:gd name="T70" fmla="*/ 82 w 374"/>
              <a:gd name="T71" fmla="*/ 16 h 390"/>
              <a:gd name="T72" fmla="*/ 114 w 374"/>
              <a:gd name="T73" fmla="*/ 16 h 390"/>
              <a:gd name="T74" fmla="*/ 147 w 374"/>
              <a:gd name="T75" fmla="*/ 0 h 390"/>
              <a:gd name="T76" fmla="*/ 156 w 374"/>
              <a:gd name="T77" fmla="*/ 25 h 390"/>
              <a:gd name="T78" fmla="*/ 147 w 374"/>
              <a:gd name="T79" fmla="*/ 56 h 390"/>
              <a:gd name="T80" fmla="*/ 139 w 374"/>
              <a:gd name="T81" fmla="*/ 81 h 390"/>
              <a:gd name="T82" fmla="*/ 156 w 374"/>
              <a:gd name="T83" fmla="*/ 113 h 390"/>
              <a:gd name="T84" fmla="*/ 243 w 374"/>
              <a:gd name="T85" fmla="*/ 146 h 390"/>
              <a:gd name="T86" fmla="*/ 252 w 374"/>
              <a:gd name="T87" fmla="*/ 137 h 390"/>
              <a:gd name="T88" fmla="*/ 261 w 374"/>
              <a:gd name="T89" fmla="*/ 121 h 390"/>
              <a:gd name="T90" fmla="*/ 268 w 374"/>
              <a:gd name="T91" fmla="*/ 137 h 390"/>
              <a:gd name="T92" fmla="*/ 308 w 374"/>
              <a:gd name="T93" fmla="*/ 137 h 390"/>
              <a:gd name="T94" fmla="*/ 342 w 374"/>
              <a:gd name="T95" fmla="*/ 10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chemeClr val="accent3">
              <a:lumMod val="85000"/>
            </a:schemeClr>
          </a:solidFill>
          <a:ln w="9525" cap="rnd" cmpd="sng">
            <a:solidFill>
              <a:schemeClr val="tx1"/>
            </a:solidFill>
            <a:prstDash val="solid"/>
            <a:round/>
            <a:headEnd type="none" w="sm" len="sm"/>
            <a:tailEnd type="none" w="sm" len="sm"/>
          </a:ln>
          <a:effectLs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38" name="Freeform 20"/>
          <p:cNvSpPr>
            <a:spLocks/>
          </p:cNvSpPr>
          <p:nvPr/>
        </p:nvSpPr>
        <p:spPr bwMode="auto">
          <a:xfrm>
            <a:off x="5785190" y="1834680"/>
            <a:ext cx="219078" cy="231540"/>
          </a:xfrm>
          <a:custGeom>
            <a:avLst/>
            <a:gdLst>
              <a:gd name="T0" fmla="*/ 66 w 67"/>
              <a:gd name="T1" fmla="*/ 65 h 73"/>
              <a:gd name="T2" fmla="*/ 56 w 67"/>
              <a:gd name="T3" fmla="*/ 41 h 73"/>
              <a:gd name="T4" fmla="*/ 56 w 67"/>
              <a:gd name="T5" fmla="*/ 32 h 73"/>
              <a:gd name="T6" fmla="*/ 49 w 67"/>
              <a:gd name="T7" fmla="*/ 41 h 73"/>
              <a:gd name="T8" fmla="*/ 41 w 67"/>
              <a:gd name="T9" fmla="*/ 41 h 73"/>
              <a:gd name="T10" fmla="*/ 41 w 67"/>
              <a:gd name="T11" fmla="*/ 32 h 73"/>
              <a:gd name="T12" fmla="*/ 56 w 67"/>
              <a:gd name="T13" fmla="*/ 16 h 73"/>
              <a:gd name="T14" fmla="*/ 24 w 67"/>
              <a:gd name="T15" fmla="*/ 16 h 73"/>
              <a:gd name="T16" fmla="*/ 24 w 67"/>
              <a:gd name="T17" fmla="*/ 0 h 73"/>
              <a:gd name="T18" fmla="*/ 16 w 67"/>
              <a:gd name="T19" fmla="*/ 0 h 73"/>
              <a:gd name="T20" fmla="*/ 9 w 67"/>
              <a:gd name="T21" fmla="*/ 0 h 73"/>
              <a:gd name="T22" fmla="*/ 9 w 67"/>
              <a:gd name="T23" fmla="*/ 7 h 73"/>
              <a:gd name="T24" fmla="*/ 0 w 67"/>
              <a:gd name="T25" fmla="*/ 24 h 73"/>
              <a:gd name="T26" fmla="*/ 9 w 67"/>
              <a:gd name="T27" fmla="*/ 24 h 73"/>
              <a:gd name="T28" fmla="*/ 16 w 67"/>
              <a:gd name="T29" fmla="*/ 65 h 73"/>
              <a:gd name="T30" fmla="*/ 34 w 67"/>
              <a:gd name="T31" fmla="*/ 65 h 73"/>
              <a:gd name="T32" fmla="*/ 49 w 67"/>
              <a:gd name="T33" fmla="*/ 49 h 73"/>
              <a:gd name="T34" fmla="*/ 56 w 67"/>
              <a:gd name="T35" fmla="*/ 72 h 73"/>
              <a:gd name="T36" fmla="*/ 66 w 67"/>
              <a:gd name="T37"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39" name="Freeform 21"/>
          <p:cNvSpPr>
            <a:spLocks/>
          </p:cNvSpPr>
          <p:nvPr/>
        </p:nvSpPr>
        <p:spPr bwMode="auto">
          <a:xfrm>
            <a:off x="5968300" y="1755385"/>
            <a:ext cx="379299" cy="802460"/>
          </a:xfrm>
          <a:custGeom>
            <a:avLst/>
            <a:gdLst>
              <a:gd name="T0" fmla="*/ 83 w 116"/>
              <a:gd name="T1" fmla="*/ 252 h 253"/>
              <a:gd name="T2" fmla="*/ 99 w 116"/>
              <a:gd name="T3" fmla="*/ 218 h 253"/>
              <a:gd name="T4" fmla="*/ 90 w 116"/>
              <a:gd name="T5" fmla="*/ 196 h 253"/>
              <a:gd name="T6" fmla="*/ 83 w 116"/>
              <a:gd name="T7" fmla="*/ 178 h 253"/>
              <a:gd name="T8" fmla="*/ 83 w 116"/>
              <a:gd name="T9" fmla="*/ 162 h 253"/>
              <a:gd name="T10" fmla="*/ 74 w 116"/>
              <a:gd name="T11" fmla="*/ 138 h 253"/>
              <a:gd name="T12" fmla="*/ 74 w 116"/>
              <a:gd name="T13" fmla="*/ 121 h 253"/>
              <a:gd name="T14" fmla="*/ 106 w 116"/>
              <a:gd name="T15" fmla="*/ 106 h 253"/>
              <a:gd name="T16" fmla="*/ 115 w 116"/>
              <a:gd name="T17" fmla="*/ 90 h 253"/>
              <a:gd name="T18" fmla="*/ 106 w 116"/>
              <a:gd name="T19" fmla="*/ 90 h 253"/>
              <a:gd name="T20" fmla="*/ 90 w 116"/>
              <a:gd name="T21" fmla="*/ 81 h 253"/>
              <a:gd name="T22" fmla="*/ 90 w 116"/>
              <a:gd name="T23" fmla="*/ 74 h 253"/>
              <a:gd name="T24" fmla="*/ 90 w 116"/>
              <a:gd name="T25" fmla="*/ 66 h 253"/>
              <a:gd name="T26" fmla="*/ 83 w 116"/>
              <a:gd name="T27" fmla="*/ 57 h 253"/>
              <a:gd name="T28" fmla="*/ 74 w 116"/>
              <a:gd name="T29" fmla="*/ 57 h 253"/>
              <a:gd name="T30" fmla="*/ 83 w 116"/>
              <a:gd name="T31" fmla="*/ 16 h 253"/>
              <a:gd name="T32" fmla="*/ 74 w 116"/>
              <a:gd name="T33" fmla="*/ 0 h 253"/>
              <a:gd name="T34" fmla="*/ 65 w 116"/>
              <a:gd name="T35" fmla="*/ 0 h 253"/>
              <a:gd name="T36" fmla="*/ 65 w 116"/>
              <a:gd name="T37" fmla="*/ 16 h 253"/>
              <a:gd name="T38" fmla="*/ 50 w 116"/>
              <a:gd name="T39" fmla="*/ 16 h 253"/>
              <a:gd name="T40" fmla="*/ 41 w 116"/>
              <a:gd name="T41" fmla="*/ 25 h 253"/>
              <a:gd name="T42" fmla="*/ 25 w 116"/>
              <a:gd name="T43" fmla="*/ 57 h 253"/>
              <a:gd name="T44" fmla="*/ 18 w 116"/>
              <a:gd name="T45" fmla="*/ 66 h 253"/>
              <a:gd name="T46" fmla="*/ 10 w 116"/>
              <a:gd name="T47" fmla="*/ 81 h 253"/>
              <a:gd name="T48" fmla="*/ 10 w 116"/>
              <a:gd name="T49" fmla="*/ 90 h 253"/>
              <a:gd name="T50" fmla="*/ 0 w 116"/>
              <a:gd name="T51" fmla="*/ 97 h 253"/>
              <a:gd name="T52" fmla="*/ 18 w 116"/>
              <a:gd name="T53" fmla="*/ 115 h 253"/>
              <a:gd name="T54" fmla="*/ 25 w 116"/>
              <a:gd name="T55" fmla="*/ 131 h 253"/>
              <a:gd name="T56" fmla="*/ 34 w 116"/>
              <a:gd name="T57" fmla="*/ 155 h 253"/>
              <a:gd name="T58" fmla="*/ 25 w 116"/>
              <a:gd name="T59" fmla="*/ 162 h 253"/>
              <a:gd name="T60" fmla="*/ 41 w 116"/>
              <a:gd name="T61" fmla="*/ 171 h 253"/>
              <a:gd name="T62" fmla="*/ 59 w 116"/>
              <a:gd name="T63" fmla="*/ 155 h 253"/>
              <a:gd name="T64" fmla="*/ 65 w 116"/>
              <a:gd name="T65" fmla="*/ 162 h 253"/>
              <a:gd name="T66" fmla="*/ 83 w 116"/>
              <a:gd name="T67" fmla="*/ 211 h 253"/>
              <a:gd name="T68" fmla="*/ 83 w 116"/>
              <a:gd name="T69" fmla="*/ 25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solidFill>
            <a:schemeClr val="accent3">
              <a:lumMod val="85000"/>
            </a:schemeClr>
          </a:solidFill>
          <a:ln w="9525" cap="rnd" cmpd="sng">
            <a:solidFill>
              <a:schemeClr val="tx1"/>
            </a:solidFill>
            <a:prstDash val="solid"/>
            <a:round/>
            <a:headEnd type="none" w="sm" len="sm"/>
            <a:tailEnd type="none" w="sm" len="sm"/>
          </a:ln>
          <a:effectLs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0" name="Freeform 22"/>
          <p:cNvSpPr>
            <a:spLocks/>
          </p:cNvSpPr>
          <p:nvPr/>
        </p:nvSpPr>
        <p:spPr bwMode="auto">
          <a:xfrm>
            <a:off x="6210266" y="2091594"/>
            <a:ext cx="320442" cy="621669"/>
          </a:xfrm>
          <a:custGeom>
            <a:avLst/>
            <a:gdLst>
              <a:gd name="T0" fmla="*/ 32 w 98"/>
              <a:gd name="T1" fmla="*/ 0 h 196"/>
              <a:gd name="T2" fmla="*/ 0 w 98"/>
              <a:gd name="T3" fmla="*/ 15 h 196"/>
              <a:gd name="T4" fmla="*/ 0 w 98"/>
              <a:gd name="T5" fmla="*/ 32 h 196"/>
              <a:gd name="T6" fmla="*/ 9 w 98"/>
              <a:gd name="T7" fmla="*/ 56 h 196"/>
              <a:gd name="T8" fmla="*/ 9 w 98"/>
              <a:gd name="T9" fmla="*/ 72 h 196"/>
              <a:gd name="T10" fmla="*/ 16 w 98"/>
              <a:gd name="T11" fmla="*/ 90 h 196"/>
              <a:gd name="T12" fmla="*/ 25 w 98"/>
              <a:gd name="T13" fmla="*/ 112 h 196"/>
              <a:gd name="T14" fmla="*/ 9 w 98"/>
              <a:gd name="T15" fmla="*/ 146 h 196"/>
              <a:gd name="T16" fmla="*/ 9 w 98"/>
              <a:gd name="T17" fmla="*/ 153 h 196"/>
              <a:gd name="T18" fmla="*/ 9 w 98"/>
              <a:gd name="T19" fmla="*/ 162 h 196"/>
              <a:gd name="T20" fmla="*/ 32 w 98"/>
              <a:gd name="T21" fmla="*/ 186 h 196"/>
              <a:gd name="T22" fmla="*/ 32 w 98"/>
              <a:gd name="T23" fmla="*/ 177 h 196"/>
              <a:gd name="T24" fmla="*/ 41 w 98"/>
              <a:gd name="T25" fmla="*/ 186 h 196"/>
              <a:gd name="T26" fmla="*/ 50 w 98"/>
              <a:gd name="T27" fmla="*/ 195 h 196"/>
              <a:gd name="T28" fmla="*/ 56 w 98"/>
              <a:gd name="T29" fmla="*/ 186 h 196"/>
              <a:gd name="T30" fmla="*/ 50 w 98"/>
              <a:gd name="T31" fmla="*/ 177 h 196"/>
              <a:gd name="T32" fmla="*/ 32 w 98"/>
              <a:gd name="T33" fmla="*/ 177 h 196"/>
              <a:gd name="T34" fmla="*/ 25 w 98"/>
              <a:gd name="T35" fmla="*/ 146 h 196"/>
              <a:gd name="T36" fmla="*/ 16 w 98"/>
              <a:gd name="T37" fmla="*/ 146 h 196"/>
              <a:gd name="T38" fmla="*/ 16 w 98"/>
              <a:gd name="T39" fmla="*/ 137 h 196"/>
              <a:gd name="T40" fmla="*/ 25 w 98"/>
              <a:gd name="T41" fmla="*/ 112 h 196"/>
              <a:gd name="T42" fmla="*/ 25 w 98"/>
              <a:gd name="T43" fmla="*/ 97 h 196"/>
              <a:gd name="T44" fmla="*/ 41 w 98"/>
              <a:gd name="T45" fmla="*/ 97 h 196"/>
              <a:gd name="T46" fmla="*/ 41 w 98"/>
              <a:gd name="T47" fmla="*/ 105 h 196"/>
              <a:gd name="T48" fmla="*/ 50 w 98"/>
              <a:gd name="T49" fmla="*/ 105 h 196"/>
              <a:gd name="T50" fmla="*/ 65 w 98"/>
              <a:gd name="T51" fmla="*/ 122 h 196"/>
              <a:gd name="T52" fmla="*/ 65 w 98"/>
              <a:gd name="T53" fmla="*/ 112 h 196"/>
              <a:gd name="T54" fmla="*/ 56 w 98"/>
              <a:gd name="T55" fmla="*/ 97 h 196"/>
              <a:gd name="T56" fmla="*/ 65 w 98"/>
              <a:gd name="T57" fmla="*/ 80 h 196"/>
              <a:gd name="T58" fmla="*/ 97 w 98"/>
              <a:gd name="T59" fmla="*/ 80 h 196"/>
              <a:gd name="T60" fmla="*/ 97 w 98"/>
              <a:gd name="T61" fmla="*/ 65 h 196"/>
              <a:gd name="T62" fmla="*/ 90 w 98"/>
              <a:gd name="T63" fmla="*/ 56 h 196"/>
              <a:gd name="T64" fmla="*/ 81 w 98"/>
              <a:gd name="T65" fmla="*/ 40 h 196"/>
              <a:gd name="T66" fmla="*/ 75 w 98"/>
              <a:gd name="T67" fmla="*/ 25 h 196"/>
              <a:gd name="T68" fmla="*/ 56 w 98"/>
              <a:gd name="T69" fmla="*/ 32 h 196"/>
              <a:gd name="T70" fmla="*/ 41 w 98"/>
              <a:gd name="T71" fmla="*/ 40 h 196"/>
              <a:gd name="T72" fmla="*/ 41 w 98"/>
              <a:gd name="T73" fmla="*/ 15 h 196"/>
              <a:gd name="T74" fmla="*/ 32 w 98"/>
              <a:gd name="T75" fmla="*/ 9 h 196"/>
              <a:gd name="T76" fmla="*/ 32 w 98"/>
              <a:gd name="T7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solidFill>
            <a:srgbClr val="DCDCDC"/>
          </a:solidFill>
          <a:ln w="9525"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1" name="Freeform 23"/>
          <p:cNvSpPr>
            <a:spLocks/>
          </p:cNvSpPr>
          <p:nvPr/>
        </p:nvSpPr>
        <p:spPr bwMode="auto">
          <a:xfrm>
            <a:off x="6314900" y="2012299"/>
            <a:ext cx="297553" cy="367926"/>
          </a:xfrm>
          <a:custGeom>
            <a:avLst/>
            <a:gdLst>
              <a:gd name="T0" fmla="*/ 90 w 91"/>
              <a:gd name="T1" fmla="*/ 105 h 116"/>
              <a:gd name="T2" fmla="*/ 90 w 91"/>
              <a:gd name="T3" fmla="*/ 90 h 116"/>
              <a:gd name="T4" fmla="*/ 74 w 91"/>
              <a:gd name="T5" fmla="*/ 74 h 116"/>
              <a:gd name="T6" fmla="*/ 74 w 91"/>
              <a:gd name="T7" fmla="*/ 65 h 116"/>
              <a:gd name="T8" fmla="*/ 43 w 91"/>
              <a:gd name="T9" fmla="*/ 40 h 116"/>
              <a:gd name="T10" fmla="*/ 58 w 91"/>
              <a:gd name="T11" fmla="*/ 34 h 116"/>
              <a:gd name="T12" fmla="*/ 49 w 91"/>
              <a:gd name="T13" fmla="*/ 25 h 116"/>
              <a:gd name="T14" fmla="*/ 33 w 91"/>
              <a:gd name="T15" fmla="*/ 16 h 116"/>
              <a:gd name="T16" fmla="*/ 24 w 91"/>
              <a:gd name="T17" fmla="*/ 0 h 116"/>
              <a:gd name="T18" fmla="*/ 18 w 91"/>
              <a:gd name="T19" fmla="*/ 0 h 116"/>
              <a:gd name="T20" fmla="*/ 18 w 91"/>
              <a:gd name="T21" fmla="*/ 16 h 116"/>
              <a:gd name="T22" fmla="*/ 9 w 91"/>
              <a:gd name="T23" fmla="*/ 16 h 116"/>
              <a:gd name="T24" fmla="*/ 9 w 91"/>
              <a:gd name="T25" fmla="*/ 9 h 116"/>
              <a:gd name="T26" fmla="*/ 0 w 91"/>
              <a:gd name="T27" fmla="*/ 25 h 116"/>
              <a:gd name="T28" fmla="*/ 0 w 91"/>
              <a:gd name="T29" fmla="*/ 34 h 116"/>
              <a:gd name="T30" fmla="*/ 9 w 91"/>
              <a:gd name="T31" fmla="*/ 40 h 116"/>
              <a:gd name="T32" fmla="*/ 9 w 91"/>
              <a:gd name="T33" fmla="*/ 65 h 116"/>
              <a:gd name="T34" fmla="*/ 24 w 91"/>
              <a:gd name="T35" fmla="*/ 57 h 116"/>
              <a:gd name="T36" fmla="*/ 43 w 91"/>
              <a:gd name="T37" fmla="*/ 50 h 116"/>
              <a:gd name="T38" fmla="*/ 49 w 91"/>
              <a:gd name="T39" fmla="*/ 65 h 116"/>
              <a:gd name="T40" fmla="*/ 58 w 91"/>
              <a:gd name="T41" fmla="*/ 81 h 116"/>
              <a:gd name="T42" fmla="*/ 65 w 91"/>
              <a:gd name="T43" fmla="*/ 90 h 116"/>
              <a:gd name="T44" fmla="*/ 65 w 91"/>
              <a:gd name="T45" fmla="*/ 105 h 116"/>
              <a:gd name="T46" fmla="*/ 74 w 91"/>
              <a:gd name="T47" fmla="*/ 115 h 116"/>
              <a:gd name="T48" fmla="*/ 74 w 91"/>
              <a:gd name="T49" fmla="*/ 105 h 116"/>
              <a:gd name="T50" fmla="*/ 90 w 91"/>
              <a:gd name="T51"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solidFill>
            <a:schemeClr val="bg1">
              <a:lumMod val="85000"/>
            </a:schemeClr>
          </a:solidFill>
          <a:ln w="9525" cap="rnd" cmpd="sng">
            <a:solidFill>
              <a:schemeClr val="tx1"/>
            </a:solidFill>
            <a:prstDash val="solid"/>
            <a:round/>
            <a:headEnd/>
            <a:tailEnd/>
          </a:ln>
          <a:effectLs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2" name="Freeform 24"/>
          <p:cNvSpPr>
            <a:spLocks/>
          </p:cNvSpPr>
          <p:nvPr/>
        </p:nvSpPr>
        <p:spPr bwMode="auto">
          <a:xfrm>
            <a:off x="6393376" y="1990097"/>
            <a:ext cx="300823" cy="589951"/>
          </a:xfrm>
          <a:custGeom>
            <a:avLst/>
            <a:gdLst>
              <a:gd name="T0" fmla="*/ 0 w 92"/>
              <a:gd name="T1" fmla="*/ 7 h 186"/>
              <a:gd name="T2" fmla="*/ 0 w 92"/>
              <a:gd name="T3" fmla="*/ 0 h 186"/>
              <a:gd name="T4" fmla="*/ 9 w 92"/>
              <a:gd name="T5" fmla="*/ 7 h 186"/>
              <a:gd name="T6" fmla="*/ 41 w 92"/>
              <a:gd name="T7" fmla="*/ 0 h 186"/>
              <a:gd name="T8" fmla="*/ 59 w 92"/>
              <a:gd name="T9" fmla="*/ 0 h 186"/>
              <a:gd name="T10" fmla="*/ 59 w 92"/>
              <a:gd name="T11" fmla="*/ 16 h 186"/>
              <a:gd name="T12" fmla="*/ 74 w 92"/>
              <a:gd name="T13" fmla="*/ 16 h 186"/>
              <a:gd name="T14" fmla="*/ 59 w 92"/>
              <a:gd name="T15" fmla="*/ 23 h 186"/>
              <a:gd name="T16" fmla="*/ 50 w 92"/>
              <a:gd name="T17" fmla="*/ 41 h 186"/>
              <a:gd name="T18" fmla="*/ 41 w 92"/>
              <a:gd name="T19" fmla="*/ 47 h 186"/>
              <a:gd name="T20" fmla="*/ 82 w 92"/>
              <a:gd name="T21" fmla="*/ 104 h 186"/>
              <a:gd name="T22" fmla="*/ 91 w 92"/>
              <a:gd name="T23" fmla="*/ 122 h 186"/>
              <a:gd name="T24" fmla="*/ 82 w 92"/>
              <a:gd name="T25" fmla="*/ 154 h 186"/>
              <a:gd name="T26" fmla="*/ 66 w 92"/>
              <a:gd name="T27" fmla="*/ 162 h 186"/>
              <a:gd name="T28" fmla="*/ 59 w 92"/>
              <a:gd name="T29" fmla="*/ 162 h 186"/>
              <a:gd name="T30" fmla="*/ 50 w 92"/>
              <a:gd name="T31" fmla="*/ 178 h 186"/>
              <a:gd name="T32" fmla="*/ 34 w 92"/>
              <a:gd name="T33" fmla="*/ 185 h 186"/>
              <a:gd name="T34" fmla="*/ 34 w 92"/>
              <a:gd name="T35" fmla="*/ 169 h 186"/>
              <a:gd name="T36" fmla="*/ 25 w 92"/>
              <a:gd name="T37" fmla="*/ 162 h 186"/>
              <a:gd name="T38" fmla="*/ 41 w 92"/>
              <a:gd name="T39" fmla="*/ 154 h 186"/>
              <a:gd name="T40" fmla="*/ 50 w 92"/>
              <a:gd name="T41" fmla="*/ 144 h 186"/>
              <a:gd name="T42" fmla="*/ 66 w 92"/>
              <a:gd name="T43" fmla="*/ 137 h 186"/>
              <a:gd name="T44" fmla="*/ 66 w 92"/>
              <a:gd name="T45" fmla="*/ 112 h 186"/>
              <a:gd name="T46" fmla="*/ 66 w 92"/>
              <a:gd name="T47" fmla="*/ 97 h 186"/>
              <a:gd name="T48" fmla="*/ 50 w 92"/>
              <a:gd name="T49" fmla="*/ 81 h 186"/>
              <a:gd name="T50" fmla="*/ 50 w 92"/>
              <a:gd name="T51" fmla="*/ 72 h 186"/>
              <a:gd name="T52" fmla="*/ 19 w 92"/>
              <a:gd name="T53" fmla="*/ 47 h 186"/>
              <a:gd name="T54" fmla="*/ 34 w 92"/>
              <a:gd name="T55" fmla="*/ 41 h 186"/>
              <a:gd name="T56" fmla="*/ 25 w 92"/>
              <a:gd name="T57" fmla="*/ 32 h 186"/>
              <a:gd name="T58" fmla="*/ 9 w 92"/>
              <a:gd name="T59" fmla="*/ 23 h 186"/>
              <a:gd name="T60" fmla="*/ 0 w 92"/>
              <a:gd name="T61" fmla="*/ 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solidFill>
            <a:schemeClr val="accent3">
              <a:lumMod val="85000"/>
            </a:schemeClr>
          </a:solidFill>
          <a:ln w="9525" cap="rnd" cmpd="sng">
            <a:solidFill>
              <a:schemeClr val="tx1"/>
            </a:solidFill>
            <a:prstDash val="solid"/>
            <a:round/>
            <a:headEnd/>
            <a:tailEnd/>
          </a:ln>
          <a:effectLs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3" name="Freeform 25"/>
          <p:cNvSpPr>
            <a:spLocks/>
          </p:cNvSpPr>
          <p:nvPr/>
        </p:nvSpPr>
        <p:spPr bwMode="auto">
          <a:xfrm>
            <a:off x="6393376" y="2345336"/>
            <a:ext cx="219078" cy="161761"/>
          </a:xfrm>
          <a:custGeom>
            <a:avLst/>
            <a:gdLst>
              <a:gd name="T0" fmla="*/ 25 w 67"/>
              <a:gd name="T1" fmla="*/ 50 h 51"/>
              <a:gd name="T2" fmla="*/ 41 w 67"/>
              <a:gd name="T3" fmla="*/ 42 h 51"/>
              <a:gd name="T4" fmla="*/ 50 w 67"/>
              <a:gd name="T5" fmla="*/ 32 h 51"/>
              <a:gd name="T6" fmla="*/ 66 w 67"/>
              <a:gd name="T7" fmla="*/ 25 h 51"/>
              <a:gd name="T8" fmla="*/ 66 w 67"/>
              <a:gd name="T9" fmla="*/ 0 h 51"/>
              <a:gd name="T10" fmla="*/ 50 w 67"/>
              <a:gd name="T11" fmla="*/ 0 h 51"/>
              <a:gd name="T12" fmla="*/ 50 w 67"/>
              <a:gd name="T13" fmla="*/ 10 h 51"/>
              <a:gd name="T14" fmla="*/ 41 w 67"/>
              <a:gd name="T15" fmla="*/ 0 h 51"/>
              <a:gd name="T16" fmla="*/ 9 w 67"/>
              <a:gd name="T17" fmla="*/ 0 h 51"/>
              <a:gd name="T18" fmla="*/ 0 w 67"/>
              <a:gd name="T19" fmla="*/ 17 h 51"/>
              <a:gd name="T20" fmla="*/ 9 w 67"/>
              <a:gd name="T21" fmla="*/ 32 h 51"/>
              <a:gd name="T22" fmla="*/ 9 w 67"/>
              <a:gd name="T23" fmla="*/ 42 h 51"/>
              <a:gd name="T24" fmla="*/ 9 w 67"/>
              <a:gd name="T25" fmla="*/ 50 h 51"/>
              <a:gd name="T26" fmla="*/ 25 w 67"/>
              <a:gd name="T27"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solidFill>
            <a:srgbClr val="003366"/>
          </a:solidFill>
          <a:ln w="9525" cap="rnd" cmpd="sng">
            <a:solidFill>
              <a:schemeClr val="tx1"/>
            </a:solidFill>
            <a:prstDash val="solid"/>
            <a:round/>
            <a:headEnd/>
            <a:tailEnd/>
          </a:ln>
          <a:effectLs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4" name="Freeform 26"/>
          <p:cNvSpPr>
            <a:spLocks/>
          </p:cNvSpPr>
          <p:nvPr/>
        </p:nvSpPr>
        <p:spPr bwMode="auto">
          <a:xfrm>
            <a:off x="6314900" y="2652999"/>
            <a:ext cx="163491" cy="237883"/>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5" name="Freeform 27"/>
          <p:cNvSpPr>
            <a:spLocks/>
          </p:cNvSpPr>
          <p:nvPr/>
        </p:nvSpPr>
        <p:spPr bwMode="auto">
          <a:xfrm>
            <a:off x="6690929" y="2652999"/>
            <a:ext cx="428346" cy="237883"/>
          </a:xfrm>
          <a:custGeom>
            <a:avLst/>
            <a:gdLst>
              <a:gd name="T0" fmla="*/ 71 w 131"/>
              <a:gd name="T1" fmla="*/ 25 h 75"/>
              <a:gd name="T2" fmla="*/ 80 w 131"/>
              <a:gd name="T3" fmla="*/ 25 h 75"/>
              <a:gd name="T4" fmla="*/ 71 w 131"/>
              <a:gd name="T5" fmla="*/ 34 h 75"/>
              <a:gd name="T6" fmla="*/ 65 w 131"/>
              <a:gd name="T7" fmla="*/ 34 h 75"/>
              <a:gd name="T8" fmla="*/ 56 w 131"/>
              <a:gd name="T9" fmla="*/ 34 h 75"/>
              <a:gd name="T10" fmla="*/ 40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0 w 131"/>
              <a:gd name="T23" fmla="*/ 65 h 75"/>
              <a:gd name="T24" fmla="*/ 56 w 131"/>
              <a:gd name="T25" fmla="*/ 74 h 75"/>
              <a:gd name="T26" fmla="*/ 65 w 131"/>
              <a:gd name="T27" fmla="*/ 65 h 75"/>
              <a:gd name="T28" fmla="*/ 89 w 131"/>
              <a:gd name="T29" fmla="*/ 34 h 75"/>
              <a:gd name="T30" fmla="*/ 112 w 131"/>
              <a:gd name="T31" fmla="*/ 34 h 75"/>
              <a:gd name="T32" fmla="*/ 120 w 131"/>
              <a:gd name="T33" fmla="*/ 34 h 75"/>
              <a:gd name="T34" fmla="*/ 112 w 131"/>
              <a:gd name="T35" fmla="*/ 25 h 75"/>
              <a:gd name="T36" fmla="*/ 130 w 131"/>
              <a:gd name="T37" fmla="*/ 25 h 75"/>
              <a:gd name="T38" fmla="*/ 105 w 131"/>
              <a:gd name="T39" fmla="*/ 18 h 75"/>
              <a:gd name="T40" fmla="*/ 105 w 131"/>
              <a:gd name="T41" fmla="*/ 9 h 75"/>
              <a:gd name="T42" fmla="*/ 96 w 131"/>
              <a:gd name="T43" fmla="*/ 0 h 75"/>
              <a:gd name="T44" fmla="*/ 80 w 131"/>
              <a:gd name="T45" fmla="*/ 18 h 75"/>
              <a:gd name="T46" fmla="*/ 71 w 131"/>
              <a:gd name="T4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6" name="Freeform 28"/>
          <p:cNvSpPr>
            <a:spLocks/>
          </p:cNvSpPr>
          <p:nvPr/>
        </p:nvSpPr>
        <p:spPr bwMode="auto">
          <a:xfrm>
            <a:off x="6874039" y="2732293"/>
            <a:ext cx="81745" cy="53920"/>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7" name="Freeform 29"/>
          <p:cNvSpPr>
            <a:spLocks/>
          </p:cNvSpPr>
          <p:nvPr/>
        </p:nvSpPr>
        <p:spPr bwMode="auto">
          <a:xfrm>
            <a:off x="6661501" y="2760839"/>
            <a:ext cx="425076" cy="336209"/>
          </a:xfrm>
          <a:custGeom>
            <a:avLst/>
            <a:gdLst>
              <a:gd name="T0" fmla="*/ 9 w 130"/>
              <a:gd name="T1" fmla="*/ 31 h 106"/>
              <a:gd name="T2" fmla="*/ 24 w 130"/>
              <a:gd name="T3" fmla="*/ 40 h 106"/>
              <a:gd name="T4" fmla="*/ 40 w 130"/>
              <a:gd name="T5" fmla="*/ 40 h 106"/>
              <a:gd name="T6" fmla="*/ 49 w 130"/>
              <a:gd name="T7" fmla="*/ 31 h 106"/>
              <a:gd name="T8" fmla="*/ 65 w 130"/>
              <a:gd name="T9" fmla="*/ 40 h 106"/>
              <a:gd name="T10" fmla="*/ 74 w 130"/>
              <a:gd name="T11" fmla="*/ 31 h 106"/>
              <a:gd name="T12" fmla="*/ 98 w 130"/>
              <a:gd name="T13" fmla="*/ 0 h 106"/>
              <a:gd name="T14" fmla="*/ 121 w 130"/>
              <a:gd name="T15" fmla="*/ 0 h 106"/>
              <a:gd name="T16" fmla="*/ 114 w 130"/>
              <a:gd name="T17" fmla="*/ 16 h 106"/>
              <a:gd name="T18" fmla="*/ 121 w 130"/>
              <a:gd name="T19" fmla="*/ 25 h 106"/>
              <a:gd name="T20" fmla="*/ 114 w 130"/>
              <a:gd name="T21" fmla="*/ 31 h 106"/>
              <a:gd name="T22" fmla="*/ 129 w 130"/>
              <a:gd name="T23" fmla="*/ 40 h 106"/>
              <a:gd name="T24" fmla="*/ 121 w 130"/>
              <a:gd name="T25" fmla="*/ 48 h 106"/>
              <a:gd name="T26" fmla="*/ 105 w 130"/>
              <a:gd name="T27" fmla="*/ 65 h 106"/>
              <a:gd name="T28" fmla="*/ 98 w 130"/>
              <a:gd name="T29" fmla="*/ 81 h 106"/>
              <a:gd name="T30" fmla="*/ 105 w 130"/>
              <a:gd name="T31" fmla="*/ 81 h 106"/>
              <a:gd name="T32" fmla="*/ 98 w 130"/>
              <a:gd name="T33" fmla="*/ 97 h 106"/>
              <a:gd name="T34" fmla="*/ 80 w 130"/>
              <a:gd name="T35" fmla="*/ 105 h 106"/>
              <a:gd name="T36" fmla="*/ 74 w 130"/>
              <a:gd name="T37" fmla="*/ 97 h 106"/>
              <a:gd name="T38" fmla="*/ 57 w 130"/>
              <a:gd name="T39" fmla="*/ 97 h 106"/>
              <a:gd name="T40" fmla="*/ 40 w 130"/>
              <a:gd name="T41" fmla="*/ 97 h 106"/>
              <a:gd name="T42" fmla="*/ 40 w 130"/>
              <a:gd name="T43" fmla="*/ 88 h 106"/>
              <a:gd name="T44" fmla="*/ 24 w 130"/>
              <a:gd name="T45" fmla="*/ 88 h 106"/>
              <a:gd name="T46" fmla="*/ 17 w 130"/>
              <a:gd name="T47" fmla="*/ 72 h 106"/>
              <a:gd name="T48" fmla="*/ 9 w 130"/>
              <a:gd name="T49" fmla="*/ 56 h 106"/>
              <a:gd name="T50" fmla="*/ 0 w 130"/>
              <a:gd name="T51" fmla="*/ 40 h 106"/>
              <a:gd name="T52" fmla="*/ 9 w 130"/>
              <a:gd name="T53" fmla="*/ 3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8" name="Freeform 30"/>
          <p:cNvSpPr>
            <a:spLocks/>
          </p:cNvSpPr>
          <p:nvPr/>
        </p:nvSpPr>
        <p:spPr bwMode="auto">
          <a:xfrm>
            <a:off x="7593399" y="2938459"/>
            <a:ext cx="428346" cy="358411"/>
          </a:xfrm>
          <a:custGeom>
            <a:avLst/>
            <a:gdLst>
              <a:gd name="T0" fmla="*/ 130 w 131"/>
              <a:gd name="T1" fmla="*/ 32 h 113"/>
              <a:gd name="T2" fmla="*/ 130 w 131"/>
              <a:gd name="T3" fmla="*/ 65 h 113"/>
              <a:gd name="T4" fmla="*/ 130 w 131"/>
              <a:gd name="T5" fmla="*/ 112 h 113"/>
              <a:gd name="T6" fmla="*/ 112 w 131"/>
              <a:gd name="T7" fmla="*/ 97 h 113"/>
              <a:gd name="T8" fmla="*/ 88 w 131"/>
              <a:gd name="T9" fmla="*/ 106 h 113"/>
              <a:gd name="T10" fmla="*/ 97 w 131"/>
              <a:gd name="T11" fmla="*/ 89 h 113"/>
              <a:gd name="T12" fmla="*/ 88 w 131"/>
              <a:gd name="T13" fmla="*/ 72 h 113"/>
              <a:gd name="T14" fmla="*/ 31 w 131"/>
              <a:gd name="T15" fmla="*/ 41 h 113"/>
              <a:gd name="T16" fmla="*/ 25 w 131"/>
              <a:gd name="T17" fmla="*/ 49 h 113"/>
              <a:gd name="T18" fmla="*/ 25 w 131"/>
              <a:gd name="T19" fmla="*/ 41 h 113"/>
              <a:gd name="T20" fmla="*/ 16 w 131"/>
              <a:gd name="T21" fmla="*/ 32 h 113"/>
              <a:gd name="T22" fmla="*/ 31 w 131"/>
              <a:gd name="T23" fmla="*/ 32 h 113"/>
              <a:gd name="T24" fmla="*/ 40 w 131"/>
              <a:gd name="T25" fmla="*/ 25 h 113"/>
              <a:gd name="T26" fmla="*/ 16 w 131"/>
              <a:gd name="T27" fmla="*/ 25 h 113"/>
              <a:gd name="T28" fmla="*/ 6 w 131"/>
              <a:gd name="T29" fmla="*/ 16 h 113"/>
              <a:gd name="T30" fmla="*/ 0 w 131"/>
              <a:gd name="T31" fmla="*/ 16 h 113"/>
              <a:gd name="T32" fmla="*/ 16 w 131"/>
              <a:gd name="T33" fmla="*/ 0 h 113"/>
              <a:gd name="T34" fmla="*/ 25 w 131"/>
              <a:gd name="T35" fmla="*/ 0 h 113"/>
              <a:gd name="T36" fmla="*/ 40 w 131"/>
              <a:gd name="T37" fmla="*/ 9 h 113"/>
              <a:gd name="T38" fmla="*/ 40 w 131"/>
              <a:gd name="T39" fmla="*/ 25 h 113"/>
              <a:gd name="T40" fmla="*/ 56 w 131"/>
              <a:gd name="T41" fmla="*/ 41 h 113"/>
              <a:gd name="T42" fmla="*/ 72 w 131"/>
              <a:gd name="T43" fmla="*/ 25 h 113"/>
              <a:gd name="T44" fmla="*/ 88 w 131"/>
              <a:gd name="T45" fmla="*/ 16 h 113"/>
              <a:gd name="T46" fmla="*/ 130 w 131"/>
              <a:gd name="T47" fmla="*/ 3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solidFill>
            <a:schemeClr val="bg2">
              <a:lumMod val="20000"/>
              <a:lumOff val="80000"/>
            </a:schemeClr>
          </a:solidFill>
          <a:ln w="9525" cap="rnd" cmpd="sng">
            <a:solidFill>
              <a:schemeClr val="tx1"/>
            </a:solidFill>
            <a:prstDash val="solid"/>
            <a:round/>
            <a:headEnd/>
            <a:tailEnd/>
          </a:ln>
          <a:effectLs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49" name="Freeform 31"/>
          <p:cNvSpPr>
            <a:spLocks/>
          </p:cNvSpPr>
          <p:nvPr/>
        </p:nvSpPr>
        <p:spPr bwMode="auto">
          <a:xfrm>
            <a:off x="8018475" y="3039956"/>
            <a:ext cx="402188" cy="336209"/>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solidFill>
            <a:schemeClr val="bg2">
              <a:lumMod val="20000"/>
              <a:lumOff val="80000"/>
            </a:schemeClr>
          </a:solidFill>
          <a:ln w="9525" cap="rnd" cmpd="sng">
            <a:solidFill>
              <a:schemeClr val="tx1"/>
            </a:solidFill>
            <a:prstDash val="solid"/>
            <a:round/>
            <a:headEnd type="none" w="sm" len="sm"/>
            <a:tailEnd type="none" w="sm" len="sm"/>
          </a:ln>
          <a:effectLs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0" name="Freeform 34"/>
          <p:cNvSpPr>
            <a:spLocks/>
          </p:cNvSpPr>
          <p:nvPr/>
        </p:nvSpPr>
        <p:spPr bwMode="auto">
          <a:xfrm>
            <a:off x="6180838" y="2859165"/>
            <a:ext cx="55587" cy="57092"/>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1" name="Freeform 35"/>
          <p:cNvSpPr>
            <a:spLocks/>
          </p:cNvSpPr>
          <p:nvPr/>
        </p:nvSpPr>
        <p:spPr bwMode="auto">
          <a:xfrm>
            <a:off x="6180838" y="2859165"/>
            <a:ext cx="55587" cy="57092"/>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solidFill>
            <a:srgbClr val="DCDCDC"/>
          </a:solidFill>
          <a:ln w="9525"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2" name="Freeform 36"/>
          <p:cNvSpPr>
            <a:spLocks/>
          </p:cNvSpPr>
          <p:nvPr/>
        </p:nvSpPr>
        <p:spPr bwMode="auto">
          <a:xfrm>
            <a:off x="6239695" y="2967005"/>
            <a:ext cx="55587" cy="53920"/>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3" name="Freeform 37"/>
          <p:cNvSpPr>
            <a:spLocks/>
          </p:cNvSpPr>
          <p:nvPr/>
        </p:nvSpPr>
        <p:spPr bwMode="auto">
          <a:xfrm>
            <a:off x="6239695" y="2967005"/>
            <a:ext cx="55587" cy="53920"/>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solidFill>
            <a:srgbClr val="DCDCDC"/>
          </a:solidFill>
          <a:ln w="9525"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4" name="Freeform 38"/>
          <p:cNvSpPr>
            <a:spLocks/>
          </p:cNvSpPr>
          <p:nvPr/>
        </p:nvSpPr>
        <p:spPr bwMode="auto">
          <a:xfrm>
            <a:off x="5441859" y="2526128"/>
            <a:ext cx="111174" cy="158589"/>
          </a:xfrm>
          <a:custGeom>
            <a:avLst/>
            <a:gdLst>
              <a:gd name="T0" fmla="*/ 0 w 34"/>
              <a:gd name="T1" fmla="*/ 25 h 50"/>
              <a:gd name="T2" fmla="*/ 9 w 34"/>
              <a:gd name="T3" fmla="*/ 49 h 50"/>
              <a:gd name="T4" fmla="*/ 24 w 34"/>
              <a:gd name="T5" fmla="*/ 49 h 50"/>
              <a:gd name="T6" fmla="*/ 33 w 34"/>
              <a:gd name="T7" fmla="*/ 34 h 50"/>
              <a:gd name="T8" fmla="*/ 15 w 34"/>
              <a:gd name="T9" fmla="*/ 9 h 50"/>
              <a:gd name="T10" fmla="*/ 9 w 34"/>
              <a:gd name="T11" fmla="*/ 0 h 50"/>
              <a:gd name="T12" fmla="*/ 0 w 34"/>
              <a:gd name="T13" fmla="*/ 25 h 50"/>
            </a:gdLst>
            <a:ahLst/>
            <a:cxnLst>
              <a:cxn ang="0">
                <a:pos x="T0" y="T1"/>
              </a:cxn>
              <a:cxn ang="0">
                <a:pos x="T2" y="T3"/>
              </a:cxn>
              <a:cxn ang="0">
                <a:pos x="T4" y="T5"/>
              </a:cxn>
              <a:cxn ang="0">
                <a:pos x="T6" y="T7"/>
              </a:cxn>
              <a:cxn ang="0">
                <a:pos x="T8" y="T9"/>
              </a:cxn>
              <a:cxn ang="0">
                <a:pos x="T10" y="T11"/>
              </a:cxn>
              <a:cxn ang="0">
                <a:pos x="T12" y="T13"/>
              </a:cxn>
            </a:cxnLst>
            <a:rect l="0" t="0" r="r" b="b"/>
            <a:pathLst>
              <a:path w="34" h="50">
                <a:moveTo>
                  <a:pt x="0" y="25"/>
                </a:moveTo>
                <a:lnTo>
                  <a:pt x="9" y="49"/>
                </a:lnTo>
                <a:lnTo>
                  <a:pt x="24" y="49"/>
                </a:lnTo>
                <a:lnTo>
                  <a:pt x="33" y="34"/>
                </a:lnTo>
                <a:lnTo>
                  <a:pt x="15" y="9"/>
                </a:lnTo>
                <a:lnTo>
                  <a:pt x="9" y="0"/>
                </a:lnTo>
                <a:lnTo>
                  <a:pt x="0" y="25"/>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5" name="Freeform 39"/>
          <p:cNvSpPr>
            <a:spLocks/>
          </p:cNvSpPr>
          <p:nvPr/>
        </p:nvSpPr>
        <p:spPr bwMode="auto">
          <a:xfrm>
            <a:off x="6661501" y="2120140"/>
            <a:ext cx="114444" cy="76123"/>
          </a:xfrm>
          <a:custGeom>
            <a:avLst/>
            <a:gdLst>
              <a:gd name="T0" fmla="*/ 0 w 35"/>
              <a:gd name="T1" fmla="*/ 6 h 24"/>
              <a:gd name="T2" fmla="*/ 0 w 35"/>
              <a:gd name="T3" fmla="*/ 16 h 24"/>
              <a:gd name="T4" fmla="*/ 17 w 35"/>
              <a:gd name="T5" fmla="*/ 23 h 24"/>
              <a:gd name="T6" fmla="*/ 24 w 35"/>
              <a:gd name="T7" fmla="*/ 16 h 24"/>
              <a:gd name="T8" fmla="*/ 34 w 35"/>
              <a:gd name="T9" fmla="*/ 0 h 24"/>
              <a:gd name="T10" fmla="*/ 9 w 35"/>
              <a:gd name="T11" fmla="*/ 0 h 24"/>
              <a:gd name="T12" fmla="*/ 0 w 35"/>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35" h="24">
                <a:moveTo>
                  <a:pt x="0" y="6"/>
                </a:moveTo>
                <a:lnTo>
                  <a:pt x="0" y="16"/>
                </a:lnTo>
                <a:lnTo>
                  <a:pt x="17" y="23"/>
                </a:lnTo>
                <a:lnTo>
                  <a:pt x="24" y="16"/>
                </a:lnTo>
                <a:lnTo>
                  <a:pt x="34" y="0"/>
                </a:lnTo>
                <a:lnTo>
                  <a:pt x="9" y="0"/>
                </a:lnTo>
                <a:lnTo>
                  <a:pt x="0" y="6"/>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6" name="Freeform 40"/>
          <p:cNvSpPr>
            <a:spLocks/>
          </p:cNvSpPr>
          <p:nvPr/>
        </p:nvSpPr>
        <p:spPr bwMode="auto">
          <a:xfrm>
            <a:off x="7138894" y="1885428"/>
            <a:ext cx="85015" cy="130043"/>
          </a:xfrm>
          <a:custGeom>
            <a:avLst/>
            <a:gdLst>
              <a:gd name="T0" fmla="*/ 0 w 26"/>
              <a:gd name="T1" fmla="*/ 25 h 41"/>
              <a:gd name="T2" fmla="*/ 0 w 26"/>
              <a:gd name="T3" fmla="*/ 33 h 41"/>
              <a:gd name="T4" fmla="*/ 8 w 26"/>
              <a:gd name="T5" fmla="*/ 40 h 41"/>
              <a:gd name="T6" fmla="*/ 25 w 26"/>
              <a:gd name="T7" fmla="*/ 0 h 41"/>
              <a:gd name="T8" fmla="*/ 17 w 26"/>
              <a:gd name="T9" fmla="*/ 0 h 41"/>
              <a:gd name="T10" fmla="*/ 0 w 26"/>
              <a:gd name="T11" fmla="*/ 25 h 41"/>
            </a:gdLst>
            <a:ahLst/>
            <a:cxnLst>
              <a:cxn ang="0">
                <a:pos x="T0" y="T1"/>
              </a:cxn>
              <a:cxn ang="0">
                <a:pos x="T2" y="T3"/>
              </a:cxn>
              <a:cxn ang="0">
                <a:pos x="T4" y="T5"/>
              </a:cxn>
              <a:cxn ang="0">
                <a:pos x="T6" y="T7"/>
              </a:cxn>
              <a:cxn ang="0">
                <a:pos x="T8" y="T9"/>
              </a:cxn>
              <a:cxn ang="0">
                <a:pos x="T10" y="T11"/>
              </a:cxn>
            </a:cxnLst>
            <a:rect l="0" t="0" r="r" b="b"/>
            <a:pathLst>
              <a:path w="26" h="41">
                <a:moveTo>
                  <a:pt x="0" y="25"/>
                </a:moveTo>
                <a:lnTo>
                  <a:pt x="0" y="33"/>
                </a:lnTo>
                <a:lnTo>
                  <a:pt x="8" y="40"/>
                </a:lnTo>
                <a:lnTo>
                  <a:pt x="25" y="0"/>
                </a:lnTo>
                <a:lnTo>
                  <a:pt x="17" y="0"/>
                </a:lnTo>
                <a:lnTo>
                  <a:pt x="0" y="25"/>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7" name="Freeform 48"/>
          <p:cNvSpPr>
            <a:spLocks/>
          </p:cNvSpPr>
          <p:nvPr/>
        </p:nvSpPr>
        <p:spPr bwMode="auto">
          <a:xfrm>
            <a:off x="7563971" y="3401539"/>
            <a:ext cx="55587" cy="53920"/>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8" name="Freeform 49"/>
          <p:cNvSpPr>
            <a:spLocks/>
          </p:cNvSpPr>
          <p:nvPr/>
        </p:nvSpPr>
        <p:spPr bwMode="auto">
          <a:xfrm>
            <a:off x="7563971" y="3401539"/>
            <a:ext cx="55587" cy="53920"/>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solidFill>
            <a:srgbClr val="DCDCDC"/>
          </a:solidFill>
          <a:ln w="9525"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59" name="Freeform 57"/>
          <p:cNvSpPr>
            <a:spLocks/>
          </p:cNvSpPr>
          <p:nvPr/>
        </p:nvSpPr>
        <p:spPr bwMode="auto">
          <a:xfrm>
            <a:off x="6102362" y="2710091"/>
            <a:ext cx="457774" cy="459908"/>
          </a:xfrm>
          <a:custGeom>
            <a:avLst/>
            <a:gdLst>
              <a:gd name="T0" fmla="*/ 0 w 140"/>
              <a:gd name="T1" fmla="*/ 0 h 145"/>
              <a:gd name="T2" fmla="*/ 0 w 140"/>
              <a:gd name="T3" fmla="*/ 7 h 145"/>
              <a:gd name="T4" fmla="*/ 18 w 140"/>
              <a:gd name="T5" fmla="*/ 23 h 145"/>
              <a:gd name="T6" fmla="*/ 33 w 140"/>
              <a:gd name="T7" fmla="*/ 41 h 145"/>
              <a:gd name="T8" fmla="*/ 42 w 140"/>
              <a:gd name="T9" fmla="*/ 47 h 145"/>
              <a:gd name="T10" fmla="*/ 49 w 140"/>
              <a:gd name="T11" fmla="*/ 64 h 145"/>
              <a:gd name="T12" fmla="*/ 65 w 140"/>
              <a:gd name="T13" fmla="*/ 81 h 145"/>
              <a:gd name="T14" fmla="*/ 83 w 140"/>
              <a:gd name="T15" fmla="*/ 113 h 145"/>
              <a:gd name="T16" fmla="*/ 114 w 140"/>
              <a:gd name="T17" fmla="*/ 144 h 145"/>
              <a:gd name="T18" fmla="*/ 130 w 140"/>
              <a:gd name="T19" fmla="*/ 144 h 145"/>
              <a:gd name="T20" fmla="*/ 139 w 140"/>
              <a:gd name="T21" fmla="*/ 113 h 145"/>
              <a:gd name="T22" fmla="*/ 130 w 140"/>
              <a:gd name="T23" fmla="*/ 97 h 145"/>
              <a:gd name="T24" fmla="*/ 123 w 140"/>
              <a:gd name="T25" fmla="*/ 97 h 145"/>
              <a:gd name="T26" fmla="*/ 114 w 140"/>
              <a:gd name="T27" fmla="*/ 81 h 145"/>
              <a:gd name="T28" fmla="*/ 108 w 140"/>
              <a:gd name="T29" fmla="*/ 81 h 145"/>
              <a:gd name="T30" fmla="*/ 108 w 140"/>
              <a:gd name="T31" fmla="*/ 72 h 145"/>
              <a:gd name="T32" fmla="*/ 98 w 140"/>
              <a:gd name="T33" fmla="*/ 64 h 145"/>
              <a:gd name="T34" fmla="*/ 98 w 140"/>
              <a:gd name="T35" fmla="*/ 56 h 145"/>
              <a:gd name="T36" fmla="*/ 74 w 140"/>
              <a:gd name="T37" fmla="*/ 41 h 145"/>
              <a:gd name="T38" fmla="*/ 65 w 140"/>
              <a:gd name="T39" fmla="*/ 41 h 145"/>
              <a:gd name="T40" fmla="*/ 24 w 140"/>
              <a:gd name="T41" fmla="*/ 7 h 145"/>
              <a:gd name="T42" fmla="*/ 0 w 140"/>
              <a:gd name="T4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solidFill>
            <a:srgbClr val="DCDCDC"/>
          </a:solidFill>
          <a:ln w="9525"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0" name="Freeform 58"/>
          <p:cNvSpPr>
            <a:spLocks/>
          </p:cNvSpPr>
          <p:nvPr/>
        </p:nvSpPr>
        <p:spPr bwMode="auto">
          <a:xfrm>
            <a:off x="6527439" y="3166827"/>
            <a:ext cx="379299" cy="111012"/>
          </a:xfrm>
          <a:custGeom>
            <a:avLst/>
            <a:gdLst>
              <a:gd name="T0" fmla="*/ 0 w 116"/>
              <a:gd name="T1" fmla="*/ 9 h 35"/>
              <a:gd name="T2" fmla="*/ 33 w 116"/>
              <a:gd name="T3" fmla="*/ 25 h 35"/>
              <a:gd name="T4" fmla="*/ 115 w 116"/>
              <a:gd name="T5" fmla="*/ 34 h 35"/>
              <a:gd name="T6" fmla="*/ 115 w 116"/>
              <a:gd name="T7" fmla="*/ 25 h 35"/>
              <a:gd name="T8" fmla="*/ 98 w 116"/>
              <a:gd name="T9" fmla="*/ 25 h 35"/>
              <a:gd name="T10" fmla="*/ 90 w 116"/>
              <a:gd name="T11" fmla="*/ 17 h 35"/>
              <a:gd name="T12" fmla="*/ 65 w 116"/>
              <a:gd name="T13" fmla="*/ 9 h 35"/>
              <a:gd name="T14" fmla="*/ 65 w 116"/>
              <a:gd name="T15" fmla="*/ 17 h 35"/>
              <a:gd name="T16" fmla="*/ 50 w 116"/>
              <a:gd name="T17" fmla="*/ 9 h 35"/>
              <a:gd name="T18" fmla="*/ 25 w 116"/>
              <a:gd name="T19" fmla="*/ 0 h 35"/>
              <a:gd name="T20" fmla="*/ 9 w 116"/>
              <a:gd name="T21" fmla="*/ 0 h 35"/>
              <a:gd name="T22" fmla="*/ 0 w 116"/>
              <a:gd name="T23"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1" name="Freeform 59"/>
          <p:cNvSpPr>
            <a:spLocks/>
          </p:cNvSpPr>
          <p:nvPr/>
        </p:nvSpPr>
        <p:spPr bwMode="auto">
          <a:xfrm>
            <a:off x="6903468" y="3274668"/>
            <a:ext cx="55587" cy="3172"/>
          </a:xfrm>
          <a:custGeom>
            <a:avLst/>
            <a:gdLst>
              <a:gd name="T0" fmla="*/ 0 w 17"/>
              <a:gd name="T1" fmla="*/ 0 h 1"/>
              <a:gd name="T2" fmla="*/ 6 w 17"/>
              <a:gd name="T3" fmla="*/ 0 h 1"/>
              <a:gd name="T4" fmla="*/ 16 w 17"/>
              <a:gd name="T5" fmla="*/ 0 h 1"/>
              <a:gd name="T6" fmla="*/ 0 w 17"/>
              <a:gd name="T7" fmla="*/ 0 h 1"/>
            </a:gdLst>
            <a:ahLst/>
            <a:cxnLst>
              <a:cxn ang="0">
                <a:pos x="T0" y="T1"/>
              </a:cxn>
              <a:cxn ang="0">
                <a:pos x="T2" y="T3"/>
              </a:cxn>
              <a:cxn ang="0">
                <a:pos x="T4" y="T5"/>
              </a:cxn>
              <a:cxn ang="0">
                <a:pos x="T6" y="T7"/>
              </a:cxn>
            </a:cxnLst>
            <a:rect l="0" t="0" r="r" b="b"/>
            <a:pathLst>
              <a:path w="17" h="1">
                <a:moveTo>
                  <a:pt x="0" y="0"/>
                </a:moveTo>
                <a:lnTo>
                  <a:pt x="6" y="0"/>
                </a:lnTo>
                <a:lnTo>
                  <a:pt x="16" y="0"/>
                </a:lnTo>
                <a:lnTo>
                  <a:pt x="0" y="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2" name="Freeform 60"/>
          <p:cNvSpPr>
            <a:spLocks/>
          </p:cNvSpPr>
          <p:nvPr/>
        </p:nvSpPr>
        <p:spPr bwMode="auto">
          <a:xfrm>
            <a:off x="6981943" y="3274668"/>
            <a:ext cx="320442" cy="53920"/>
          </a:xfrm>
          <a:custGeom>
            <a:avLst/>
            <a:gdLst>
              <a:gd name="T0" fmla="*/ 0 w 98"/>
              <a:gd name="T1" fmla="*/ 16 h 17"/>
              <a:gd name="T2" fmla="*/ 7 w 98"/>
              <a:gd name="T3" fmla="*/ 16 h 17"/>
              <a:gd name="T4" fmla="*/ 41 w 98"/>
              <a:gd name="T5" fmla="*/ 0 h 17"/>
              <a:gd name="T6" fmla="*/ 73 w 98"/>
              <a:gd name="T7" fmla="*/ 16 h 17"/>
              <a:gd name="T8" fmla="*/ 97 w 98"/>
              <a:gd name="T9" fmla="*/ 0 h 17"/>
              <a:gd name="T10" fmla="*/ 81 w 98"/>
              <a:gd name="T11" fmla="*/ 0 h 17"/>
              <a:gd name="T12" fmla="*/ 56 w 98"/>
              <a:gd name="T13" fmla="*/ 0 h 17"/>
              <a:gd name="T14" fmla="*/ 41 w 98"/>
              <a:gd name="T15" fmla="*/ 0 h 17"/>
              <a:gd name="T16" fmla="*/ 16 w 98"/>
              <a:gd name="T17" fmla="*/ 0 h 17"/>
              <a:gd name="T18" fmla="*/ 23 w 98"/>
              <a:gd name="T19" fmla="*/ 0 h 17"/>
              <a:gd name="T20" fmla="*/ 0 w 98"/>
              <a:gd name="T21" fmla="*/ 0 h 17"/>
              <a:gd name="T22" fmla="*/ 0 w 98"/>
              <a:gd name="T2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3" name="Freeform 61"/>
          <p:cNvSpPr>
            <a:spLocks/>
          </p:cNvSpPr>
          <p:nvPr/>
        </p:nvSpPr>
        <p:spPr bwMode="auto">
          <a:xfrm>
            <a:off x="7083307" y="3325416"/>
            <a:ext cx="85015" cy="53920"/>
          </a:xfrm>
          <a:custGeom>
            <a:avLst/>
            <a:gdLst>
              <a:gd name="T0" fmla="*/ 0 w 26"/>
              <a:gd name="T1" fmla="*/ 0 h 17"/>
              <a:gd name="T2" fmla="*/ 17 w 26"/>
              <a:gd name="T3" fmla="*/ 16 h 17"/>
              <a:gd name="T4" fmla="*/ 25 w 26"/>
              <a:gd name="T5" fmla="*/ 16 h 17"/>
              <a:gd name="T6" fmla="*/ 17 w 26"/>
              <a:gd name="T7" fmla="*/ 0 h 17"/>
              <a:gd name="T8" fmla="*/ 0 w 26"/>
              <a:gd name="T9" fmla="*/ 0 h 17"/>
            </a:gdLst>
            <a:ahLst/>
            <a:cxnLst>
              <a:cxn ang="0">
                <a:pos x="T0" y="T1"/>
              </a:cxn>
              <a:cxn ang="0">
                <a:pos x="T2" y="T3"/>
              </a:cxn>
              <a:cxn ang="0">
                <a:pos x="T4" y="T5"/>
              </a:cxn>
              <a:cxn ang="0">
                <a:pos x="T6" y="T7"/>
              </a:cxn>
              <a:cxn ang="0">
                <a:pos x="T8" y="T9"/>
              </a:cxn>
            </a:cxnLst>
            <a:rect l="0" t="0" r="r" b="b"/>
            <a:pathLst>
              <a:path w="26" h="17">
                <a:moveTo>
                  <a:pt x="0" y="0"/>
                </a:moveTo>
                <a:lnTo>
                  <a:pt x="17" y="16"/>
                </a:lnTo>
                <a:lnTo>
                  <a:pt x="25" y="16"/>
                </a:lnTo>
                <a:lnTo>
                  <a:pt x="17" y="0"/>
                </a:lnTo>
                <a:lnTo>
                  <a:pt x="0" y="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4" name="Freeform 62"/>
          <p:cNvSpPr>
            <a:spLocks/>
          </p:cNvSpPr>
          <p:nvPr/>
        </p:nvSpPr>
        <p:spPr bwMode="auto">
          <a:xfrm>
            <a:off x="7269687" y="3274668"/>
            <a:ext cx="166761" cy="82466"/>
          </a:xfrm>
          <a:custGeom>
            <a:avLst/>
            <a:gdLst>
              <a:gd name="T0" fmla="*/ 0 w 51"/>
              <a:gd name="T1" fmla="*/ 25 h 26"/>
              <a:gd name="T2" fmla="*/ 18 w 51"/>
              <a:gd name="T3" fmla="*/ 25 h 26"/>
              <a:gd name="T4" fmla="*/ 50 w 51"/>
              <a:gd name="T5" fmla="*/ 0 h 26"/>
              <a:gd name="T6" fmla="*/ 25 w 51"/>
              <a:gd name="T7" fmla="*/ 0 h 26"/>
              <a:gd name="T8" fmla="*/ 9 w 51"/>
              <a:gd name="T9" fmla="*/ 16 h 26"/>
              <a:gd name="T10" fmla="*/ 0 w 51"/>
              <a:gd name="T11" fmla="*/ 25 h 26"/>
            </a:gdLst>
            <a:ahLst/>
            <a:cxnLst>
              <a:cxn ang="0">
                <a:pos x="T0" y="T1"/>
              </a:cxn>
              <a:cxn ang="0">
                <a:pos x="T2" y="T3"/>
              </a:cxn>
              <a:cxn ang="0">
                <a:pos x="T4" y="T5"/>
              </a:cxn>
              <a:cxn ang="0">
                <a:pos x="T6" y="T7"/>
              </a:cxn>
              <a:cxn ang="0">
                <a:pos x="T8" y="T9"/>
              </a:cxn>
              <a:cxn ang="0">
                <a:pos x="T10" y="T11"/>
              </a:cxn>
            </a:cxnLst>
            <a:rect l="0" t="0" r="r" b="b"/>
            <a:pathLst>
              <a:path w="51" h="26">
                <a:moveTo>
                  <a:pt x="0" y="25"/>
                </a:moveTo>
                <a:lnTo>
                  <a:pt x="18" y="25"/>
                </a:lnTo>
                <a:lnTo>
                  <a:pt x="50" y="0"/>
                </a:lnTo>
                <a:lnTo>
                  <a:pt x="25" y="0"/>
                </a:lnTo>
                <a:lnTo>
                  <a:pt x="9" y="16"/>
                </a:lnTo>
                <a:lnTo>
                  <a:pt x="0" y="25"/>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5" name="Freeform 63"/>
          <p:cNvSpPr>
            <a:spLocks/>
          </p:cNvSpPr>
          <p:nvPr/>
        </p:nvSpPr>
        <p:spPr bwMode="auto">
          <a:xfrm>
            <a:off x="7724192" y="3144625"/>
            <a:ext cx="55587" cy="79294"/>
          </a:xfrm>
          <a:custGeom>
            <a:avLst/>
            <a:gdLst>
              <a:gd name="T0" fmla="*/ 0 w 17"/>
              <a:gd name="T1" fmla="*/ 24 h 25"/>
              <a:gd name="T2" fmla="*/ 16 w 17"/>
              <a:gd name="T3" fmla="*/ 7 h 25"/>
              <a:gd name="T4" fmla="*/ 16 w 17"/>
              <a:gd name="T5" fmla="*/ 0 h 25"/>
              <a:gd name="T6" fmla="*/ 0 w 17"/>
              <a:gd name="T7" fmla="*/ 24 h 25"/>
            </a:gdLst>
            <a:ahLst/>
            <a:cxnLst>
              <a:cxn ang="0">
                <a:pos x="T0" y="T1"/>
              </a:cxn>
              <a:cxn ang="0">
                <a:pos x="T2" y="T3"/>
              </a:cxn>
              <a:cxn ang="0">
                <a:pos x="T4" y="T5"/>
              </a:cxn>
              <a:cxn ang="0">
                <a:pos x="T6" y="T7"/>
              </a:cxn>
            </a:cxnLst>
            <a:rect l="0" t="0" r="r" b="b"/>
            <a:pathLst>
              <a:path w="17" h="25">
                <a:moveTo>
                  <a:pt x="0" y="24"/>
                </a:moveTo>
                <a:lnTo>
                  <a:pt x="16" y="7"/>
                </a:lnTo>
                <a:lnTo>
                  <a:pt x="16" y="0"/>
                </a:lnTo>
                <a:lnTo>
                  <a:pt x="0" y="24"/>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6" name="Freeform 64"/>
          <p:cNvSpPr>
            <a:spLocks/>
          </p:cNvSpPr>
          <p:nvPr/>
        </p:nvSpPr>
        <p:spPr bwMode="auto">
          <a:xfrm>
            <a:off x="6527439" y="2989208"/>
            <a:ext cx="62127" cy="82466"/>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7" name="Freeform 65"/>
          <p:cNvSpPr>
            <a:spLocks/>
          </p:cNvSpPr>
          <p:nvPr/>
        </p:nvSpPr>
        <p:spPr bwMode="auto">
          <a:xfrm>
            <a:off x="6527439" y="2989208"/>
            <a:ext cx="62127" cy="82466"/>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solidFill>
            <a:srgbClr val="DCDCDC"/>
          </a:solidFill>
          <a:ln w="9525"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8" name="Freeform 66"/>
          <p:cNvSpPr>
            <a:spLocks/>
          </p:cNvSpPr>
          <p:nvPr/>
        </p:nvSpPr>
        <p:spPr bwMode="auto">
          <a:xfrm>
            <a:off x="6609184" y="3039956"/>
            <a:ext cx="55587" cy="53920"/>
          </a:xfrm>
          <a:custGeom>
            <a:avLst/>
            <a:gdLst>
              <a:gd name="T0" fmla="*/ 0 w 17"/>
              <a:gd name="T1" fmla="*/ 16 h 17"/>
              <a:gd name="T2" fmla="*/ 16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16"/>
                </a:lnTo>
                <a:lnTo>
                  <a:pt x="16" y="0"/>
                </a:lnTo>
                <a:lnTo>
                  <a:pt x="0" y="0"/>
                </a:lnTo>
                <a:lnTo>
                  <a:pt x="0" y="16"/>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69" name="Freeform 67"/>
          <p:cNvSpPr>
            <a:spLocks/>
          </p:cNvSpPr>
          <p:nvPr/>
        </p:nvSpPr>
        <p:spPr bwMode="auto">
          <a:xfrm>
            <a:off x="7083307" y="2859165"/>
            <a:ext cx="271395" cy="310834"/>
          </a:xfrm>
          <a:custGeom>
            <a:avLst/>
            <a:gdLst>
              <a:gd name="T0" fmla="*/ 0 w 83"/>
              <a:gd name="T1" fmla="*/ 57 h 98"/>
              <a:gd name="T2" fmla="*/ 0 w 83"/>
              <a:gd name="T3" fmla="*/ 66 h 98"/>
              <a:gd name="T4" fmla="*/ 10 w 83"/>
              <a:gd name="T5" fmla="*/ 66 h 98"/>
              <a:gd name="T6" fmla="*/ 10 w 83"/>
              <a:gd name="T7" fmla="*/ 74 h 98"/>
              <a:gd name="T8" fmla="*/ 10 w 83"/>
              <a:gd name="T9" fmla="*/ 97 h 98"/>
              <a:gd name="T10" fmla="*/ 17 w 83"/>
              <a:gd name="T11" fmla="*/ 90 h 98"/>
              <a:gd name="T12" fmla="*/ 17 w 83"/>
              <a:gd name="T13" fmla="*/ 66 h 98"/>
              <a:gd name="T14" fmla="*/ 25 w 83"/>
              <a:gd name="T15" fmla="*/ 57 h 98"/>
              <a:gd name="T16" fmla="*/ 34 w 83"/>
              <a:gd name="T17" fmla="*/ 57 h 98"/>
              <a:gd name="T18" fmla="*/ 25 w 83"/>
              <a:gd name="T19" fmla="*/ 66 h 98"/>
              <a:gd name="T20" fmla="*/ 34 w 83"/>
              <a:gd name="T21" fmla="*/ 74 h 98"/>
              <a:gd name="T22" fmla="*/ 34 w 83"/>
              <a:gd name="T23" fmla="*/ 82 h 98"/>
              <a:gd name="T24" fmla="*/ 50 w 83"/>
              <a:gd name="T25" fmla="*/ 82 h 98"/>
              <a:gd name="T26" fmla="*/ 50 w 83"/>
              <a:gd name="T27" fmla="*/ 97 h 98"/>
              <a:gd name="T28" fmla="*/ 57 w 83"/>
              <a:gd name="T29" fmla="*/ 90 h 98"/>
              <a:gd name="T30" fmla="*/ 57 w 83"/>
              <a:gd name="T31" fmla="*/ 82 h 98"/>
              <a:gd name="T32" fmla="*/ 42 w 83"/>
              <a:gd name="T33" fmla="*/ 66 h 98"/>
              <a:gd name="T34" fmla="*/ 50 w 83"/>
              <a:gd name="T35" fmla="*/ 66 h 98"/>
              <a:gd name="T36" fmla="*/ 34 w 83"/>
              <a:gd name="T37" fmla="*/ 50 h 98"/>
              <a:gd name="T38" fmla="*/ 50 w 83"/>
              <a:gd name="T39" fmla="*/ 34 h 98"/>
              <a:gd name="T40" fmla="*/ 57 w 83"/>
              <a:gd name="T41" fmla="*/ 34 h 98"/>
              <a:gd name="T42" fmla="*/ 25 w 83"/>
              <a:gd name="T43" fmla="*/ 41 h 98"/>
              <a:gd name="T44" fmla="*/ 17 w 83"/>
              <a:gd name="T45" fmla="*/ 34 h 98"/>
              <a:gd name="T46" fmla="*/ 17 w 83"/>
              <a:gd name="T47" fmla="*/ 25 h 98"/>
              <a:gd name="T48" fmla="*/ 25 w 83"/>
              <a:gd name="T49" fmla="*/ 17 h 98"/>
              <a:gd name="T50" fmla="*/ 75 w 83"/>
              <a:gd name="T51" fmla="*/ 17 h 98"/>
              <a:gd name="T52" fmla="*/ 82 w 83"/>
              <a:gd name="T53" fmla="*/ 0 h 98"/>
              <a:gd name="T54" fmla="*/ 66 w 83"/>
              <a:gd name="T55" fmla="*/ 9 h 98"/>
              <a:gd name="T56" fmla="*/ 50 w 83"/>
              <a:gd name="T57" fmla="*/ 17 h 98"/>
              <a:gd name="T58" fmla="*/ 25 w 83"/>
              <a:gd name="T59" fmla="*/ 9 h 98"/>
              <a:gd name="T60" fmla="*/ 25 w 83"/>
              <a:gd name="T61" fmla="*/ 17 h 98"/>
              <a:gd name="T62" fmla="*/ 17 w 83"/>
              <a:gd name="T63" fmla="*/ 17 h 98"/>
              <a:gd name="T64" fmla="*/ 17 w 83"/>
              <a:gd name="T65" fmla="*/ 34 h 98"/>
              <a:gd name="T66" fmla="*/ 0 w 83"/>
              <a:gd name="T67" fmla="*/ 5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0" name="Freeform 68"/>
          <p:cNvSpPr>
            <a:spLocks/>
          </p:cNvSpPr>
          <p:nvPr/>
        </p:nvSpPr>
        <p:spPr bwMode="auto">
          <a:xfrm>
            <a:off x="7433178" y="2840134"/>
            <a:ext cx="55587" cy="130043"/>
          </a:xfrm>
          <a:custGeom>
            <a:avLst/>
            <a:gdLst>
              <a:gd name="T0" fmla="*/ 0 w 17"/>
              <a:gd name="T1" fmla="*/ 15 h 41"/>
              <a:gd name="T2" fmla="*/ 8 w 17"/>
              <a:gd name="T3" fmla="*/ 31 h 41"/>
              <a:gd name="T4" fmla="*/ 16 w 17"/>
              <a:gd name="T5" fmla="*/ 40 h 41"/>
              <a:gd name="T6" fmla="*/ 8 w 17"/>
              <a:gd name="T7" fmla="*/ 31 h 41"/>
              <a:gd name="T8" fmla="*/ 8 w 17"/>
              <a:gd name="T9" fmla="*/ 23 h 41"/>
              <a:gd name="T10" fmla="*/ 16 w 17"/>
              <a:gd name="T11" fmla="*/ 23 h 41"/>
              <a:gd name="T12" fmla="*/ 16 w 17"/>
              <a:gd name="T13" fmla="*/ 15 h 41"/>
              <a:gd name="T14" fmla="*/ 16 w 17"/>
              <a:gd name="T15" fmla="*/ 6 h 41"/>
              <a:gd name="T16" fmla="*/ 16 w 17"/>
              <a:gd name="T17" fmla="*/ 15 h 41"/>
              <a:gd name="T18" fmla="*/ 8 w 17"/>
              <a:gd name="T19" fmla="*/ 0 h 41"/>
              <a:gd name="T20" fmla="*/ 0 w 17"/>
              <a:gd name="T21"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1" name="Freeform 69"/>
          <p:cNvSpPr>
            <a:spLocks/>
          </p:cNvSpPr>
          <p:nvPr/>
        </p:nvSpPr>
        <p:spPr bwMode="auto">
          <a:xfrm>
            <a:off x="7380861" y="3068502"/>
            <a:ext cx="55587" cy="53920"/>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2" name="Freeform 70"/>
          <p:cNvSpPr>
            <a:spLocks/>
          </p:cNvSpPr>
          <p:nvPr/>
        </p:nvSpPr>
        <p:spPr bwMode="auto">
          <a:xfrm>
            <a:off x="7459336" y="3039956"/>
            <a:ext cx="137332" cy="57092"/>
          </a:xfrm>
          <a:custGeom>
            <a:avLst/>
            <a:gdLst>
              <a:gd name="T0" fmla="*/ 0 w 42"/>
              <a:gd name="T1" fmla="*/ 9 h 18"/>
              <a:gd name="T2" fmla="*/ 41 w 42"/>
              <a:gd name="T3" fmla="*/ 17 h 18"/>
              <a:gd name="T4" fmla="*/ 32 w 42"/>
              <a:gd name="T5" fmla="*/ 9 h 18"/>
              <a:gd name="T6" fmla="*/ 25 w 42"/>
              <a:gd name="T7" fmla="*/ 0 h 18"/>
              <a:gd name="T8" fmla="*/ 7 w 42"/>
              <a:gd name="T9" fmla="*/ 0 h 18"/>
              <a:gd name="T10" fmla="*/ 0 w 42"/>
              <a:gd name="T11" fmla="*/ 9 h 18"/>
            </a:gdLst>
            <a:ahLst/>
            <a:cxnLst>
              <a:cxn ang="0">
                <a:pos x="T0" y="T1"/>
              </a:cxn>
              <a:cxn ang="0">
                <a:pos x="T2" y="T3"/>
              </a:cxn>
              <a:cxn ang="0">
                <a:pos x="T4" y="T5"/>
              </a:cxn>
              <a:cxn ang="0">
                <a:pos x="T6" y="T7"/>
              </a:cxn>
              <a:cxn ang="0">
                <a:pos x="T8" y="T9"/>
              </a:cxn>
              <a:cxn ang="0">
                <a:pos x="T10" y="T11"/>
              </a:cxn>
            </a:cxnLst>
            <a:rect l="0" t="0" r="r" b="b"/>
            <a:pathLst>
              <a:path w="42" h="18">
                <a:moveTo>
                  <a:pt x="0" y="9"/>
                </a:moveTo>
                <a:lnTo>
                  <a:pt x="41" y="17"/>
                </a:lnTo>
                <a:lnTo>
                  <a:pt x="32" y="9"/>
                </a:lnTo>
                <a:lnTo>
                  <a:pt x="25" y="0"/>
                </a:lnTo>
                <a:lnTo>
                  <a:pt x="7" y="0"/>
                </a:lnTo>
                <a:lnTo>
                  <a:pt x="0" y="9"/>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3" name="Freeform 71"/>
          <p:cNvSpPr>
            <a:spLocks/>
          </p:cNvSpPr>
          <p:nvPr/>
        </p:nvSpPr>
        <p:spPr bwMode="auto">
          <a:xfrm>
            <a:off x="7138894" y="2170888"/>
            <a:ext cx="163491" cy="231540"/>
          </a:xfrm>
          <a:custGeom>
            <a:avLst/>
            <a:gdLst>
              <a:gd name="T0" fmla="*/ 0 w 50"/>
              <a:gd name="T1" fmla="*/ 31 h 73"/>
              <a:gd name="T2" fmla="*/ 0 w 50"/>
              <a:gd name="T3" fmla="*/ 47 h 73"/>
              <a:gd name="T4" fmla="*/ 8 w 50"/>
              <a:gd name="T5" fmla="*/ 55 h 73"/>
              <a:gd name="T6" fmla="*/ 8 w 50"/>
              <a:gd name="T7" fmla="*/ 65 h 73"/>
              <a:gd name="T8" fmla="*/ 17 w 50"/>
              <a:gd name="T9" fmla="*/ 65 h 73"/>
              <a:gd name="T10" fmla="*/ 25 w 50"/>
              <a:gd name="T11" fmla="*/ 65 h 73"/>
              <a:gd name="T12" fmla="*/ 33 w 50"/>
              <a:gd name="T13" fmla="*/ 72 h 73"/>
              <a:gd name="T14" fmla="*/ 33 w 50"/>
              <a:gd name="T15" fmla="*/ 65 h 73"/>
              <a:gd name="T16" fmla="*/ 40 w 50"/>
              <a:gd name="T17" fmla="*/ 72 h 73"/>
              <a:gd name="T18" fmla="*/ 49 w 50"/>
              <a:gd name="T19" fmla="*/ 72 h 73"/>
              <a:gd name="T20" fmla="*/ 40 w 50"/>
              <a:gd name="T21" fmla="*/ 65 h 73"/>
              <a:gd name="T22" fmla="*/ 49 w 50"/>
              <a:gd name="T23" fmla="*/ 65 h 73"/>
              <a:gd name="T24" fmla="*/ 33 w 50"/>
              <a:gd name="T25" fmla="*/ 55 h 73"/>
              <a:gd name="T26" fmla="*/ 25 w 50"/>
              <a:gd name="T27" fmla="*/ 65 h 73"/>
              <a:gd name="T28" fmla="*/ 17 w 50"/>
              <a:gd name="T29" fmla="*/ 47 h 73"/>
              <a:gd name="T30" fmla="*/ 33 w 50"/>
              <a:gd name="T31" fmla="*/ 24 h 73"/>
              <a:gd name="T32" fmla="*/ 25 w 50"/>
              <a:gd name="T33" fmla="*/ 15 h 73"/>
              <a:gd name="T34" fmla="*/ 33 w 50"/>
              <a:gd name="T35" fmla="*/ 0 h 73"/>
              <a:gd name="T36" fmla="*/ 25 w 50"/>
              <a:gd name="T37" fmla="*/ 7 h 73"/>
              <a:gd name="T38" fmla="*/ 8 w 50"/>
              <a:gd name="T39" fmla="*/ 0 h 73"/>
              <a:gd name="T40" fmla="*/ 0 w 50"/>
              <a:gd name="T41"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4" name="Freeform 72"/>
          <p:cNvSpPr>
            <a:spLocks/>
          </p:cNvSpPr>
          <p:nvPr/>
        </p:nvSpPr>
        <p:spPr bwMode="auto">
          <a:xfrm>
            <a:off x="7004832" y="2478551"/>
            <a:ext cx="114444" cy="130043"/>
          </a:xfrm>
          <a:custGeom>
            <a:avLst/>
            <a:gdLst>
              <a:gd name="T0" fmla="*/ 0 w 35"/>
              <a:gd name="T1" fmla="*/ 40 h 41"/>
              <a:gd name="T2" fmla="*/ 34 w 35"/>
              <a:gd name="T3" fmla="*/ 8 h 41"/>
              <a:gd name="T4" fmla="*/ 34 w 35"/>
              <a:gd name="T5" fmla="*/ 0 h 41"/>
              <a:gd name="T6" fmla="*/ 0 w 35"/>
              <a:gd name="T7" fmla="*/ 40 h 41"/>
            </a:gdLst>
            <a:ahLst/>
            <a:cxnLst>
              <a:cxn ang="0">
                <a:pos x="T0" y="T1"/>
              </a:cxn>
              <a:cxn ang="0">
                <a:pos x="T2" y="T3"/>
              </a:cxn>
              <a:cxn ang="0">
                <a:pos x="T4" y="T5"/>
              </a:cxn>
              <a:cxn ang="0">
                <a:pos x="T6" y="T7"/>
              </a:cxn>
            </a:cxnLst>
            <a:rect l="0" t="0" r="r" b="b"/>
            <a:pathLst>
              <a:path w="35" h="41">
                <a:moveTo>
                  <a:pt x="0" y="40"/>
                </a:moveTo>
                <a:lnTo>
                  <a:pt x="34" y="8"/>
                </a:lnTo>
                <a:lnTo>
                  <a:pt x="34" y="0"/>
                </a:lnTo>
                <a:lnTo>
                  <a:pt x="0" y="4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5" name="Freeform 73"/>
          <p:cNvSpPr>
            <a:spLocks/>
          </p:cNvSpPr>
          <p:nvPr/>
        </p:nvSpPr>
        <p:spPr bwMode="auto">
          <a:xfrm>
            <a:off x="7138894" y="2399257"/>
            <a:ext cx="58857" cy="53920"/>
          </a:xfrm>
          <a:custGeom>
            <a:avLst/>
            <a:gdLst>
              <a:gd name="T0" fmla="*/ 0 w 18"/>
              <a:gd name="T1" fmla="*/ 0 h 17"/>
              <a:gd name="T2" fmla="*/ 17 w 18"/>
              <a:gd name="T3" fmla="*/ 16 h 17"/>
              <a:gd name="T4" fmla="*/ 17 w 18"/>
              <a:gd name="T5" fmla="*/ 8 h 17"/>
              <a:gd name="T6" fmla="*/ 17 w 18"/>
              <a:gd name="T7" fmla="*/ 0 h 17"/>
              <a:gd name="T8" fmla="*/ 0 w 18"/>
              <a:gd name="T9" fmla="*/ 0 h 17"/>
            </a:gdLst>
            <a:ahLst/>
            <a:cxnLst>
              <a:cxn ang="0">
                <a:pos x="T0" y="T1"/>
              </a:cxn>
              <a:cxn ang="0">
                <a:pos x="T2" y="T3"/>
              </a:cxn>
              <a:cxn ang="0">
                <a:pos x="T4" y="T5"/>
              </a:cxn>
              <a:cxn ang="0">
                <a:pos x="T6" y="T7"/>
              </a:cxn>
              <a:cxn ang="0">
                <a:pos x="T8" y="T9"/>
              </a:cxn>
            </a:cxnLst>
            <a:rect l="0" t="0" r="r" b="b"/>
            <a:pathLst>
              <a:path w="18" h="17">
                <a:moveTo>
                  <a:pt x="0" y="0"/>
                </a:moveTo>
                <a:lnTo>
                  <a:pt x="17" y="16"/>
                </a:lnTo>
                <a:lnTo>
                  <a:pt x="17" y="8"/>
                </a:lnTo>
                <a:lnTo>
                  <a:pt x="17" y="0"/>
                </a:lnTo>
                <a:lnTo>
                  <a:pt x="0" y="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6" name="Freeform 74"/>
          <p:cNvSpPr>
            <a:spLocks/>
          </p:cNvSpPr>
          <p:nvPr/>
        </p:nvSpPr>
        <p:spPr bwMode="auto">
          <a:xfrm>
            <a:off x="7328544" y="2424631"/>
            <a:ext cx="55587" cy="104669"/>
          </a:xfrm>
          <a:custGeom>
            <a:avLst/>
            <a:gdLst>
              <a:gd name="T0" fmla="*/ 0 w 17"/>
              <a:gd name="T1" fmla="*/ 0 h 33"/>
              <a:gd name="T2" fmla="*/ 7 w 17"/>
              <a:gd name="T3" fmla="*/ 7 h 33"/>
              <a:gd name="T4" fmla="*/ 0 w 17"/>
              <a:gd name="T5" fmla="*/ 17 h 33"/>
              <a:gd name="T6" fmla="*/ 0 w 17"/>
              <a:gd name="T7" fmla="*/ 25 h 33"/>
              <a:gd name="T8" fmla="*/ 0 w 17"/>
              <a:gd name="T9" fmla="*/ 32 h 33"/>
              <a:gd name="T10" fmla="*/ 7 w 17"/>
              <a:gd name="T11" fmla="*/ 32 h 33"/>
              <a:gd name="T12" fmla="*/ 7 w 17"/>
              <a:gd name="T13" fmla="*/ 17 h 33"/>
              <a:gd name="T14" fmla="*/ 16 w 17"/>
              <a:gd name="T15" fmla="*/ 17 h 33"/>
              <a:gd name="T16" fmla="*/ 7 w 17"/>
              <a:gd name="T17" fmla="*/ 7 h 33"/>
              <a:gd name="T18" fmla="*/ 7 w 17"/>
              <a:gd name="T19" fmla="*/ 0 h 33"/>
              <a:gd name="T20" fmla="*/ 0 w 17"/>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7" name="Freeform 75"/>
          <p:cNvSpPr>
            <a:spLocks/>
          </p:cNvSpPr>
          <p:nvPr/>
        </p:nvSpPr>
        <p:spPr bwMode="auto">
          <a:xfrm>
            <a:off x="7220640" y="2446833"/>
            <a:ext cx="111174" cy="133215"/>
          </a:xfrm>
          <a:custGeom>
            <a:avLst/>
            <a:gdLst>
              <a:gd name="T0" fmla="*/ 0 w 34"/>
              <a:gd name="T1" fmla="*/ 18 h 42"/>
              <a:gd name="T2" fmla="*/ 8 w 34"/>
              <a:gd name="T3" fmla="*/ 18 h 42"/>
              <a:gd name="T4" fmla="*/ 8 w 34"/>
              <a:gd name="T5" fmla="*/ 25 h 42"/>
              <a:gd name="T6" fmla="*/ 15 w 34"/>
              <a:gd name="T7" fmla="*/ 41 h 42"/>
              <a:gd name="T8" fmla="*/ 15 w 34"/>
              <a:gd name="T9" fmla="*/ 34 h 42"/>
              <a:gd name="T10" fmla="*/ 15 w 34"/>
              <a:gd name="T11" fmla="*/ 25 h 42"/>
              <a:gd name="T12" fmla="*/ 33 w 34"/>
              <a:gd name="T13" fmla="*/ 34 h 42"/>
              <a:gd name="T14" fmla="*/ 33 w 34"/>
              <a:gd name="T15" fmla="*/ 25 h 42"/>
              <a:gd name="T16" fmla="*/ 24 w 34"/>
              <a:gd name="T17" fmla="*/ 25 h 42"/>
              <a:gd name="T18" fmla="*/ 24 w 34"/>
              <a:gd name="T19" fmla="*/ 10 h 42"/>
              <a:gd name="T20" fmla="*/ 15 w 34"/>
              <a:gd name="T21" fmla="*/ 18 h 42"/>
              <a:gd name="T22" fmla="*/ 15 w 34"/>
              <a:gd name="T23" fmla="*/ 10 h 42"/>
              <a:gd name="T24" fmla="*/ 8 w 34"/>
              <a:gd name="T25" fmla="*/ 0 h 42"/>
              <a:gd name="T26" fmla="*/ 0 w 34"/>
              <a:gd name="T27" fmla="*/ 0 h 42"/>
              <a:gd name="T28" fmla="*/ 0 w 34"/>
              <a:gd name="T29"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8" name="Freeform 76"/>
          <p:cNvSpPr>
            <a:spLocks/>
          </p:cNvSpPr>
          <p:nvPr/>
        </p:nvSpPr>
        <p:spPr bwMode="auto">
          <a:xfrm>
            <a:off x="7220640" y="2526128"/>
            <a:ext cx="183110" cy="187135"/>
          </a:xfrm>
          <a:custGeom>
            <a:avLst/>
            <a:gdLst>
              <a:gd name="T0" fmla="*/ 0 w 56"/>
              <a:gd name="T1" fmla="*/ 40 h 59"/>
              <a:gd name="T2" fmla="*/ 8 w 56"/>
              <a:gd name="T3" fmla="*/ 34 h 59"/>
              <a:gd name="T4" fmla="*/ 15 w 56"/>
              <a:gd name="T5" fmla="*/ 34 h 59"/>
              <a:gd name="T6" fmla="*/ 24 w 56"/>
              <a:gd name="T7" fmla="*/ 34 h 59"/>
              <a:gd name="T8" fmla="*/ 33 w 56"/>
              <a:gd name="T9" fmla="*/ 34 h 59"/>
              <a:gd name="T10" fmla="*/ 24 w 56"/>
              <a:gd name="T11" fmla="*/ 49 h 59"/>
              <a:gd name="T12" fmla="*/ 40 w 56"/>
              <a:gd name="T13" fmla="*/ 58 h 59"/>
              <a:gd name="T14" fmla="*/ 49 w 56"/>
              <a:gd name="T15" fmla="*/ 49 h 59"/>
              <a:gd name="T16" fmla="*/ 40 w 56"/>
              <a:gd name="T17" fmla="*/ 40 h 59"/>
              <a:gd name="T18" fmla="*/ 49 w 56"/>
              <a:gd name="T19" fmla="*/ 34 h 59"/>
              <a:gd name="T20" fmla="*/ 55 w 56"/>
              <a:gd name="T21" fmla="*/ 49 h 59"/>
              <a:gd name="T22" fmla="*/ 55 w 56"/>
              <a:gd name="T23" fmla="*/ 34 h 59"/>
              <a:gd name="T24" fmla="*/ 55 w 56"/>
              <a:gd name="T25" fmla="*/ 16 h 59"/>
              <a:gd name="T26" fmla="*/ 40 w 56"/>
              <a:gd name="T27" fmla="*/ 0 h 59"/>
              <a:gd name="T28" fmla="*/ 40 w 56"/>
              <a:gd name="T29" fmla="*/ 16 h 59"/>
              <a:gd name="T30" fmla="*/ 33 w 56"/>
              <a:gd name="T31" fmla="*/ 16 h 59"/>
              <a:gd name="T32" fmla="*/ 24 w 56"/>
              <a:gd name="T33" fmla="*/ 25 h 59"/>
              <a:gd name="T34" fmla="*/ 15 w 56"/>
              <a:gd name="T35" fmla="*/ 16 h 59"/>
              <a:gd name="T36" fmla="*/ 0 w 56"/>
              <a:gd name="T37" fmla="*/ 34 h 59"/>
              <a:gd name="T38" fmla="*/ 0 w 56"/>
              <a:gd name="T39"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79" name="Freeform 77"/>
          <p:cNvSpPr>
            <a:spLocks/>
          </p:cNvSpPr>
          <p:nvPr/>
        </p:nvSpPr>
        <p:spPr bwMode="auto">
          <a:xfrm>
            <a:off x="8306219" y="3093876"/>
            <a:ext cx="186380" cy="104669"/>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80" name="Freeform 78"/>
          <p:cNvSpPr>
            <a:spLocks/>
          </p:cNvSpPr>
          <p:nvPr/>
        </p:nvSpPr>
        <p:spPr bwMode="auto">
          <a:xfrm>
            <a:off x="8440282" y="3068502"/>
            <a:ext cx="81745" cy="53920"/>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solidFill>
            <a:srgbClr val="DCDCDC"/>
          </a:solidFill>
          <a:ln w="9525" cap="rnd"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81" name="Freeform 79"/>
          <p:cNvSpPr>
            <a:spLocks/>
          </p:cNvSpPr>
          <p:nvPr/>
        </p:nvSpPr>
        <p:spPr bwMode="auto">
          <a:xfrm>
            <a:off x="8597233" y="3144625"/>
            <a:ext cx="58857" cy="79294"/>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solidFill>
            <a:srgbClr val="DCDCDC"/>
          </a:solidFill>
          <a:ln w="9525" cap="rnd" cmpd="sng">
            <a:solidFill>
              <a:srgbClr val="FFFFFF"/>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82" name="Freeform 80"/>
          <p:cNvSpPr>
            <a:spLocks/>
          </p:cNvSpPr>
          <p:nvPr/>
        </p:nvSpPr>
        <p:spPr bwMode="auto">
          <a:xfrm>
            <a:off x="8783613" y="3293698"/>
            <a:ext cx="55587" cy="53920"/>
          </a:xfrm>
          <a:custGeom>
            <a:avLst/>
            <a:gdLst>
              <a:gd name="T0" fmla="*/ 0 w 17"/>
              <a:gd name="T1" fmla="*/ 0 h 17"/>
              <a:gd name="T2" fmla="*/ 0 w 17"/>
              <a:gd name="T3" fmla="*/ 16 h 17"/>
              <a:gd name="T4" fmla="*/ 16 w 17"/>
              <a:gd name="T5" fmla="*/ 16 h 17"/>
              <a:gd name="T6" fmla="*/ 0 w 17"/>
              <a:gd name="T7" fmla="*/ 0 h 17"/>
            </a:gdLst>
            <a:ahLst/>
            <a:cxnLst>
              <a:cxn ang="0">
                <a:pos x="T0" y="T1"/>
              </a:cxn>
              <a:cxn ang="0">
                <a:pos x="T2" y="T3"/>
              </a:cxn>
              <a:cxn ang="0">
                <a:pos x="T4" y="T5"/>
              </a:cxn>
              <a:cxn ang="0">
                <a:pos x="T6" y="T7"/>
              </a:cxn>
            </a:cxnLst>
            <a:rect l="0" t="0" r="r" b="b"/>
            <a:pathLst>
              <a:path w="17" h="17">
                <a:moveTo>
                  <a:pt x="0" y="0"/>
                </a:moveTo>
                <a:lnTo>
                  <a:pt x="0" y="16"/>
                </a:lnTo>
                <a:lnTo>
                  <a:pt x="16" y="16"/>
                </a:lnTo>
                <a:lnTo>
                  <a:pt x="0" y="0"/>
                </a:lnTo>
              </a:path>
            </a:pathLst>
          </a:custGeom>
          <a:solidFill>
            <a:srgbClr val="DCDCDC"/>
          </a:solidFill>
          <a:ln w="9525" cap="rnd" cmpd="sng">
            <a:solidFill>
              <a:srgbClr val="FFFFFF"/>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457200"/>
            <a:endParaRPr lang="en-US" sz="2000" dirty="0">
              <a:solidFill>
                <a:srgbClr val="000000"/>
              </a:solidFill>
              <a:latin typeface="Calibri"/>
              <a:ea typeface="ＭＳ Ｐゴシック" pitchFamily="127" charset="-128"/>
              <a:sym typeface="Calibri"/>
            </a:endParaRPr>
          </a:p>
        </p:txBody>
      </p:sp>
      <p:sp>
        <p:nvSpPr>
          <p:cNvPr id="183" name="Line 81"/>
          <p:cNvSpPr>
            <a:spLocks noChangeShapeType="1"/>
          </p:cNvSpPr>
          <p:nvPr/>
        </p:nvSpPr>
        <p:spPr bwMode="auto">
          <a:xfrm>
            <a:off x="6874039" y="2012299"/>
            <a:ext cx="29428" cy="0"/>
          </a:xfrm>
          <a:prstGeom prst="line">
            <a:avLst/>
          </a:prstGeom>
          <a:noFill/>
          <a:ln w="9525">
            <a:solidFill>
              <a:schemeClr val="tx1"/>
            </a:solidFill>
            <a:round/>
            <a:headEnd type="none" w="sm" len="sm"/>
            <a:tailEnd type="none" w="sm" len="sm"/>
          </a:ln>
          <a:effectLst/>
          <a:extLst>
            <a:ext uri="{909E8E84-426E-40DD-AFC4-6F175D3DCCD1}">
              <a14:hiddenFill xmlns:a14="http://schemas.microsoft.com/office/drawing/2010/main">
                <a:solidFill>
                  <a:srgbClr val="DCDCDC"/>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457200"/>
            <a:endParaRPr lang="en-US" sz="2000" dirty="0">
              <a:solidFill>
                <a:srgbClr val="000000"/>
              </a:solidFill>
              <a:latin typeface="Calibri"/>
              <a:ea typeface="ＭＳ Ｐゴシック" pitchFamily="127" charset="-128"/>
              <a:sym typeface="Calibri"/>
            </a:endParaRPr>
          </a:p>
        </p:txBody>
      </p:sp>
      <p:grpSp>
        <p:nvGrpSpPr>
          <p:cNvPr id="185" name="Group 184"/>
          <p:cNvGrpSpPr/>
          <p:nvPr/>
        </p:nvGrpSpPr>
        <p:grpSpPr>
          <a:xfrm>
            <a:off x="5270500" y="1793960"/>
            <a:ext cx="3111500" cy="1245996"/>
            <a:chOff x="5270500" y="1793960"/>
            <a:chExt cx="3111500" cy="1245996"/>
          </a:xfrm>
        </p:grpSpPr>
        <p:sp>
          <p:nvSpPr>
            <p:cNvPr id="186" name="Rectangle 140"/>
            <p:cNvSpPr>
              <a:spLocks noChangeArrowheads="1"/>
            </p:cNvSpPr>
            <p:nvPr/>
          </p:nvSpPr>
          <p:spPr bwMode="auto">
            <a:xfrm>
              <a:off x="5270500" y="1905000"/>
              <a:ext cx="215900" cy="1079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smtClean="0">
                  <a:solidFill>
                    <a:srgbClr val="000000"/>
                  </a:solidFill>
                  <a:latin typeface="Calibri"/>
                  <a:ea typeface="ＭＳ Ｐゴシック" pitchFamily="127" charset="-128"/>
                  <a:sym typeface="Calibri"/>
                </a:rPr>
                <a:t>India</a:t>
              </a:r>
              <a:endParaRPr lang="en-US" sz="700" dirty="0">
                <a:solidFill>
                  <a:srgbClr val="000000"/>
                </a:solidFill>
                <a:latin typeface="Calibri"/>
                <a:ea typeface="ＭＳ Ｐゴシック" pitchFamily="127" charset="-128"/>
                <a:sym typeface="Calibri"/>
              </a:endParaRPr>
            </a:p>
          </p:txBody>
        </p:sp>
        <p:sp>
          <p:nvSpPr>
            <p:cNvPr id="187" name="Rectangle 140"/>
            <p:cNvSpPr>
              <a:spLocks noChangeArrowheads="1"/>
            </p:cNvSpPr>
            <p:nvPr/>
          </p:nvSpPr>
          <p:spPr bwMode="auto">
            <a:xfrm>
              <a:off x="8166100" y="2863850"/>
              <a:ext cx="215900" cy="107950"/>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895350">
                <a:buSzPct val="120000"/>
              </a:pPr>
              <a:r>
                <a:rPr lang="en-US" sz="700" dirty="0" smtClean="0">
                  <a:solidFill>
                    <a:srgbClr val="000000"/>
                  </a:solidFill>
                  <a:latin typeface="Calibri"/>
                  <a:ea typeface="ＭＳ Ｐゴシック" pitchFamily="127" charset="-128"/>
                  <a:sym typeface="Calibri"/>
                </a:rPr>
                <a:t>PNG</a:t>
              </a:r>
              <a:endParaRPr lang="en-US" sz="700" dirty="0">
                <a:solidFill>
                  <a:srgbClr val="000000"/>
                </a:solidFill>
                <a:latin typeface="Calibri"/>
                <a:ea typeface="ＭＳ Ｐゴシック" pitchFamily="127" charset="-128"/>
                <a:sym typeface="Calibri"/>
              </a:endParaRPr>
            </a:p>
          </p:txBody>
        </p:sp>
        <p:cxnSp>
          <p:nvCxnSpPr>
            <p:cNvPr id="188" name="Straight Connector 187"/>
            <p:cNvCxnSpPr>
              <a:stCxn id="187" idx="1"/>
            </p:cNvCxnSpPr>
            <p:nvPr/>
          </p:nvCxnSpPr>
          <p:spPr>
            <a:xfrm flipH="1">
              <a:off x="8018475" y="2917825"/>
              <a:ext cx="147625" cy="12213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9" name="Rectangle 140"/>
            <p:cNvSpPr>
              <a:spLocks noChangeArrowheads="1"/>
            </p:cNvSpPr>
            <p:nvPr/>
          </p:nvSpPr>
          <p:spPr bwMode="auto">
            <a:xfrm>
              <a:off x="6733367" y="2209800"/>
              <a:ext cx="353233" cy="107722"/>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SzPct val="120000"/>
              </a:pPr>
              <a:r>
                <a:rPr lang="en-US" sz="700" dirty="0" smtClean="0">
                  <a:solidFill>
                    <a:srgbClr val="000000"/>
                  </a:solidFill>
                  <a:latin typeface="Calibri"/>
                  <a:ea typeface="ＭＳ Ｐゴシック" pitchFamily="127" charset="-128"/>
                  <a:sym typeface="Calibri"/>
                </a:rPr>
                <a:t>Vietnam</a:t>
              </a:r>
              <a:endParaRPr lang="en-US" sz="700" dirty="0">
                <a:solidFill>
                  <a:srgbClr val="000000"/>
                </a:solidFill>
                <a:latin typeface="Calibri"/>
                <a:ea typeface="ＭＳ Ｐゴシック" pitchFamily="127" charset="-128"/>
                <a:sym typeface="Calibri"/>
              </a:endParaRPr>
            </a:p>
          </p:txBody>
        </p:sp>
        <p:cxnSp>
          <p:nvCxnSpPr>
            <p:cNvPr id="190" name="Straight Connector 189"/>
            <p:cNvCxnSpPr>
              <a:stCxn id="189" idx="1"/>
            </p:cNvCxnSpPr>
            <p:nvPr/>
          </p:nvCxnSpPr>
          <p:spPr>
            <a:xfrm flipH="1">
              <a:off x="6690929" y="2263661"/>
              <a:ext cx="42438" cy="1133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1" name="Rectangle 140"/>
            <p:cNvSpPr>
              <a:spLocks noChangeArrowheads="1"/>
            </p:cNvSpPr>
            <p:nvPr/>
          </p:nvSpPr>
          <p:spPr bwMode="auto">
            <a:xfrm>
              <a:off x="5867400" y="2483078"/>
              <a:ext cx="434979"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SzPct val="120000"/>
              </a:pPr>
              <a:r>
                <a:rPr lang="en-US" sz="700" dirty="0" smtClean="0">
                  <a:solidFill>
                    <a:srgbClr val="000000"/>
                  </a:solidFill>
                  <a:latin typeface="Calibri"/>
                  <a:ea typeface="ＭＳ Ｐゴシック" pitchFamily="127" charset="-128"/>
                  <a:sym typeface="Calibri"/>
                </a:rPr>
                <a:t>Cambodia</a:t>
              </a:r>
              <a:endParaRPr lang="en-US" sz="700" dirty="0">
                <a:solidFill>
                  <a:srgbClr val="000000"/>
                </a:solidFill>
                <a:latin typeface="Calibri"/>
                <a:ea typeface="ＭＳ Ｐゴシック" pitchFamily="127" charset="-128"/>
                <a:sym typeface="Calibri"/>
              </a:endParaRPr>
            </a:p>
          </p:txBody>
        </p:sp>
        <p:cxnSp>
          <p:nvCxnSpPr>
            <p:cNvPr id="192" name="Straight Connector 191"/>
            <p:cNvCxnSpPr>
              <a:stCxn id="191" idx="3"/>
            </p:cNvCxnSpPr>
            <p:nvPr/>
          </p:nvCxnSpPr>
          <p:spPr>
            <a:xfrm flipV="1">
              <a:off x="6302379" y="2446833"/>
              <a:ext cx="120425" cy="901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3" name="Rectangle 140"/>
            <p:cNvSpPr>
              <a:spLocks noChangeArrowheads="1"/>
            </p:cNvSpPr>
            <p:nvPr/>
          </p:nvSpPr>
          <p:spPr bwMode="auto">
            <a:xfrm>
              <a:off x="6353925" y="1793960"/>
              <a:ext cx="427875" cy="107722"/>
            </a:xfrm>
            <a:prstGeom prst="rect">
              <a:avLst/>
            </a:prstGeom>
            <a:noFill/>
            <a:ln w="9525">
              <a:solidFill>
                <a:srgbClr val="FFFF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SzPct val="120000"/>
              </a:pPr>
              <a:r>
                <a:rPr lang="en-US" sz="700" dirty="0" smtClean="0">
                  <a:solidFill>
                    <a:srgbClr val="000000"/>
                  </a:solidFill>
                  <a:latin typeface="Calibri"/>
                  <a:ea typeface="ＭＳ Ｐゴシック" pitchFamily="127" charset="-128"/>
                  <a:sym typeface="Calibri"/>
                </a:rPr>
                <a:t>Myanmar</a:t>
              </a:r>
              <a:endParaRPr lang="en-US" sz="700" dirty="0">
                <a:solidFill>
                  <a:srgbClr val="000000"/>
                </a:solidFill>
                <a:latin typeface="Calibri"/>
                <a:ea typeface="ＭＳ Ｐゴシック" pitchFamily="127" charset="-128"/>
                <a:sym typeface="Calibri"/>
              </a:endParaRPr>
            </a:p>
          </p:txBody>
        </p:sp>
        <p:cxnSp>
          <p:nvCxnSpPr>
            <p:cNvPr id="194" name="Straight Connector 193"/>
            <p:cNvCxnSpPr>
              <a:stCxn id="193" idx="1"/>
            </p:cNvCxnSpPr>
            <p:nvPr/>
          </p:nvCxnSpPr>
          <p:spPr>
            <a:xfrm flipH="1">
              <a:off x="6262584" y="1847821"/>
              <a:ext cx="91341" cy="11690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5" name="object 6"/>
          <p:cNvSpPr/>
          <p:nvPr/>
        </p:nvSpPr>
        <p:spPr>
          <a:xfrm>
            <a:off x="3175" y="0"/>
            <a:ext cx="9140825" cy="914400"/>
          </a:xfrm>
          <a:custGeom>
            <a:avLst/>
            <a:gdLst/>
            <a:ahLst/>
            <a:cxnLst/>
            <a:rect l="l" t="t" r="r" b="b"/>
            <a:pathLst>
              <a:path w="9140825" h="914400">
                <a:moveTo>
                  <a:pt x="0" y="914400"/>
                </a:moveTo>
                <a:lnTo>
                  <a:pt x="9140825" y="914400"/>
                </a:lnTo>
                <a:lnTo>
                  <a:pt x="9140825" y="0"/>
                </a:lnTo>
                <a:lnTo>
                  <a:pt x="0" y="0"/>
                </a:lnTo>
                <a:lnTo>
                  <a:pt x="0" y="914400"/>
                </a:lnTo>
                <a:close/>
              </a:path>
            </a:pathLst>
          </a:custGeom>
          <a:solidFill>
            <a:srgbClr val="003366"/>
          </a:solidFill>
        </p:spPr>
        <p:txBody>
          <a:bodyPr wrap="square" lIns="0" tIns="0" rIns="0" bIns="0" rtlCol="0">
            <a:noAutofit/>
          </a:bodyPr>
          <a:lstStyle/>
          <a:p>
            <a:pPr defTabSz="457200"/>
            <a:endParaRPr sz="2000" dirty="0">
              <a:solidFill>
                <a:prstClr val="black"/>
              </a:solidFill>
              <a:latin typeface="Arial" pitchFamily="127" charset="0"/>
              <a:ea typeface="ＭＳ Ｐゴシック" pitchFamily="127" charset="-128"/>
            </a:endParaRPr>
          </a:p>
        </p:txBody>
      </p:sp>
      <p:sp>
        <p:nvSpPr>
          <p:cNvPr id="2" name="Title 1"/>
          <p:cNvSpPr>
            <a:spLocks noGrp="1"/>
          </p:cNvSpPr>
          <p:nvPr>
            <p:ph type="title"/>
          </p:nvPr>
        </p:nvSpPr>
        <p:spPr>
          <a:xfrm>
            <a:off x="172408" y="56766"/>
            <a:ext cx="8971592" cy="800867"/>
          </a:xfrm>
        </p:spPr>
        <p:txBody>
          <a:bodyPr>
            <a:noAutofit/>
          </a:bodyPr>
          <a:lstStyle/>
          <a:p>
            <a:r>
              <a:rPr lang="en-US" sz="2000" b="1" dirty="0" smtClean="0">
                <a:latin typeface="Calibri" panose="020F0502020204030204" pitchFamily="34" charset="0"/>
              </a:rPr>
              <a:t>Dolutegravir</a:t>
            </a:r>
            <a:r>
              <a:rPr lang="en-US" sz="2000" b="1" dirty="0">
                <a:latin typeface="Calibri" panose="020F0502020204030204" pitchFamily="34" charset="0"/>
              </a:rPr>
              <a:t> </a:t>
            </a:r>
            <a:r>
              <a:rPr lang="en-US" sz="2000" b="1" dirty="0" smtClean="0">
                <a:latin typeface="Calibri" panose="020F0502020204030204" pitchFamily="34" charset="0"/>
              </a:rPr>
              <a:t>(DTG) is a new and highly optimal ARV. </a:t>
            </a:r>
            <a:r>
              <a:rPr lang="en-US" sz="2000" dirty="0" smtClean="0">
                <a:latin typeface="Calibri" panose="020F0502020204030204" pitchFamily="34" charset="0"/>
              </a:rPr>
              <a:t/>
            </a:r>
            <a:br>
              <a:rPr lang="en-US" sz="2000" dirty="0" smtClean="0">
                <a:latin typeface="Calibri" panose="020F0502020204030204" pitchFamily="34" charset="0"/>
              </a:rPr>
            </a:br>
            <a:r>
              <a:rPr lang="en-US" sz="2000" dirty="0" smtClean="0">
                <a:latin typeface="Calibri" panose="020F0502020204030204" pitchFamily="34" charset="0"/>
              </a:rPr>
              <a:t>CHAI is supporting DTG adoption and introduction across all focal countries, as well as limited procurement for three early adopter countries – Kenya, Uganda, Nigeria</a:t>
            </a:r>
            <a:endParaRPr lang="en-US" sz="2000" dirty="0">
              <a:solidFill>
                <a:schemeClr val="bg1"/>
              </a:solidFill>
              <a:latin typeface="Calibri" panose="020F0502020204030204" pitchFamily="34" charset="0"/>
            </a:endParaRPr>
          </a:p>
        </p:txBody>
      </p:sp>
      <p:cxnSp>
        <p:nvCxnSpPr>
          <p:cNvPr id="196" name="Straight Connector 195"/>
          <p:cNvCxnSpPr/>
          <p:nvPr/>
        </p:nvCxnSpPr>
        <p:spPr>
          <a:xfrm>
            <a:off x="4023790" y="4751289"/>
            <a:ext cx="181998" cy="1213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00" name="Table 199"/>
          <p:cNvGraphicFramePr>
            <a:graphicFrameLocks noGrp="1"/>
          </p:cNvGraphicFramePr>
          <p:nvPr>
            <p:extLst>
              <p:ext uri="{D42A27DB-BD31-4B8C-83A1-F6EECF244321}">
                <p14:modId xmlns:p14="http://schemas.microsoft.com/office/powerpoint/2010/main" val="3756081611"/>
              </p:ext>
            </p:extLst>
          </p:nvPr>
        </p:nvGraphicFramePr>
        <p:xfrm>
          <a:off x="5761611" y="4506147"/>
          <a:ext cx="3238500" cy="2011989"/>
        </p:xfrm>
        <a:graphic>
          <a:graphicData uri="http://schemas.openxmlformats.org/drawingml/2006/table">
            <a:tbl>
              <a:tblPr>
                <a:tableStyleId>{5C22544A-7EE6-4342-B048-85BDC9FD1C3A}</a:tableStyleId>
              </a:tblPr>
              <a:tblGrid>
                <a:gridCol w="516287"/>
                <a:gridCol w="2722213"/>
              </a:tblGrid>
              <a:tr h="227513">
                <a:tc gridSpan="2">
                  <a:txBody>
                    <a:bodyPr/>
                    <a:lstStyle/>
                    <a:p>
                      <a:pPr algn="ctr"/>
                      <a:r>
                        <a:rPr lang="en-US" sz="1800" b="1" dirty="0" smtClean="0">
                          <a:solidFill>
                            <a:schemeClr val="tx1"/>
                          </a:solidFill>
                        </a:rPr>
                        <a:t>DTG/TLD</a:t>
                      </a:r>
                      <a:r>
                        <a:rPr lang="en-US" sz="1800" b="1" baseline="0" dirty="0" smtClean="0">
                          <a:solidFill>
                            <a:schemeClr val="tx1"/>
                          </a:solidFill>
                        </a:rPr>
                        <a:t> Guideline Adoption</a:t>
                      </a:r>
                      <a:endParaRPr lang="en-US" sz="1800" b="1" dirty="0">
                        <a:solidFill>
                          <a:schemeClr val="tx1"/>
                        </a:solidFill>
                      </a:endParaRPr>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a:endParaRPr lang="en-US" sz="1050" dirty="0">
                        <a:solidFill>
                          <a:schemeClr val="tx1"/>
                        </a:solidFill>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27953">
                <a:tc>
                  <a:txBody>
                    <a:bodyPr/>
                    <a:lstStyle/>
                    <a:p>
                      <a:pPr algn="l"/>
                      <a:endParaRPr lang="en-US" sz="1050" dirty="0"/>
                    </a:p>
                  </a:txBody>
                  <a:tcPr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050" b="1" baseline="0" dirty="0" smtClean="0">
                          <a:solidFill>
                            <a:schemeClr val="tx1"/>
                          </a:solidFill>
                        </a:rPr>
                        <a:t>No data collected or non-focal country</a:t>
                      </a:r>
                      <a:endParaRPr lang="en-US" sz="1050" b="1" dirty="0">
                        <a:solidFill>
                          <a:schemeClr val="tx1"/>
                        </a:solidFill>
                      </a:endParaRPr>
                    </a:p>
                  </a:txBody>
                  <a:tcPr anchor="ctr">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5244">
                <a:tc>
                  <a:txBody>
                    <a:bodyPr/>
                    <a:lstStyle/>
                    <a:p>
                      <a:pPr algn="l"/>
                      <a:endParaRPr lang="en-US" sz="105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vl="0"/>
                      <a:r>
                        <a:rPr lang="en-US" sz="1050" b="1" dirty="0" smtClean="0">
                          <a:solidFill>
                            <a:schemeClr val="tx1"/>
                          </a:solidFill>
                        </a:rPr>
                        <a:t>Guideline process not started or</a:t>
                      </a:r>
                      <a:r>
                        <a:rPr lang="en-US" sz="1050" b="1" baseline="0" dirty="0" smtClean="0">
                          <a:solidFill>
                            <a:schemeClr val="tx1"/>
                          </a:solidFill>
                        </a:rPr>
                        <a:t> underway in focal country</a:t>
                      </a:r>
                      <a:endParaRPr lang="en-US" sz="1050" b="1" dirty="0">
                        <a:solidFill>
                          <a:schemeClr val="tx1"/>
                        </a:solidFill>
                      </a:endParaRP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48949">
                <a:tc>
                  <a:txBody>
                    <a:bodyPr/>
                    <a:lstStyle/>
                    <a:p>
                      <a:pPr algn="l"/>
                      <a:endParaRPr lang="en-US" sz="1050" dirty="0"/>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p>
                      <a:pPr lvl="0"/>
                      <a:r>
                        <a:rPr lang="en-US" sz="1050" b="1" baseline="0" dirty="0" smtClean="0">
                          <a:solidFill>
                            <a:schemeClr val="tx1"/>
                          </a:solidFill>
                        </a:rPr>
                        <a:t>included in guidelines or draft in focal country</a:t>
                      </a:r>
                      <a:endParaRPr lang="en-US" sz="1050" b="1" dirty="0" smtClean="0">
                        <a:solidFill>
                          <a:schemeClr val="tx1"/>
                        </a:solidFill>
                      </a:endParaRP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184" name="Slide Number Placeholder 183"/>
          <p:cNvSpPr>
            <a:spLocks noGrp="1"/>
          </p:cNvSpPr>
          <p:nvPr>
            <p:ph type="sldNum" sz="quarter" idx="12"/>
          </p:nvPr>
        </p:nvSpPr>
        <p:spPr/>
        <p:txBody>
          <a:bodyPr/>
          <a:lstStyle/>
          <a:p>
            <a:pPr>
              <a:defRPr/>
            </a:pPr>
            <a:fld id="{A14F054A-1A36-443C-BE9A-7E62A227BE57}" type="slidenum">
              <a:rPr lang="en-US" smtClean="0"/>
              <a:pPr>
                <a:defRPr/>
              </a:pPr>
              <a:t>17</a:t>
            </a:fld>
            <a:endParaRPr lang="en-US" dirty="0"/>
          </a:p>
        </p:txBody>
      </p:sp>
    </p:spTree>
    <p:extLst>
      <p:ext uri="{BB962C8B-B14F-4D97-AF65-F5344CB8AC3E}">
        <p14:creationId xmlns:p14="http://schemas.microsoft.com/office/powerpoint/2010/main" val="39302291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latin typeface="Calibri" panose="020F0502020204030204" pitchFamily="34" charset="0"/>
              </a:rPr>
              <a:t>Several countries have initiated early adoption and procurement of DTG that will lead to national scale-up when FDCs become available</a:t>
            </a:r>
            <a:endParaRPr lang="en-US" sz="2400" dirty="0">
              <a:latin typeface="Calibri" panose="020F0502020204030204" pitchFamily="34" charset="0"/>
            </a:endParaRPr>
          </a:p>
        </p:txBody>
      </p:sp>
      <p:sp>
        <p:nvSpPr>
          <p:cNvPr id="3" name="Slide Number Placeholder 2"/>
          <p:cNvSpPr>
            <a:spLocks noGrp="1"/>
          </p:cNvSpPr>
          <p:nvPr>
            <p:ph type="sldNum" sz="quarter" idx="12"/>
          </p:nvPr>
        </p:nvSpPr>
        <p:spPr/>
        <p:txBody>
          <a:bodyPr/>
          <a:lstStyle/>
          <a:p>
            <a:pPr>
              <a:defRPr/>
            </a:pPr>
            <a:fld id="{A14F054A-1A36-443C-BE9A-7E62A227BE57}" type="slidenum">
              <a:rPr lang="en-US" smtClean="0"/>
              <a:pPr>
                <a:defRPr/>
              </a:pPr>
              <a:t>18</a:t>
            </a:fld>
            <a:endParaRPr lang="en-US" dirty="0"/>
          </a:p>
        </p:txBody>
      </p:sp>
      <p:cxnSp>
        <p:nvCxnSpPr>
          <p:cNvPr id="17" name="Straight Connector 16"/>
          <p:cNvCxnSpPr/>
          <p:nvPr/>
        </p:nvCxnSpPr>
        <p:spPr>
          <a:xfrm flipH="1">
            <a:off x="255731" y="3100868"/>
            <a:ext cx="8616167"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22" name="Rectangle 21"/>
          <p:cNvSpPr/>
          <p:nvPr/>
        </p:nvSpPr>
        <p:spPr>
          <a:xfrm>
            <a:off x="4210492" y="1149680"/>
            <a:ext cx="4790205" cy="3068467"/>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87432" tIns="187452" rIns="687432" bIns="99568" numCol="1" spcCol="1270" anchor="t" anchorCtr="0">
            <a:noAutofit/>
          </a:bodyPr>
          <a:lstStyle/>
          <a:p>
            <a:pPr marL="114300" lvl="1" indent="-114300" defTabSz="622300">
              <a:lnSpc>
                <a:spcPct val="90000"/>
              </a:lnSpc>
              <a:spcAft>
                <a:spcPct val="15000"/>
              </a:spcAft>
              <a:buFontTx/>
              <a:buChar char="••"/>
            </a:pPr>
            <a:endParaRPr lang="en-US" sz="1400" dirty="0" smtClean="0">
              <a:solidFill>
                <a:srgbClr val="000000">
                  <a:hueOff val="0"/>
                  <a:satOff val="0"/>
                  <a:lumOff val="0"/>
                  <a:alphaOff val="0"/>
                </a:srgbClr>
              </a:solidFill>
              <a:latin typeface="Calibri" panose="020F0502020204030204" pitchFamily="34" charset="0"/>
            </a:endParaRPr>
          </a:p>
        </p:txBody>
      </p:sp>
      <p:sp>
        <p:nvSpPr>
          <p:cNvPr id="18" name="Rectangle 17"/>
          <p:cNvSpPr/>
          <p:nvPr/>
        </p:nvSpPr>
        <p:spPr bwMode="auto">
          <a:xfrm>
            <a:off x="4210492" y="1149680"/>
            <a:ext cx="3200401" cy="218928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n-US" sz="2400" b="1">
              <a:solidFill>
                <a:srgbClr val="000000"/>
              </a:solidFill>
              <a:latin typeface="Verdana" pitchFamily="-109" charset="0"/>
              <a:cs typeface="MS PGothic" pitchFamily="34" charset="-128"/>
            </a:endParaRPr>
          </a:p>
        </p:txBody>
      </p:sp>
      <p:sp>
        <p:nvSpPr>
          <p:cNvPr id="19" name="Rectangle 18"/>
          <p:cNvSpPr/>
          <p:nvPr/>
        </p:nvSpPr>
        <p:spPr>
          <a:xfrm>
            <a:off x="232457" y="3253279"/>
            <a:ext cx="8718569" cy="3533275"/>
          </a:xfrm>
          <a:prstGeom prst="rect">
            <a:avLst/>
          </a:prstGeom>
          <a:solidFill>
            <a:srgbClr val="FFFF99"/>
          </a:solidFill>
        </p:spPr>
        <p:txBody>
          <a:bodyPr wrap="square">
            <a:spAutoFit/>
          </a:bodyPr>
          <a:lstStyle/>
          <a:p>
            <a:pPr marL="0" lvl="1" defTabSz="622300">
              <a:lnSpc>
                <a:spcPct val="90000"/>
              </a:lnSpc>
              <a:spcAft>
                <a:spcPct val="15000"/>
              </a:spcAft>
            </a:pPr>
            <a:r>
              <a:rPr lang="en-US" sz="2000" b="1" dirty="0" smtClean="0">
                <a:solidFill>
                  <a:srgbClr val="000000"/>
                </a:solidFill>
                <a:latin typeface="Calibri" panose="020F0502020204030204" pitchFamily="34" charset="0"/>
                <a:ea typeface="ＭＳ Ｐゴシック" pitchFamily="127" charset="-128"/>
              </a:rPr>
              <a:t>CHAI-UNITAID Catalytic Procurement of DTG for Early Adopter Countries </a:t>
            </a:r>
          </a:p>
          <a:p>
            <a:pPr marL="0" lvl="1" defTabSz="622300">
              <a:lnSpc>
                <a:spcPct val="90000"/>
              </a:lnSpc>
              <a:spcAft>
                <a:spcPts val="600"/>
              </a:spcAft>
            </a:pPr>
            <a:endParaRPr lang="en-US" sz="800" dirty="0" smtClean="0">
              <a:solidFill>
                <a:srgbClr val="000000"/>
              </a:solidFill>
              <a:latin typeface="Calibri" panose="020F0502020204030204" pitchFamily="34" charset="0"/>
              <a:ea typeface="ＭＳ Ｐゴシック" pitchFamily="127" charset="-128"/>
            </a:endParaRPr>
          </a:p>
          <a:p>
            <a:pPr marL="114300" lvl="1" indent="-114300" defTabSz="622300">
              <a:lnSpc>
                <a:spcPct val="90000"/>
              </a:lnSpc>
              <a:spcAft>
                <a:spcPts val="600"/>
              </a:spcAft>
              <a:buFontTx/>
              <a:buChar char="••"/>
            </a:pPr>
            <a:r>
              <a:rPr lang="en-US" sz="1600" dirty="0" smtClean="0">
                <a:solidFill>
                  <a:srgbClr val="000000"/>
                </a:solidFill>
                <a:latin typeface="Calibri" panose="020F0502020204030204" pitchFamily="34" charset="0"/>
                <a:ea typeface="ＭＳ Ｐゴシック" pitchFamily="127" charset="-128"/>
              </a:rPr>
              <a:t>Three countries will roll out DTG and conduct enhanced implementation monitoring to determine key </a:t>
            </a:r>
            <a:r>
              <a:rPr lang="en-US" sz="1600" dirty="0">
                <a:solidFill>
                  <a:srgbClr val="000000"/>
                </a:solidFill>
                <a:latin typeface="Calibri" panose="020F0502020204030204" pitchFamily="34" charset="0"/>
                <a:ea typeface="ＭＳ Ｐゴシック" pitchFamily="127" charset="-128"/>
              </a:rPr>
              <a:t>requirements for national roll-out, and provide a platform for TLD FDC </a:t>
            </a:r>
            <a:r>
              <a:rPr lang="en-US" sz="1600" dirty="0" smtClean="0">
                <a:solidFill>
                  <a:srgbClr val="000000"/>
                </a:solidFill>
                <a:latin typeface="Calibri" panose="020F0502020204030204" pitchFamily="34" charset="0"/>
                <a:ea typeface="ＭＳ Ｐゴシック" pitchFamily="127" charset="-128"/>
              </a:rPr>
              <a:t>introduction</a:t>
            </a:r>
          </a:p>
          <a:p>
            <a:pPr marL="114300" lvl="1" indent="-114300" defTabSz="622300">
              <a:lnSpc>
                <a:spcPct val="90000"/>
              </a:lnSpc>
              <a:spcAft>
                <a:spcPts val="600"/>
              </a:spcAft>
              <a:buFontTx/>
              <a:buChar char="••"/>
            </a:pPr>
            <a:r>
              <a:rPr lang="en-US" sz="1600" dirty="0" smtClean="0">
                <a:solidFill>
                  <a:srgbClr val="000000"/>
                </a:solidFill>
                <a:latin typeface="Calibri" panose="020F0502020204030204" pitchFamily="34" charset="0"/>
                <a:ea typeface="ＭＳ Ｐゴシック" pitchFamily="127" charset="-128"/>
              </a:rPr>
              <a:t>Enhanced Implementation Monitoring: Focus will include enhanced </a:t>
            </a:r>
            <a:r>
              <a:rPr lang="en-US" sz="1600" dirty="0">
                <a:solidFill>
                  <a:srgbClr val="000000"/>
                </a:solidFill>
                <a:latin typeface="Calibri" panose="020F0502020204030204" pitchFamily="34" charset="0"/>
                <a:ea typeface="ＭＳ Ｐゴシック" pitchFamily="127" charset="-128"/>
              </a:rPr>
              <a:t>monitoring on </a:t>
            </a:r>
            <a:r>
              <a:rPr lang="en-US" sz="1600" dirty="0" smtClean="0">
                <a:solidFill>
                  <a:srgbClr val="000000"/>
                </a:solidFill>
                <a:latin typeface="Calibri" panose="020F0502020204030204" pitchFamily="34" charset="0"/>
                <a:ea typeface="ＭＳ Ｐゴシック" pitchFamily="127" charset="-128"/>
              </a:rPr>
              <a:t>toxicity; patient </a:t>
            </a:r>
            <a:r>
              <a:rPr lang="en-US" sz="1600" dirty="0">
                <a:solidFill>
                  <a:srgbClr val="000000"/>
                </a:solidFill>
                <a:latin typeface="Calibri" panose="020F0502020204030204" pitchFamily="34" charset="0"/>
                <a:ea typeface="ＭＳ Ｐゴシック" pitchFamily="127" charset="-128"/>
              </a:rPr>
              <a:t>acceptability and preference (e.g. for those with EFV-intolerance); prescriber and dispenser knowledge gaps; training needs; </a:t>
            </a:r>
            <a:r>
              <a:rPr lang="en-US" sz="1600" dirty="0" smtClean="0">
                <a:solidFill>
                  <a:srgbClr val="000000"/>
                </a:solidFill>
                <a:latin typeface="Calibri" panose="020F0502020204030204" pitchFamily="34" charset="0"/>
                <a:ea typeface="ＭＳ Ｐゴシック" pitchFamily="127" charset="-128"/>
              </a:rPr>
              <a:t>pregnancy monitoring; and viral suppression</a:t>
            </a:r>
          </a:p>
          <a:p>
            <a:pPr marL="0" lvl="1" defTabSz="622300">
              <a:lnSpc>
                <a:spcPct val="90000"/>
              </a:lnSpc>
              <a:spcAft>
                <a:spcPts val="600"/>
              </a:spcAft>
            </a:pPr>
            <a:endParaRPr lang="en-US" sz="1600" dirty="0" smtClean="0">
              <a:solidFill>
                <a:srgbClr val="000000"/>
              </a:solidFill>
              <a:latin typeface="Calibri" panose="020F0502020204030204" pitchFamily="34" charset="0"/>
              <a:ea typeface="ＭＳ Ｐゴシック" pitchFamily="127" charset="-128"/>
            </a:endParaRPr>
          </a:p>
          <a:p>
            <a:pPr marL="0" lvl="1" defTabSz="622300">
              <a:lnSpc>
                <a:spcPct val="90000"/>
              </a:lnSpc>
              <a:spcAft>
                <a:spcPts val="600"/>
              </a:spcAft>
            </a:pPr>
            <a:endParaRPr lang="en-US" altLang="en-US" sz="1400" dirty="0" smtClean="0">
              <a:solidFill>
                <a:srgbClr val="000000"/>
              </a:solidFill>
              <a:latin typeface="Calibri" panose="020F0502020204030204" pitchFamily="34" charset="0"/>
              <a:ea typeface="ＭＳ Ｐゴシック" pitchFamily="127" charset="-128"/>
            </a:endParaRPr>
          </a:p>
          <a:p>
            <a:pPr marL="114300" lvl="1" indent="-114300" defTabSz="622300">
              <a:lnSpc>
                <a:spcPct val="90000"/>
              </a:lnSpc>
              <a:spcAft>
                <a:spcPct val="15000"/>
              </a:spcAft>
              <a:buFontTx/>
              <a:buChar char="••"/>
            </a:pPr>
            <a:endParaRPr lang="en-US" altLang="en-US" sz="1400" dirty="0">
              <a:solidFill>
                <a:srgbClr val="000000"/>
              </a:solidFill>
              <a:latin typeface="Calibri" panose="020F0502020204030204" pitchFamily="34" charset="0"/>
              <a:ea typeface="ＭＳ Ｐゴシック" pitchFamily="127" charset="-128"/>
            </a:endParaRPr>
          </a:p>
          <a:p>
            <a:pPr marL="114300" lvl="1" indent="-114300" defTabSz="622300">
              <a:lnSpc>
                <a:spcPct val="90000"/>
              </a:lnSpc>
              <a:spcAft>
                <a:spcPct val="15000"/>
              </a:spcAft>
              <a:buFontTx/>
              <a:buChar char="••"/>
            </a:pPr>
            <a:endParaRPr lang="en-US" altLang="en-US" sz="1400" dirty="0" smtClean="0">
              <a:solidFill>
                <a:srgbClr val="000000"/>
              </a:solidFill>
              <a:latin typeface="Calibri" panose="020F0502020204030204" pitchFamily="34" charset="0"/>
              <a:ea typeface="ＭＳ Ｐゴシック" pitchFamily="127" charset="-128"/>
            </a:endParaRPr>
          </a:p>
          <a:p>
            <a:pPr marL="114300" lvl="1" indent="-114300" defTabSz="622300">
              <a:lnSpc>
                <a:spcPct val="90000"/>
              </a:lnSpc>
              <a:spcAft>
                <a:spcPct val="15000"/>
              </a:spcAft>
              <a:buFontTx/>
              <a:buChar char="••"/>
            </a:pPr>
            <a:endParaRPr lang="en-US" altLang="en-US" sz="1400" dirty="0">
              <a:solidFill>
                <a:srgbClr val="000000"/>
              </a:solidFill>
              <a:latin typeface="Calibri" panose="020F0502020204030204" pitchFamily="34" charset="0"/>
              <a:ea typeface="ＭＳ Ｐゴシック" pitchFamily="127" charset="-128"/>
            </a:endParaRPr>
          </a:p>
          <a:p>
            <a:pPr marL="0" lvl="1" defTabSz="622300">
              <a:lnSpc>
                <a:spcPct val="90000"/>
              </a:lnSpc>
              <a:spcAft>
                <a:spcPct val="15000"/>
              </a:spcAft>
            </a:pPr>
            <a:endParaRPr lang="en-US" altLang="en-US" sz="1400" dirty="0">
              <a:solidFill>
                <a:srgbClr val="000000"/>
              </a:solidFill>
              <a:latin typeface="Calibri" panose="020F0502020204030204" pitchFamily="34" charset="0"/>
              <a:ea typeface="ＭＳ Ｐゴシック" pitchFamily="127" charset="-128"/>
            </a:endParaRPr>
          </a:p>
          <a:p>
            <a:pPr marL="0" lvl="1" defTabSz="622300">
              <a:lnSpc>
                <a:spcPct val="90000"/>
              </a:lnSpc>
              <a:spcAft>
                <a:spcPct val="15000"/>
              </a:spcAft>
            </a:pPr>
            <a:endParaRPr lang="en-US" altLang="en-US" sz="600" dirty="0" smtClean="0">
              <a:solidFill>
                <a:srgbClr val="000000"/>
              </a:solidFill>
              <a:latin typeface="Calibri" panose="020F0502020204030204" pitchFamily="34" charset="0"/>
              <a:ea typeface="ＭＳ Ｐゴシック" pitchFamily="127" charset="-128"/>
            </a:endParaRPr>
          </a:p>
        </p:txBody>
      </p:sp>
      <p:sp>
        <p:nvSpPr>
          <p:cNvPr id="38" name="Rectangle 37"/>
          <p:cNvSpPr/>
          <p:nvPr/>
        </p:nvSpPr>
        <p:spPr>
          <a:xfrm>
            <a:off x="242083" y="1077313"/>
            <a:ext cx="8708943" cy="18569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274320" rIns="91440" bIns="274320" rtlCol="0" anchor="ctr"/>
          <a:lstStyle/>
          <a:p>
            <a:pPr defTabSz="457200"/>
            <a:r>
              <a:rPr lang="en-US" sz="2000" b="1" dirty="0" smtClean="0">
                <a:solidFill>
                  <a:prstClr val="black"/>
                </a:solidFill>
                <a:latin typeface="Calibri" panose="020F0502020204030204" pitchFamily="34" charset="0"/>
              </a:rPr>
              <a:t>DTG Product Adoption </a:t>
            </a:r>
            <a:endParaRPr lang="en-US" sz="1600" i="1" dirty="0" smtClean="0">
              <a:solidFill>
                <a:prstClr val="black"/>
              </a:solidFill>
              <a:latin typeface="Calibri" panose="020F0502020204030204" pitchFamily="34" charset="0"/>
            </a:endParaRPr>
          </a:p>
          <a:p>
            <a:pPr marL="109538" indent="-109538" defTabSz="457200">
              <a:spcAft>
                <a:spcPts val="600"/>
              </a:spcAft>
              <a:buFont typeface="Arial" panose="020B0604020202020204" pitchFamily="34" charset="0"/>
              <a:buChar char="•"/>
            </a:pPr>
            <a:r>
              <a:rPr lang="en-US" sz="1600" dirty="0" smtClean="0">
                <a:solidFill>
                  <a:prstClr val="black"/>
                </a:solidFill>
                <a:latin typeface="Calibri" panose="020F0502020204030204" pitchFamily="34" charset="0"/>
              </a:rPr>
              <a:t>CHAI has supported 6 countries to include DTG in final or draft guidelines, in addition to providing intensive support on TLD for the tender process in South Africa</a:t>
            </a:r>
          </a:p>
          <a:p>
            <a:pPr marL="109538" indent="-109538" defTabSz="457200">
              <a:spcAft>
                <a:spcPts val="600"/>
              </a:spcAft>
              <a:buFont typeface="Arial" panose="020B0604020202020204" pitchFamily="34" charset="0"/>
              <a:buChar char="•"/>
            </a:pPr>
            <a:r>
              <a:rPr lang="en-US" sz="1600" dirty="0" smtClean="0">
                <a:solidFill>
                  <a:prstClr val="black"/>
                </a:solidFill>
                <a:latin typeface="Calibri" panose="020F0502020204030204" pitchFamily="34" charset="0"/>
              </a:rPr>
              <a:t>Three countries are part of the CHAI-UNITAID procurement detailed below </a:t>
            </a:r>
          </a:p>
          <a:p>
            <a:pPr marL="109538" indent="-109538" defTabSz="457200">
              <a:spcAft>
                <a:spcPts val="600"/>
              </a:spcAft>
              <a:buFont typeface="Arial" panose="020B0604020202020204" pitchFamily="34" charset="0"/>
              <a:buChar char="•"/>
            </a:pPr>
            <a:r>
              <a:rPr lang="en-US" sz="1600" dirty="0" smtClean="0">
                <a:solidFill>
                  <a:prstClr val="black"/>
                </a:solidFill>
                <a:latin typeface="Calibri" panose="020F0502020204030204" pitchFamily="34" charset="0"/>
              </a:rPr>
              <a:t>In addition, Cambodia hopes to procure DTG singles in 2017 through their national procurement system,  to inform national scale-up with FDCs in the future</a:t>
            </a:r>
          </a:p>
          <a:p>
            <a:pPr marL="55563" defTabSz="457200"/>
            <a:endParaRPr lang="en-US" sz="400" dirty="0">
              <a:solidFill>
                <a:prstClr val="black"/>
              </a:solidFill>
            </a:endParaRPr>
          </a:p>
        </p:txBody>
      </p:sp>
      <p:grpSp>
        <p:nvGrpSpPr>
          <p:cNvPr id="11" name="Group 10"/>
          <p:cNvGrpSpPr/>
          <p:nvPr/>
        </p:nvGrpSpPr>
        <p:grpSpPr>
          <a:xfrm>
            <a:off x="6346209" y="5298504"/>
            <a:ext cx="2074355" cy="1397394"/>
            <a:chOff x="6346209" y="5230264"/>
            <a:chExt cx="2074355" cy="1397394"/>
          </a:xfrm>
        </p:grpSpPr>
        <p:grpSp>
          <p:nvGrpSpPr>
            <p:cNvPr id="4" name="Group 3"/>
            <p:cNvGrpSpPr/>
            <p:nvPr/>
          </p:nvGrpSpPr>
          <p:grpSpPr>
            <a:xfrm>
              <a:off x="6346209" y="5256058"/>
              <a:ext cx="2074355" cy="1371600"/>
              <a:chOff x="6346209" y="5256058"/>
              <a:chExt cx="2074355" cy="1371600"/>
            </a:xfrm>
          </p:grpSpPr>
          <p:sp>
            <p:nvSpPr>
              <p:cNvPr id="58" name="Rounded Rectangle 57"/>
              <p:cNvSpPr/>
              <p:nvPr/>
            </p:nvSpPr>
            <p:spPr>
              <a:xfrm>
                <a:off x="6346209" y="5256058"/>
                <a:ext cx="2074355" cy="1371600"/>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7200" b="1" dirty="0" smtClean="0">
                  <a:solidFill>
                    <a:prstClr val="white"/>
                  </a:solidFill>
                </a:endParaRPr>
              </a:p>
            </p:txBody>
          </p:sp>
          <p:sp>
            <p:nvSpPr>
              <p:cNvPr id="59" name="TextBox 58"/>
              <p:cNvSpPr txBox="1"/>
              <p:nvPr/>
            </p:nvSpPr>
            <p:spPr>
              <a:xfrm>
                <a:off x="6452368" y="5925567"/>
                <a:ext cx="1846531" cy="430887"/>
              </a:xfrm>
              <a:prstGeom prst="rect">
                <a:avLst/>
              </a:prstGeom>
              <a:solidFill>
                <a:schemeClr val="accent2">
                  <a:lumMod val="50000"/>
                </a:schemeClr>
              </a:solidFill>
            </p:spPr>
            <p:txBody>
              <a:bodyPr wrap="none" rtlCol="0">
                <a:spAutoFit/>
              </a:bodyPr>
              <a:lstStyle/>
              <a:p>
                <a:pPr algn="ctr" defTabSz="457200"/>
                <a:r>
                  <a:rPr lang="en-US" sz="2200" b="1" dirty="0" smtClean="0">
                    <a:solidFill>
                      <a:prstClr val="white"/>
                    </a:solidFill>
                    <a:latin typeface="Calibri"/>
                    <a:ea typeface="ＭＳ Ｐゴシック" pitchFamily="127" charset="-128"/>
                  </a:rPr>
                  <a:t>6,500 patients</a:t>
                </a:r>
                <a:endParaRPr lang="en-US" sz="2200" b="1" dirty="0">
                  <a:solidFill>
                    <a:prstClr val="white"/>
                  </a:solidFill>
                  <a:latin typeface="Calibri"/>
                  <a:ea typeface="ＭＳ Ｐゴシック" pitchFamily="127" charset="-128"/>
                </a:endParaRPr>
              </a:p>
            </p:txBody>
          </p:sp>
        </p:grpSp>
        <p:grpSp>
          <p:nvGrpSpPr>
            <p:cNvPr id="6" name="Group 5"/>
            <p:cNvGrpSpPr/>
            <p:nvPr/>
          </p:nvGrpSpPr>
          <p:grpSpPr>
            <a:xfrm>
              <a:off x="6439767" y="5230264"/>
              <a:ext cx="1871732" cy="717015"/>
              <a:chOff x="6439767" y="5230264"/>
              <a:chExt cx="1871732" cy="717015"/>
            </a:xfrm>
          </p:grpSpPr>
          <p:sp>
            <p:nvSpPr>
              <p:cNvPr id="55" name="TextBox 54"/>
              <p:cNvSpPr txBox="1"/>
              <p:nvPr/>
            </p:nvSpPr>
            <p:spPr>
              <a:xfrm>
                <a:off x="6439767" y="5639502"/>
                <a:ext cx="1871732" cy="307777"/>
              </a:xfrm>
              <a:prstGeom prst="rect">
                <a:avLst/>
              </a:prstGeom>
              <a:noFill/>
            </p:spPr>
            <p:txBody>
              <a:bodyPr wrap="square" rtlCol="0">
                <a:spAutoFit/>
              </a:bodyPr>
              <a:lstStyle/>
              <a:p>
                <a:pPr algn="ctr" defTabSz="457200"/>
                <a:r>
                  <a:rPr lang="en-US" sz="1400" dirty="0" smtClean="0">
                    <a:solidFill>
                      <a:prstClr val="white"/>
                    </a:solidFill>
                    <a:latin typeface="Calibri"/>
                    <a:ea typeface="ＭＳ Ｐゴシック" pitchFamily="127" charset="-128"/>
                  </a:rPr>
                  <a:t>12 month supply for</a:t>
                </a:r>
                <a:endParaRPr lang="en-US" sz="1400" dirty="0">
                  <a:solidFill>
                    <a:prstClr val="white"/>
                  </a:solidFill>
                  <a:latin typeface="Calibri"/>
                  <a:ea typeface="ＭＳ Ｐゴシック" pitchFamily="127" charset="-128"/>
                </a:endParaRPr>
              </a:p>
            </p:txBody>
          </p:sp>
          <p:sp>
            <p:nvSpPr>
              <p:cNvPr id="57" name="TextBox 56"/>
              <p:cNvSpPr txBox="1"/>
              <p:nvPr/>
            </p:nvSpPr>
            <p:spPr>
              <a:xfrm>
                <a:off x="6754226" y="5230264"/>
                <a:ext cx="1188222" cy="430887"/>
              </a:xfrm>
              <a:prstGeom prst="rect">
                <a:avLst/>
              </a:prstGeom>
              <a:noFill/>
            </p:spPr>
            <p:txBody>
              <a:bodyPr wrap="square" rtlCol="0">
                <a:spAutoFit/>
              </a:bodyPr>
              <a:lstStyle/>
              <a:p>
                <a:pPr algn="ctr" defTabSz="457200"/>
                <a:r>
                  <a:rPr lang="en-US" sz="2200" b="1" dirty="0" smtClean="0">
                    <a:solidFill>
                      <a:prstClr val="white"/>
                    </a:solidFill>
                    <a:latin typeface="Calibri"/>
                    <a:ea typeface="ＭＳ Ｐゴシック" pitchFamily="127" charset="-128"/>
                  </a:rPr>
                  <a:t>Uganda</a:t>
                </a:r>
                <a:endParaRPr lang="en-US" sz="2200" b="1" dirty="0">
                  <a:solidFill>
                    <a:prstClr val="white"/>
                  </a:solidFill>
                  <a:latin typeface="Calibri"/>
                  <a:ea typeface="ＭＳ Ｐゴシック" pitchFamily="127" charset="-128"/>
                </a:endParaRPr>
              </a:p>
            </p:txBody>
          </p:sp>
        </p:grpSp>
      </p:grpSp>
      <p:grpSp>
        <p:nvGrpSpPr>
          <p:cNvPr id="12" name="Group 11"/>
          <p:cNvGrpSpPr/>
          <p:nvPr/>
        </p:nvGrpSpPr>
        <p:grpSpPr>
          <a:xfrm>
            <a:off x="3468148" y="5298504"/>
            <a:ext cx="2074355" cy="1371600"/>
            <a:chOff x="3554563" y="5371769"/>
            <a:chExt cx="2074355" cy="1371600"/>
          </a:xfrm>
        </p:grpSpPr>
        <p:grpSp>
          <p:nvGrpSpPr>
            <p:cNvPr id="64" name="Group 63"/>
            <p:cNvGrpSpPr/>
            <p:nvPr/>
          </p:nvGrpSpPr>
          <p:grpSpPr>
            <a:xfrm>
              <a:off x="3554563" y="5371769"/>
              <a:ext cx="2074355" cy="1371600"/>
              <a:chOff x="6346209" y="5256058"/>
              <a:chExt cx="2074355" cy="1371600"/>
            </a:xfrm>
          </p:grpSpPr>
          <p:sp>
            <p:nvSpPr>
              <p:cNvPr id="65" name="Rounded Rectangle 64"/>
              <p:cNvSpPr/>
              <p:nvPr/>
            </p:nvSpPr>
            <p:spPr>
              <a:xfrm>
                <a:off x="6346209" y="5256058"/>
                <a:ext cx="2074355" cy="1371600"/>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7200" b="1" dirty="0" smtClean="0">
                  <a:solidFill>
                    <a:prstClr val="white"/>
                  </a:solidFill>
                </a:endParaRPr>
              </a:p>
            </p:txBody>
          </p:sp>
          <p:sp>
            <p:nvSpPr>
              <p:cNvPr id="66" name="TextBox 65"/>
              <p:cNvSpPr txBox="1"/>
              <p:nvPr/>
            </p:nvSpPr>
            <p:spPr>
              <a:xfrm>
                <a:off x="6452368" y="5925567"/>
                <a:ext cx="1846531" cy="430887"/>
              </a:xfrm>
              <a:prstGeom prst="rect">
                <a:avLst/>
              </a:prstGeom>
              <a:solidFill>
                <a:schemeClr val="accent2">
                  <a:lumMod val="50000"/>
                </a:schemeClr>
              </a:solidFill>
            </p:spPr>
            <p:txBody>
              <a:bodyPr wrap="none" rtlCol="0">
                <a:spAutoFit/>
              </a:bodyPr>
              <a:lstStyle/>
              <a:p>
                <a:pPr algn="ctr" defTabSz="457200"/>
                <a:r>
                  <a:rPr lang="en-US" sz="2200" b="1" dirty="0" smtClean="0">
                    <a:solidFill>
                      <a:prstClr val="white"/>
                    </a:solidFill>
                    <a:latin typeface="Calibri"/>
                    <a:ea typeface="ＭＳ Ｐゴシック" pitchFamily="127" charset="-128"/>
                  </a:rPr>
                  <a:t>6,500 patients</a:t>
                </a:r>
                <a:endParaRPr lang="en-US" sz="2200" b="1" dirty="0">
                  <a:solidFill>
                    <a:prstClr val="white"/>
                  </a:solidFill>
                  <a:latin typeface="Calibri"/>
                  <a:ea typeface="ＭＳ Ｐゴシック" pitchFamily="127" charset="-128"/>
                </a:endParaRPr>
              </a:p>
            </p:txBody>
          </p:sp>
        </p:grpSp>
        <p:sp>
          <p:nvSpPr>
            <p:cNvPr id="67" name="TextBox 66"/>
            <p:cNvSpPr txBox="1"/>
            <p:nvPr/>
          </p:nvSpPr>
          <p:spPr>
            <a:xfrm>
              <a:off x="3644199" y="5791902"/>
              <a:ext cx="1871732" cy="307777"/>
            </a:xfrm>
            <a:prstGeom prst="rect">
              <a:avLst/>
            </a:prstGeom>
            <a:noFill/>
          </p:spPr>
          <p:txBody>
            <a:bodyPr wrap="square" rtlCol="0">
              <a:spAutoFit/>
            </a:bodyPr>
            <a:lstStyle/>
            <a:p>
              <a:pPr algn="ctr" defTabSz="457200"/>
              <a:r>
                <a:rPr lang="en-US" sz="1400" dirty="0" smtClean="0">
                  <a:solidFill>
                    <a:prstClr val="white"/>
                  </a:solidFill>
                  <a:latin typeface="Calibri"/>
                  <a:ea typeface="ＭＳ Ｐゴシック" pitchFamily="127" charset="-128"/>
                </a:rPr>
                <a:t>12 month supply for</a:t>
              </a:r>
              <a:endParaRPr lang="en-US" sz="1400" dirty="0">
                <a:solidFill>
                  <a:prstClr val="white"/>
                </a:solidFill>
                <a:latin typeface="Calibri"/>
                <a:ea typeface="ＭＳ Ｐゴシック" pitchFamily="127" charset="-128"/>
              </a:endParaRPr>
            </a:p>
          </p:txBody>
        </p:sp>
        <p:sp>
          <p:nvSpPr>
            <p:cNvPr id="68" name="TextBox 67"/>
            <p:cNvSpPr txBox="1"/>
            <p:nvPr/>
          </p:nvSpPr>
          <p:spPr>
            <a:xfrm>
              <a:off x="3958658" y="5382664"/>
              <a:ext cx="1188222" cy="430887"/>
            </a:xfrm>
            <a:prstGeom prst="rect">
              <a:avLst/>
            </a:prstGeom>
            <a:noFill/>
          </p:spPr>
          <p:txBody>
            <a:bodyPr wrap="square" rtlCol="0">
              <a:spAutoFit/>
            </a:bodyPr>
            <a:lstStyle/>
            <a:p>
              <a:pPr algn="ctr" defTabSz="457200"/>
              <a:r>
                <a:rPr lang="en-US" sz="2200" b="1" dirty="0" smtClean="0">
                  <a:solidFill>
                    <a:prstClr val="white"/>
                  </a:solidFill>
                  <a:latin typeface="Calibri"/>
                  <a:ea typeface="ＭＳ Ｐゴシック" pitchFamily="127" charset="-128"/>
                </a:rPr>
                <a:t>Nigeria</a:t>
              </a:r>
              <a:endParaRPr lang="en-US" sz="2200" b="1" dirty="0">
                <a:solidFill>
                  <a:prstClr val="white"/>
                </a:solidFill>
                <a:latin typeface="Calibri"/>
                <a:ea typeface="ＭＳ Ｐゴシック" pitchFamily="127" charset="-128"/>
              </a:endParaRPr>
            </a:p>
          </p:txBody>
        </p:sp>
      </p:grpSp>
      <p:grpSp>
        <p:nvGrpSpPr>
          <p:cNvPr id="69" name="Group 68"/>
          <p:cNvGrpSpPr/>
          <p:nvPr/>
        </p:nvGrpSpPr>
        <p:grpSpPr>
          <a:xfrm>
            <a:off x="590088" y="5298504"/>
            <a:ext cx="2074355" cy="1371600"/>
            <a:chOff x="3554563" y="5371769"/>
            <a:chExt cx="2074355" cy="1371600"/>
          </a:xfrm>
        </p:grpSpPr>
        <p:grpSp>
          <p:nvGrpSpPr>
            <p:cNvPr id="70" name="Group 69"/>
            <p:cNvGrpSpPr/>
            <p:nvPr/>
          </p:nvGrpSpPr>
          <p:grpSpPr>
            <a:xfrm>
              <a:off x="3554563" y="5371769"/>
              <a:ext cx="2074355" cy="1371600"/>
              <a:chOff x="6346209" y="5256058"/>
              <a:chExt cx="2074355" cy="1371600"/>
            </a:xfrm>
          </p:grpSpPr>
          <p:sp>
            <p:nvSpPr>
              <p:cNvPr id="73" name="Rounded Rectangle 72"/>
              <p:cNvSpPr/>
              <p:nvPr/>
            </p:nvSpPr>
            <p:spPr>
              <a:xfrm>
                <a:off x="6346209" y="5256058"/>
                <a:ext cx="2074355" cy="1371600"/>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7200" b="1" dirty="0" smtClean="0">
                  <a:solidFill>
                    <a:prstClr val="white"/>
                  </a:solidFill>
                </a:endParaRPr>
              </a:p>
            </p:txBody>
          </p:sp>
          <p:sp>
            <p:nvSpPr>
              <p:cNvPr id="74" name="TextBox 73"/>
              <p:cNvSpPr txBox="1"/>
              <p:nvPr/>
            </p:nvSpPr>
            <p:spPr>
              <a:xfrm>
                <a:off x="6381034" y="5925567"/>
                <a:ext cx="1989199" cy="430887"/>
              </a:xfrm>
              <a:prstGeom prst="rect">
                <a:avLst/>
              </a:prstGeom>
              <a:solidFill>
                <a:schemeClr val="accent2">
                  <a:lumMod val="50000"/>
                </a:schemeClr>
              </a:solidFill>
            </p:spPr>
            <p:txBody>
              <a:bodyPr wrap="none" rtlCol="0">
                <a:spAutoFit/>
              </a:bodyPr>
              <a:lstStyle/>
              <a:p>
                <a:pPr algn="ctr" defTabSz="457200"/>
                <a:r>
                  <a:rPr lang="en-US" sz="2200" b="1" dirty="0" smtClean="0">
                    <a:solidFill>
                      <a:prstClr val="white"/>
                    </a:solidFill>
                    <a:latin typeface="Calibri"/>
                    <a:ea typeface="ＭＳ Ｐゴシック" pitchFamily="127" charset="-128"/>
                  </a:rPr>
                  <a:t>20,000 patients</a:t>
                </a:r>
                <a:endParaRPr lang="en-US" sz="2200" b="1" dirty="0">
                  <a:solidFill>
                    <a:prstClr val="white"/>
                  </a:solidFill>
                  <a:latin typeface="Calibri"/>
                  <a:ea typeface="ＭＳ Ｐゴシック" pitchFamily="127" charset="-128"/>
                </a:endParaRPr>
              </a:p>
            </p:txBody>
          </p:sp>
        </p:grpSp>
        <p:sp>
          <p:nvSpPr>
            <p:cNvPr id="71" name="TextBox 70"/>
            <p:cNvSpPr txBox="1"/>
            <p:nvPr/>
          </p:nvSpPr>
          <p:spPr>
            <a:xfrm>
              <a:off x="3644199" y="5791902"/>
              <a:ext cx="1871732" cy="307777"/>
            </a:xfrm>
            <a:prstGeom prst="rect">
              <a:avLst/>
            </a:prstGeom>
            <a:noFill/>
          </p:spPr>
          <p:txBody>
            <a:bodyPr wrap="square" rtlCol="0">
              <a:spAutoFit/>
            </a:bodyPr>
            <a:lstStyle/>
            <a:p>
              <a:pPr algn="ctr" defTabSz="457200"/>
              <a:r>
                <a:rPr lang="en-US" sz="1400" dirty="0" smtClean="0">
                  <a:solidFill>
                    <a:prstClr val="white"/>
                  </a:solidFill>
                  <a:latin typeface="Calibri"/>
                  <a:ea typeface="ＭＳ Ｐゴシック" pitchFamily="127" charset="-128"/>
                </a:rPr>
                <a:t>12 month supply for</a:t>
              </a:r>
              <a:endParaRPr lang="en-US" sz="1400" dirty="0">
                <a:solidFill>
                  <a:prstClr val="white"/>
                </a:solidFill>
                <a:latin typeface="Calibri"/>
                <a:ea typeface="ＭＳ Ｐゴシック" pitchFamily="127" charset="-128"/>
              </a:endParaRPr>
            </a:p>
          </p:txBody>
        </p:sp>
        <p:sp>
          <p:nvSpPr>
            <p:cNvPr id="72" name="TextBox 71"/>
            <p:cNvSpPr txBox="1"/>
            <p:nvPr/>
          </p:nvSpPr>
          <p:spPr>
            <a:xfrm>
              <a:off x="3958658" y="5382664"/>
              <a:ext cx="1188222" cy="430887"/>
            </a:xfrm>
            <a:prstGeom prst="rect">
              <a:avLst/>
            </a:prstGeom>
            <a:noFill/>
          </p:spPr>
          <p:txBody>
            <a:bodyPr wrap="square" rtlCol="0">
              <a:spAutoFit/>
            </a:bodyPr>
            <a:lstStyle/>
            <a:p>
              <a:pPr algn="ctr" defTabSz="457200"/>
              <a:r>
                <a:rPr lang="en-US" sz="2200" b="1" dirty="0" smtClean="0">
                  <a:solidFill>
                    <a:prstClr val="white"/>
                  </a:solidFill>
                  <a:latin typeface="Calibri"/>
                  <a:ea typeface="ＭＳ Ｐゴシック" pitchFamily="127" charset="-128"/>
                </a:rPr>
                <a:t>Kenya</a:t>
              </a:r>
              <a:endParaRPr lang="en-US" sz="2200" b="1" dirty="0">
                <a:solidFill>
                  <a:prstClr val="white"/>
                </a:solidFill>
                <a:latin typeface="Calibri"/>
                <a:ea typeface="ＭＳ Ｐゴシック" pitchFamily="127" charset="-128"/>
              </a:endParaRPr>
            </a:p>
          </p:txBody>
        </p:sp>
      </p:grpSp>
    </p:spTree>
    <p:extLst>
      <p:ext uri="{BB962C8B-B14F-4D97-AF65-F5344CB8AC3E}">
        <p14:creationId xmlns:p14="http://schemas.microsoft.com/office/powerpoint/2010/main" val="22849376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8243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5" name="Slide Number Placeholder 3"/>
          <p:cNvSpPr>
            <a:spLocks noGrp="1"/>
          </p:cNvSpPr>
          <p:nvPr>
            <p:ph type="sldNum" sz="quarter" idx="11"/>
            <p:custDataLst>
              <p:tags r:id="rId3"/>
            </p:custDataLst>
          </p:nvPr>
        </p:nvSpPr>
        <p:spPr>
          <a:noFill/>
        </p:spPr>
        <p:txBody>
          <a:bodyPr/>
          <a:lstStyle/>
          <a:p>
            <a:fld id="{492152D1-46F3-4138-844B-62DA901DB5FF}" type="slidenum">
              <a:rPr lang="en-US" sz="1200" smtClean="0">
                <a:solidFill>
                  <a:srgbClr val="000000"/>
                </a:solidFill>
              </a:rPr>
              <a:pPr/>
              <a:t>19</a:t>
            </a:fld>
            <a:endParaRPr lang="en-US" sz="1200" dirty="0">
              <a:solidFill>
                <a:srgbClr val="000000"/>
              </a:solidFill>
            </a:endParaRPr>
          </a:p>
        </p:txBody>
      </p:sp>
      <p:sp>
        <p:nvSpPr>
          <p:cNvPr id="31746" name="Rectangle 2"/>
          <p:cNvSpPr>
            <a:spLocks noGrp="1" noChangeArrowheads="1"/>
          </p:cNvSpPr>
          <p:nvPr>
            <p:ph type="title"/>
            <p:custDataLst>
              <p:tags r:id="rId4"/>
            </p:custDataLst>
          </p:nvPr>
        </p:nvSpPr>
        <p:spPr bwMode="gray">
          <a:xfrm>
            <a:off x="0" y="0"/>
            <a:ext cx="9144000" cy="914400"/>
          </a:xfrm>
          <a:solidFill>
            <a:srgbClr val="003366"/>
          </a:solidFill>
        </p:spPr>
        <p:txBody>
          <a:bodyPr/>
          <a:lstStyle/>
          <a:p>
            <a:pPr marL="171450" algn="l"/>
            <a:r>
              <a:rPr lang="en-US" sz="2400" dirty="0" smtClean="0">
                <a:solidFill>
                  <a:schemeClr val="bg1"/>
                </a:solidFill>
                <a:latin typeface="Calibri" panose="020F0502020204030204" pitchFamily="34" charset="0"/>
              </a:rPr>
              <a:t>Role of the CAB in the Optimal ARV Project</a:t>
            </a:r>
            <a:endParaRPr lang="en-US" sz="2400" dirty="0">
              <a:solidFill>
                <a:schemeClr val="bg1"/>
              </a:solidFill>
              <a:latin typeface="Calibri" panose="020F0502020204030204" pitchFamily="34" charset="0"/>
            </a:endParaRPr>
          </a:p>
        </p:txBody>
      </p:sp>
      <p:sp>
        <p:nvSpPr>
          <p:cNvPr id="2" name="TextBox 1"/>
          <p:cNvSpPr txBox="1"/>
          <p:nvPr/>
        </p:nvSpPr>
        <p:spPr>
          <a:xfrm>
            <a:off x="346362" y="2133600"/>
            <a:ext cx="4041648" cy="4524315"/>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285750" indent="-285750">
              <a:buSzPct val="70000"/>
              <a:buFont typeface="Arial" panose="020B0604020202020204" pitchFamily="34" charset="0"/>
              <a:buChar char="•"/>
            </a:pPr>
            <a:r>
              <a:rPr lang="en-US" sz="1800" dirty="0" smtClean="0">
                <a:solidFill>
                  <a:srgbClr val="000000"/>
                </a:solidFill>
                <a:latin typeface="Calibri" panose="020F0502020204030204" pitchFamily="34" charset="0"/>
              </a:rPr>
              <a:t>Ensuring </a:t>
            </a:r>
            <a:r>
              <a:rPr lang="en-US" sz="1800" dirty="0">
                <a:solidFill>
                  <a:srgbClr val="000000"/>
                </a:solidFill>
                <a:latin typeface="Calibri" panose="020F0502020204030204" pitchFamily="34" charset="0"/>
              </a:rPr>
              <a:t>the program meets local needs and contributes to improved treatment outcomes for people living</a:t>
            </a:r>
            <a:br>
              <a:rPr lang="en-US" sz="1800" dirty="0">
                <a:solidFill>
                  <a:srgbClr val="000000"/>
                </a:solidFill>
                <a:latin typeface="Calibri" panose="020F0502020204030204" pitchFamily="34" charset="0"/>
              </a:rPr>
            </a:br>
            <a:r>
              <a:rPr lang="en-US" sz="1800" dirty="0">
                <a:solidFill>
                  <a:srgbClr val="000000"/>
                </a:solidFill>
                <a:latin typeface="Calibri" panose="020F0502020204030204" pitchFamily="34" charset="0"/>
              </a:rPr>
              <a:t>with </a:t>
            </a:r>
            <a:r>
              <a:rPr lang="en-US" sz="1800" dirty="0" smtClean="0">
                <a:solidFill>
                  <a:srgbClr val="000000"/>
                </a:solidFill>
                <a:latin typeface="Calibri" panose="020F0502020204030204" pitchFamily="34" charset="0"/>
              </a:rPr>
              <a:t>HIV</a:t>
            </a:r>
          </a:p>
          <a:p>
            <a:pPr>
              <a:buSzPct val="70000"/>
            </a:pPr>
            <a:endParaRPr lang="en-US" sz="1800" dirty="0" smtClean="0">
              <a:solidFill>
                <a:srgbClr val="000000"/>
              </a:solidFill>
              <a:latin typeface="Calibri" panose="020F0502020204030204" pitchFamily="34" charset="0"/>
            </a:endParaRPr>
          </a:p>
          <a:p>
            <a:pPr marL="285750" indent="-285750">
              <a:buSzPct val="70000"/>
              <a:buFont typeface="Arial" panose="020B0604020202020204" pitchFamily="34" charset="0"/>
              <a:buChar char="•"/>
            </a:pPr>
            <a:r>
              <a:rPr lang="en-US" sz="1800" dirty="0" smtClean="0">
                <a:solidFill>
                  <a:srgbClr val="000000"/>
                </a:solidFill>
                <a:latin typeface="Calibri" panose="020F0502020204030204" pitchFamily="34" charset="0"/>
              </a:rPr>
              <a:t>Participating </a:t>
            </a:r>
            <a:r>
              <a:rPr lang="en-US" sz="1800" dirty="0">
                <a:solidFill>
                  <a:srgbClr val="000000"/>
                </a:solidFill>
                <a:latin typeface="Calibri" panose="020F0502020204030204" pitchFamily="34" charset="0"/>
              </a:rPr>
              <a:t>in the CAB and staying abreast of project progress through semi-annual CAB </a:t>
            </a:r>
            <a:r>
              <a:rPr lang="en-US" sz="1800" dirty="0" smtClean="0">
                <a:solidFill>
                  <a:srgbClr val="000000"/>
                </a:solidFill>
                <a:latin typeface="Calibri" panose="020F0502020204030204" pitchFamily="34" charset="0"/>
              </a:rPr>
              <a:t>meetings</a:t>
            </a:r>
          </a:p>
          <a:p>
            <a:pPr>
              <a:buSzPct val="70000"/>
            </a:pPr>
            <a:endParaRPr lang="en-US" sz="1800" dirty="0">
              <a:solidFill>
                <a:srgbClr val="000000"/>
              </a:solidFill>
              <a:latin typeface="Calibri" panose="020F0502020204030204" pitchFamily="34" charset="0"/>
            </a:endParaRPr>
          </a:p>
          <a:p>
            <a:pPr marL="285750" indent="-285750">
              <a:buSzPct val="70000"/>
              <a:buFont typeface="Arial" panose="020B0604020202020204" pitchFamily="34" charset="0"/>
              <a:buChar char="•"/>
            </a:pPr>
            <a:r>
              <a:rPr lang="en-US" sz="1800" dirty="0" smtClean="0">
                <a:solidFill>
                  <a:srgbClr val="000000"/>
                </a:solidFill>
                <a:latin typeface="Calibri" panose="020F0502020204030204" pitchFamily="34" charset="0"/>
              </a:rPr>
              <a:t>Monitoring </a:t>
            </a:r>
            <a:r>
              <a:rPr lang="en-US" sz="1800" dirty="0">
                <a:solidFill>
                  <a:srgbClr val="000000"/>
                </a:solidFill>
                <a:latin typeface="Calibri" panose="020F0502020204030204" pitchFamily="34" charset="0"/>
              </a:rPr>
              <a:t>progress and ensuring that program outcomes are shared with the global HIV community</a:t>
            </a:r>
            <a:r>
              <a:rPr lang="en-US" sz="1800" dirty="0" smtClean="0">
                <a:solidFill>
                  <a:srgbClr val="000000"/>
                </a:solidFill>
                <a:latin typeface="Calibri" panose="020F0502020204030204" pitchFamily="34" charset="0"/>
              </a:rPr>
              <a:t>.</a:t>
            </a:r>
          </a:p>
          <a:p>
            <a:pPr>
              <a:buSzPct val="70000"/>
            </a:pPr>
            <a:endParaRPr lang="en-US" sz="1800" dirty="0" smtClean="0">
              <a:solidFill>
                <a:srgbClr val="000000"/>
              </a:solidFill>
              <a:latin typeface="Calibri" panose="020F0502020204030204" pitchFamily="34" charset="0"/>
            </a:endParaRPr>
          </a:p>
          <a:p>
            <a:pPr>
              <a:buSzPct val="70000"/>
            </a:pPr>
            <a:endParaRPr lang="en-US" sz="1800" dirty="0">
              <a:solidFill>
                <a:srgbClr val="000000"/>
              </a:solidFill>
              <a:latin typeface="Calibri" panose="020F0502020204030204" pitchFamily="34" charset="0"/>
            </a:endParaRPr>
          </a:p>
          <a:p>
            <a:pPr>
              <a:buSzPct val="70000"/>
            </a:pPr>
            <a:endParaRPr lang="en-US" sz="1800" dirty="0" smtClean="0">
              <a:solidFill>
                <a:srgbClr val="000000"/>
              </a:solidFill>
              <a:latin typeface="Calibri" panose="020F0502020204030204" pitchFamily="34" charset="0"/>
            </a:endParaRPr>
          </a:p>
          <a:p>
            <a:pPr>
              <a:buSzPct val="70000"/>
            </a:pPr>
            <a:endParaRPr lang="en-US" sz="1800" dirty="0">
              <a:solidFill>
                <a:srgbClr val="000000"/>
              </a:solidFill>
              <a:latin typeface="Calibri" panose="020F0502020204030204" pitchFamily="34" charset="0"/>
            </a:endParaRPr>
          </a:p>
        </p:txBody>
      </p:sp>
      <p:sp>
        <p:nvSpPr>
          <p:cNvPr id="3" name="Rectangle 2"/>
          <p:cNvSpPr/>
          <p:nvPr/>
        </p:nvSpPr>
        <p:spPr bwMode="auto">
          <a:xfrm>
            <a:off x="332509" y="1066800"/>
            <a:ext cx="4038600" cy="9906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en-US" sz="1800" dirty="0">
                <a:solidFill>
                  <a:srgbClr val="FFFFFF"/>
                </a:solidFill>
                <a:latin typeface="Calibri" panose="020F0502020204030204" pitchFamily="34" charset="0"/>
              </a:rPr>
              <a:t>Represent the interests of the global HIV community within the </a:t>
            </a:r>
            <a:r>
              <a:rPr lang="en-US" sz="1800" dirty="0" smtClean="0">
                <a:solidFill>
                  <a:srgbClr val="FFFFFF"/>
                </a:solidFill>
                <a:latin typeface="Calibri" panose="020F0502020204030204" pitchFamily="34" charset="0"/>
              </a:rPr>
              <a:t>project</a:t>
            </a:r>
            <a:endParaRPr lang="en-US" sz="1800" dirty="0">
              <a:solidFill>
                <a:srgbClr val="000000"/>
              </a:solidFill>
              <a:latin typeface="Calibri" panose="020F0502020204030204" pitchFamily="34" charset="0"/>
            </a:endParaRPr>
          </a:p>
        </p:txBody>
      </p:sp>
      <p:sp>
        <p:nvSpPr>
          <p:cNvPr id="7" name="Rectangle 6"/>
          <p:cNvSpPr/>
          <p:nvPr/>
        </p:nvSpPr>
        <p:spPr bwMode="auto">
          <a:xfrm>
            <a:off x="4876800" y="1066800"/>
            <a:ext cx="4038600" cy="990600"/>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hangingPunct="0"/>
            <a:r>
              <a:rPr lang="en-US" sz="1800" dirty="0">
                <a:solidFill>
                  <a:srgbClr val="FFFFFF"/>
                </a:solidFill>
                <a:latin typeface="Calibri" panose="020F0502020204030204" pitchFamily="34" charset="0"/>
              </a:rPr>
              <a:t>Support appropriate community-led demand generation activities for optimal </a:t>
            </a:r>
            <a:r>
              <a:rPr lang="en-US" sz="1800" dirty="0" smtClean="0">
                <a:solidFill>
                  <a:srgbClr val="FFFFFF"/>
                </a:solidFill>
                <a:latin typeface="Calibri" panose="020F0502020204030204" pitchFamily="34" charset="0"/>
              </a:rPr>
              <a:t>ARVs</a:t>
            </a:r>
            <a:endParaRPr lang="en-US" sz="1800" dirty="0">
              <a:solidFill>
                <a:srgbClr val="FFFFFF"/>
              </a:solidFill>
              <a:latin typeface="Calibri" panose="020F0502020204030204" pitchFamily="34" charset="0"/>
            </a:endParaRPr>
          </a:p>
        </p:txBody>
      </p:sp>
      <p:sp>
        <p:nvSpPr>
          <p:cNvPr id="9" name="TextBox 8"/>
          <p:cNvSpPr txBox="1"/>
          <p:nvPr/>
        </p:nvSpPr>
        <p:spPr>
          <a:xfrm>
            <a:off x="4876800" y="2140435"/>
            <a:ext cx="4038600" cy="4524315"/>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285750" indent="-285750">
              <a:buSzPct val="70000"/>
              <a:buFont typeface="Arial" panose="020B0604020202020204" pitchFamily="34" charset="0"/>
              <a:buChar char="•"/>
            </a:pPr>
            <a:r>
              <a:rPr lang="en-US" sz="1800" dirty="0" smtClean="0">
                <a:solidFill>
                  <a:srgbClr val="000000"/>
                </a:solidFill>
                <a:latin typeface="Calibri" panose="020F0502020204030204" pitchFamily="34" charset="0"/>
              </a:rPr>
              <a:t>Supporting </a:t>
            </a:r>
            <a:r>
              <a:rPr lang="en-US" sz="1800" dirty="0">
                <a:solidFill>
                  <a:srgbClr val="000000"/>
                </a:solidFill>
                <a:latin typeface="Calibri" panose="020F0502020204030204" pitchFamily="34" charset="0"/>
              </a:rPr>
              <a:t>communication of information related to the project objectives and progress to the </a:t>
            </a:r>
            <a:r>
              <a:rPr lang="en-US" sz="1800" dirty="0" smtClean="0">
                <a:solidFill>
                  <a:srgbClr val="000000"/>
                </a:solidFill>
                <a:latin typeface="Calibri" panose="020F0502020204030204" pitchFamily="34" charset="0"/>
              </a:rPr>
              <a:t>broader global community</a:t>
            </a:r>
          </a:p>
          <a:p>
            <a:pPr>
              <a:buSzPct val="70000"/>
            </a:pPr>
            <a:endParaRPr lang="en-US" sz="1800" dirty="0" smtClean="0">
              <a:solidFill>
                <a:srgbClr val="000000"/>
              </a:solidFill>
              <a:latin typeface="Calibri" panose="020F0502020204030204" pitchFamily="34" charset="0"/>
            </a:endParaRPr>
          </a:p>
          <a:p>
            <a:pPr marL="285750" indent="-285750">
              <a:buSzPct val="70000"/>
              <a:buFont typeface="Arial" panose="020B0604020202020204" pitchFamily="34" charset="0"/>
              <a:buChar char="•"/>
            </a:pPr>
            <a:r>
              <a:rPr lang="en-US" sz="1800" dirty="0" smtClean="0">
                <a:solidFill>
                  <a:srgbClr val="000000"/>
                </a:solidFill>
                <a:latin typeface="Calibri" panose="020F0502020204030204" pitchFamily="34" charset="0"/>
              </a:rPr>
              <a:t>Serving </a:t>
            </a:r>
            <a:r>
              <a:rPr lang="en-US" sz="1800" dirty="0">
                <a:solidFill>
                  <a:srgbClr val="000000"/>
                </a:solidFill>
                <a:latin typeface="Calibri" panose="020F0502020204030204" pitchFamily="34" charset="0"/>
              </a:rPr>
              <a:t>as the voice of the community by participating in the process of defining appropriate demand</a:t>
            </a:r>
            <a:br>
              <a:rPr lang="en-US" sz="1800" dirty="0">
                <a:solidFill>
                  <a:srgbClr val="000000"/>
                </a:solidFill>
                <a:latin typeface="Calibri" panose="020F0502020204030204" pitchFamily="34" charset="0"/>
              </a:rPr>
            </a:br>
            <a:r>
              <a:rPr lang="en-US" sz="1800" dirty="0">
                <a:solidFill>
                  <a:srgbClr val="000000"/>
                </a:solidFill>
                <a:latin typeface="Calibri" panose="020F0502020204030204" pitchFamily="34" charset="0"/>
              </a:rPr>
              <a:t>generation activities and raising issues that could affect successful implementation of the </a:t>
            </a:r>
            <a:r>
              <a:rPr lang="en-US" sz="1800" dirty="0" smtClean="0">
                <a:solidFill>
                  <a:srgbClr val="000000"/>
                </a:solidFill>
                <a:latin typeface="Calibri" panose="020F0502020204030204" pitchFamily="34" charset="0"/>
              </a:rPr>
              <a:t>project</a:t>
            </a:r>
          </a:p>
          <a:p>
            <a:pPr>
              <a:buSzPct val="70000"/>
            </a:pPr>
            <a:endParaRPr lang="en-US" sz="1800" dirty="0">
              <a:solidFill>
                <a:srgbClr val="000000"/>
              </a:solidFill>
              <a:latin typeface="Calibri" panose="020F0502020204030204" pitchFamily="34" charset="0"/>
            </a:endParaRPr>
          </a:p>
          <a:p>
            <a:pPr marL="285750" indent="-285750">
              <a:buSzPct val="70000"/>
              <a:buFont typeface="Arial" panose="020B0604020202020204" pitchFamily="34" charset="0"/>
              <a:buChar char="•"/>
            </a:pPr>
            <a:r>
              <a:rPr lang="en-US" sz="1800" dirty="0" smtClean="0">
                <a:solidFill>
                  <a:srgbClr val="000000"/>
                </a:solidFill>
                <a:latin typeface="Calibri" panose="020F0502020204030204" pitchFamily="34" charset="0"/>
              </a:rPr>
              <a:t>Provide </a:t>
            </a:r>
            <a:r>
              <a:rPr lang="en-US" sz="1800" dirty="0">
                <a:solidFill>
                  <a:srgbClr val="000000"/>
                </a:solidFill>
                <a:latin typeface="Calibri" panose="020F0502020204030204" pitchFamily="34" charset="0"/>
              </a:rPr>
              <a:t>the project team with ongoing recommendations on product adoption and roll-out strategies </a:t>
            </a:r>
            <a:endParaRPr lang="en-US" sz="1800" dirty="0" smtClean="0">
              <a:solidFill>
                <a:srgbClr val="000000"/>
              </a:solidFill>
              <a:latin typeface="Calibri" panose="020F0502020204030204" pitchFamily="34" charset="0"/>
            </a:endParaRPr>
          </a:p>
        </p:txBody>
      </p:sp>
      <p:sp>
        <p:nvSpPr>
          <p:cNvPr id="4" name="Oval 3"/>
          <p:cNvSpPr/>
          <p:nvPr/>
        </p:nvSpPr>
        <p:spPr bwMode="auto">
          <a:xfrm>
            <a:off x="152400" y="990600"/>
            <a:ext cx="381000" cy="381000"/>
          </a:xfrm>
          <a:prstGeom prst="ellipse">
            <a:avLst/>
          </a:prstGeom>
          <a:solidFill>
            <a:schemeClr val="bg1"/>
          </a:solidFill>
          <a:ln w="25400"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r>
              <a:rPr lang="en-US" sz="1600" dirty="0" smtClean="0">
                <a:solidFill>
                  <a:srgbClr val="000000"/>
                </a:solidFill>
                <a:latin typeface="Calibri" panose="020F0502020204030204" pitchFamily="34" charset="0"/>
              </a:rPr>
              <a:t>1</a:t>
            </a:r>
          </a:p>
        </p:txBody>
      </p:sp>
      <p:sp>
        <p:nvSpPr>
          <p:cNvPr id="11" name="Oval 10"/>
          <p:cNvSpPr/>
          <p:nvPr/>
        </p:nvSpPr>
        <p:spPr bwMode="auto">
          <a:xfrm>
            <a:off x="4686300" y="966355"/>
            <a:ext cx="381000" cy="381000"/>
          </a:xfrm>
          <a:prstGeom prst="ellipse">
            <a:avLst/>
          </a:prstGeom>
          <a:solidFill>
            <a:schemeClr val="bg1"/>
          </a:solidFill>
          <a:ln w="25400"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hangingPunct="0"/>
            <a:r>
              <a:rPr lang="en-US" sz="1600" dirty="0">
                <a:solidFill>
                  <a:srgbClr val="000000"/>
                </a:solidFill>
                <a:latin typeface="Calibri" panose="020F0502020204030204" pitchFamily="34" charset="0"/>
              </a:rPr>
              <a:t>2</a:t>
            </a:r>
            <a:endParaRPr lang="en-US" sz="1600"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3312829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smtClean="0"/>
              <a:t>Welcome </a:t>
            </a:r>
            <a:r>
              <a:rPr lang="en-US" sz="2400" dirty="0" smtClean="0"/>
              <a:t>to CAB members!</a:t>
            </a:r>
            <a:endParaRPr lang="en-US" sz="2400" dirty="0"/>
          </a:p>
        </p:txBody>
      </p:sp>
      <p:pic>
        <p:nvPicPr>
          <p:cNvPr id="6" name="Picture 4" descr="http://www.theodora.com/wfb/south_africa/sf.gif"/>
          <p:cNvPicPr preferRelativeResize="0">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20268" y="4526280"/>
            <a:ext cx="1170432" cy="73152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www.theodora.com/flags/zi.gif"/>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0713" y="3429000"/>
            <a:ext cx="1170432" cy="7315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0268" y="2224207"/>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6"/>
          <p:cNvPicPr preferRelativeResize="0">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168" y="4526280"/>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7"/>
          <p:cNvPicPr preferRelativeResize="0">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72400" y="1269844"/>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9"/>
          <p:cNvPicPr preferRelativeResize="0">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1168" y="3429000"/>
            <a:ext cx="1170432" cy="73152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558084" name="Picture 4"/>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1168" y="2224207"/>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8085" name="Picture 5"/>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168" y="5486400"/>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9906" name="Picture 2"/>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168" y="1269844"/>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3"/>
          <p:cNvSpPr>
            <a:spLocks noChangeArrowheads="1"/>
          </p:cNvSpPr>
          <p:nvPr/>
        </p:nvSpPr>
        <p:spPr bwMode="auto">
          <a:xfrm>
            <a:off x="2908300" y="1600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itchFamily="34" charset="0"/>
                <a:cs typeface="Arial" pitchFamily="34" charset="0"/>
              </a:rPr>
              <a:t/>
            </a:r>
            <a:br>
              <a:rPr kumimoji="0" lang="en-US" altLang="en-US" sz="1800" b="0" i="0" u="none" strike="noStrike" cap="none" normalizeH="0" baseline="0" smtClean="0">
                <a:ln>
                  <a:noFill/>
                </a:ln>
                <a:solidFill>
                  <a:schemeClr val="tx1"/>
                </a:solidFill>
                <a:effectLst/>
                <a:latin typeface="Arial" pitchFamily="34" charset="0"/>
                <a:cs typeface="Arial" pitchFamily="34" charset="0"/>
              </a:rPr>
            </a:br>
            <a:r>
              <a:rPr kumimoji="0" lang="en-US" altLang="en-US" sz="1800" b="0" i="0" u="none" strike="noStrike" cap="none" normalizeH="0" baseline="0" smtClean="0">
                <a:ln>
                  <a:noFill/>
                </a:ln>
                <a:solidFill>
                  <a:schemeClr val="tx1"/>
                </a:solidFill>
                <a:effectLst/>
                <a:latin typeface="Arial" pitchFamily="34" charset="0"/>
                <a:cs typeface="Arial" pitchFamily="34" charset="0"/>
              </a:rPr>
              <a:t/>
            </a:r>
            <a:br>
              <a:rPr kumimoji="0" lang="en-US" altLang="en-US" sz="1800" b="0" i="0" u="none" strike="noStrike" cap="none" normalizeH="0" baseline="0" smtClean="0">
                <a:ln>
                  <a:noFill/>
                </a:ln>
                <a:solidFill>
                  <a:schemeClr val="tx1"/>
                </a:solidFill>
                <a:effectLst/>
                <a:latin typeface="Arial" pitchFamily="34" charset="0"/>
                <a:cs typeface="Arial" pitchFamily="34" charset="0"/>
              </a:rPr>
            </a:b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0" name="TextBox 9"/>
          <p:cNvSpPr txBox="1"/>
          <p:nvPr/>
        </p:nvSpPr>
        <p:spPr>
          <a:xfrm>
            <a:off x="1392382" y="4526280"/>
            <a:ext cx="4038600" cy="1015663"/>
          </a:xfrm>
          <a:prstGeom prst="rect">
            <a:avLst/>
          </a:prstGeom>
          <a:noFill/>
        </p:spPr>
        <p:txBody>
          <a:bodyPr wrap="square" rtlCol="0">
            <a:spAutoFit/>
          </a:bodyPr>
          <a:lstStyle/>
          <a:p>
            <a:r>
              <a:rPr lang="en-US" sz="1400" b="1" dirty="0" err="1" smtClean="0">
                <a:latin typeface="+mj-lt"/>
              </a:rPr>
              <a:t>Sorn</a:t>
            </a:r>
            <a:r>
              <a:rPr lang="en-US" sz="1400" b="1" dirty="0" smtClean="0">
                <a:latin typeface="+mj-lt"/>
              </a:rPr>
              <a:t> </a:t>
            </a:r>
            <a:r>
              <a:rPr lang="en-US" sz="1400" b="1" dirty="0" err="1" smtClean="0">
                <a:solidFill>
                  <a:srgbClr val="000000"/>
                </a:solidFill>
                <a:latin typeface="+mj-lt"/>
              </a:rPr>
              <a:t>Sotheariddh</a:t>
            </a:r>
            <a:endParaRPr lang="en-US" sz="1400" b="1" dirty="0" smtClean="0">
              <a:solidFill>
                <a:srgbClr val="000000"/>
              </a:solidFill>
              <a:latin typeface="+mj-lt"/>
            </a:endParaRPr>
          </a:p>
          <a:p>
            <a:r>
              <a:rPr lang="en-US" sz="1400" i="1" dirty="0">
                <a:solidFill>
                  <a:srgbClr val="000000"/>
                </a:solidFill>
                <a:latin typeface="+mj-lt"/>
              </a:rPr>
              <a:t>National Positive Network in</a:t>
            </a:r>
            <a:br>
              <a:rPr lang="en-US" sz="1400" i="1" dirty="0">
                <a:solidFill>
                  <a:srgbClr val="000000"/>
                </a:solidFill>
                <a:latin typeface="+mj-lt"/>
              </a:rPr>
            </a:br>
            <a:r>
              <a:rPr lang="en-US" sz="1400" i="1" dirty="0">
                <a:solidFill>
                  <a:srgbClr val="000000"/>
                </a:solidFill>
                <a:latin typeface="+mj-lt"/>
              </a:rPr>
              <a:t>Cambodia</a:t>
            </a:r>
            <a:endParaRPr lang="en-US" sz="1400" i="1" dirty="0">
              <a:latin typeface="+mj-lt"/>
            </a:endParaRPr>
          </a:p>
          <a:p>
            <a:r>
              <a:rPr lang="en-US" sz="1800" dirty="0" smtClean="0">
                <a:solidFill>
                  <a:srgbClr val="000000"/>
                </a:solidFill>
                <a:latin typeface="+mj-lt"/>
              </a:rPr>
              <a:t> </a:t>
            </a:r>
            <a:r>
              <a:rPr lang="en-US" sz="1800" dirty="0" smtClean="0">
                <a:latin typeface="+mj-lt"/>
              </a:rPr>
              <a:t> </a:t>
            </a:r>
            <a:endParaRPr lang="en-US" sz="1800" dirty="0">
              <a:latin typeface="+mj-lt"/>
            </a:endParaRPr>
          </a:p>
        </p:txBody>
      </p:sp>
      <p:sp>
        <p:nvSpPr>
          <p:cNvPr id="27" name="TextBox 26"/>
          <p:cNvSpPr txBox="1"/>
          <p:nvPr/>
        </p:nvSpPr>
        <p:spPr>
          <a:xfrm>
            <a:off x="3009900" y="2224207"/>
            <a:ext cx="4771159" cy="1661993"/>
          </a:xfrm>
          <a:prstGeom prst="rect">
            <a:avLst/>
          </a:prstGeom>
          <a:noFill/>
        </p:spPr>
        <p:txBody>
          <a:bodyPr wrap="square" rtlCol="0">
            <a:spAutoFit/>
          </a:bodyPr>
          <a:lstStyle/>
          <a:p>
            <a:pPr algn="r"/>
            <a:r>
              <a:rPr lang="en-US" sz="1400" b="1" dirty="0" smtClean="0">
                <a:solidFill>
                  <a:srgbClr val="000000"/>
                </a:solidFill>
                <a:latin typeface="+mj-lt"/>
              </a:rPr>
              <a:t>Salim Kibet</a:t>
            </a:r>
          </a:p>
          <a:p>
            <a:pPr algn="r"/>
            <a:r>
              <a:rPr lang="en-US" sz="1400" i="1" dirty="0">
                <a:solidFill>
                  <a:srgbClr val="000000"/>
                </a:solidFill>
                <a:latin typeface="+mj-lt"/>
              </a:rPr>
              <a:t>Islamic Men’s Network</a:t>
            </a:r>
            <a:endParaRPr lang="en-US" sz="1400" i="1" dirty="0">
              <a:latin typeface="+mj-lt"/>
            </a:endParaRPr>
          </a:p>
          <a:p>
            <a:pPr algn="r"/>
            <a:r>
              <a:rPr lang="en-US" sz="1400" b="1" dirty="0" smtClean="0">
                <a:solidFill>
                  <a:srgbClr val="000000"/>
                </a:solidFill>
                <a:latin typeface="+mj-lt"/>
              </a:rPr>
              <a:t>Jacqueline </a:t>
            </a:r>
            <a:r>
              <a:rPr lang="en-US" sz="1400" b="1" dirty="0" err="1" smtClean="0">
                <a:solidFill>
                  <a:srgbClr val="000000"/>
                </a:solidFill>
                <a:latin typeface="+mj-lt"/>
              </a:rPr>
              <a:t>Wambui</a:t>
            </a:r>
            <a:endParaRPr lang="en-US" sz="1400" b="1" dirty="0" smtClean="0">
              <a:solidFill>
                <a:srgbClr val="000000"/>
              </a:solidFill>
              <a:latin typeface="+mj-lt"/>
            </a:endParaRPr>
          </a:p>
          <a:p>
            <a:pPr algn="r"/>
            <a:r>
              <a:rPr lang="en-US" sz="1400" i="1" dirty="0">
                <a:solidFill>
                  <a:srgbClr val="000000"/>
                </a:solidFill>
                <a:latin typeface="+mj-lt"/>
              </a:rPr>
              <a:t>National Empowerment </a:t>
            </a:r>
            <a:r>
              <a:rPr lang="en-US" sz="1400" i="1" dirty="0" smtClean="0">
                <a:solidFill>
                  <a:srgbClr val="000000"/>
                </a:solidFill>
                <a:latin typeface="+mj-lt"/>
              </a:rPr>
              <a:t>Network of </a:t>
            </a:r>
            <a:r>
              <a:rPr lang="en-US" sz="1400" i="1" dirty="0">
                <a:solidFill>
                  <a:srgbClr val="000000"/>
                </a:solidFill>
                <a:latin typeface="+mj-lt"/>
              </a:rPr>
              <a:t>People Living </a:t>
            </a:r>
            <a:r>
              <a:rPr lang="en-US" sz="1400" i="1" dirty="0" smtClean="0">
                <a:solidFill>
                  <a:srgbClr val="000000"/>
                </a:solidFill>
                <a:latin typeface="+mj-lt"/>
              </a:rPr>
              <a:t>with HIV/AIDS in Kenya </a:t>
            </a:r>
            <a:r>
              <a:rPr lang="en-US" sz="1400" i="1" dirty="0">
                <a:solidFill>
                  <a:srgbClr val="000000"/>
                </a:solidFill>
                <a:latin typeface="+mj-lt"/>
              </a:rPr>
              <a:t>(NEPHAK)</a:t>
            </a:r>
            <a:endParaRPr lang="en-US" sz="1400" i="1" dirty="0">
              <a:latin typeface="+mj-lt"/>
            </a:endParaRPr>
          </a:p>
          <a:p>
            <a:pPr algn="r"/>
            <a:endParaRPr lang="en-US" sz="1600" i="1" dirty="0" smtClean="0">
              <a:solidFill>
                <a:srgbClr val="000000"/>
              </a:solidFill>
              <a:latin typeface="+mj-lt"/>
            </a:endParaRPr>
          </a:p>
          <a:p>
            <a:pPr algn="r"/>
            <a:r>
              <a:rPr lang="en-US" sz="1600" dirty="0" smtClean="0">
                <a:solidFill>
                  <a:srgbClr val="000000"/>
                </a:solidFill>
                <a:latin typeface="+mj-lt"/>
              </a:rPr>
              <a:t> </a:t>
            </a:r>
            <a:r>
              <a:rPr lang="en-US" sz="1600" dirty="0" smtClean="0">
                <a:latin typeface="+mj-lt"/>
              </a:rPr>
              <a:t> </a:t>
            </a:r>
            <a:endParaRPr lang="en-US" sz="1600" dirty="0">
              <a:latin typeface="+mj-lt"/>
            </a:endParaRPr>
          </a:p>
        </p:txBody>
      </p:sp>
      <p:sp>
        <p:nvSpPr>
          <p:cNvPr id="30" name="TextBox 29"/>
          <p:cNvSpPr txBox="1"/>
          <p:nvPr/>
        </p:nvSpPr>
        <p:spPr>
          <a:xfrm>
            <a:off x="1392382" y="5486400"/>
            <a:ext cx="4360718" cy="769441"/>
          </a:xfrm>
          <a:prstGeom prst="rect">
            <a:avLst/>
          </a:prstGeom>
          <a:noFill/>
        </p:spPr>
        <p:txBody>
          <a:bodyPr wrap="square" rtlCol="0">
            <a:spAutoFit/>
          </a:bodyPr>
          <a:lstStyle/>
          <a:p>
            <a:r>
              <a:rPr lang="en-US" sz="1400" b="1" dirty="0" smtClean="0">
                <a:solidFill>
                  <a:srgbClr val="000000"/>
                </a:solidFill>
                <a:latin typeface="+mj-lt"/>
              </a:rPr>
              <a:t>George </a:t>
            </a:r>
            <a:r>
              <a:rPr lang="en-US" sz="1400" b="1" dirty="0" err="1" smtClean="0">
                <a:solidFill>
                  <a:srgbClr val="000000"/>
                </a:solidFill>
                <a:latin typeface="+mj-lt"/>
              </a:rPr>
              <a:t>Kampango</a:t>
            </a:r>
            <a:endParaRPr lang="en-US" sz="1400" b="1" dirty="0" smtClean="0">
              <a:solidFill>
                <a:srgbClr val="000000"/>
              </a:solidFill>
              <a:latin typeface="+mj-lt"/>
            </a:endParaRPr>
          </a:p>
          <a:p>
            <a:r>
              <a:rPr lang="en-US" sz="1400" dirty="0" smtClean="0">
                <a:solidFill>
                  <a:srgbClr val="000000"/>
                </a:solidFill>
                <a:latin typeface="+mj-lt"/>
              </a:rPr>
              <a:t>Clara </a:t>
            </a:r>
            <a:r>
              <a:rPr lang="en-US" sz="1400" dirty="0" err="1" smtClean="0">
                <a:solidFill>
                  <a:srgbClr val="000000"/>
                </a:solidFill>
                <a:latin typeface="+mj-lt"/>
              </a:rPr>
              <a:t>Banga</a:t>
            </a:r>
            <a:endParaRPr lang="en-US" sz="1400" dirty="0" smtClean="0">
              <a:solidFill>
                <a:srgbClr val="000000"/>
              </a:solidFill>
              <a:latin typeface="+mj-lt"/>
            </a:endParaRPr>
          </a:p>
          <a:p>
            <a:r>
              <a:rPr lang="en-US" sz="1400" i="1" dirty="0">
                <a:solidFill>
                  <a:srgbClr val="000000"/>
                </a:solidFill>
                <a:latin typeface="+mj-lt"/>
              </a:rPr>
              <a:t>Malawi Network of </a:t>
            </a:r>
            <a:r>
              <a:rPr lang="en-US" sz="1400" i="1" dirty="0" smtClean="0">
                <a:solidFill>
                  <a:srgbClr val="000000"/>
                </a:solidFill>
                <a:latin typeface="+mj-lt"/>
              </a:rPr>
              <a:t>PLHIV</a:t>
            </a:r>
            <a:r>
              <a:rPr lang="en-US" sz="1600" dirty="0" smtClean="0">
                <a:solidFill>
                  <a:srgbClr val="000000"/>
                </a:solidFill>
                <a:latin typeface="+mj-lt"/>
              </a:rPr>
              <a:t> </a:t>
            </a:r>
            <a:r>
              <a:rPr lang="en-US" sz="1600" dirty="0" smtClean="0">
                <a:latin typeface="+mj-lt"/>
              </a:rPr>
              <a:t> </a:t>
            </a:r>
            <a:endParaRPr lang="en-US" sz="1600" dirty="0">
              <a:latin typeface="+mj-lt"/>
            </a:endParaRPr>
          </a:p>
        </p:txBody>
      </p:sp>
      <p:sp>
        <p:nvSpPr>
          <p:cNvPr id="31" name="TextBox 30"/>
          <p:cNvSpPr txBox="1"/>
          <p:nvPr/>
        </p:nvSpPr>
        <p:spPr>
          <a:xfrm>
            <a:off x="3420341" y="4526280"/>
            <a:ext cx="4360718" cy="523220"/>
          </a:xfrm>
          <a:prstGeom prst="rect">
            <a:avLst/>
          </a:prstGeom>
          <a:noFill/>
        </p:spPr>
        <p:txBody>
          <a:bodyPr wrap="square" rtlCol="0">
            <a:spAutoFit/>
          </a:bodyPr>
          <a:lstStyle/>
          <a:p>
            <a:pPr algn="r"/>
            <a:r>
              <a:rPr lang="en-US" sz="1400" b="1" dirty="0" smtClean="0">
                <a:latin typeface="+mj-lt"/>
              </a:rPr>
              <a:t>Luckyboy Mkhondwane</a:t>
            </a:r>
          </a:p>
          <a:p>
            <a:pPr algn="r"/>
            <a:r>
              <a:rPr lang="en-US" sz="1400" b="1" i="1" dirty="0" smtClean="0">
                <a:latin typeface="+mj-lt"/>
              </a:rPr>
              <a:t>Tr</a:t>
            </a:r>
            <a:r>
              <a:rPr lang="en-US" sz="1400" i="1" dirty="0" smtClean="0">
                <a:latin typeface="+mj-lt"/>
              </a:rPr>
              <a:t>eatment Action Campaign (TAC)</a:t>
            </a:r>
            <a:endParaRPr lang="en-US" sz="1400" i="1" dirty="0">
              <a:latin typeface="+mj-lt"/>
            </a:endParaRPr>
          </a:p>
        </p:txBody>
      </p:sp>
      <p:sp>
        <p:nvSpPr>
          <p:cNvPr id="32" name="TextBox 31"/>
          <p:cNvSpPr txBox="1"/>
          <p:nvPr/>
        </p:nvSpPr>
        <p:spPr>
          <a:xfrm>
            <a:off x="1392382" y="3429000"/>
            <a:ext cx="4360718" cy="769441"/>
          </a:xfrm>
          <a:prstGeom prst="rect">
            <a:avLst/>
          </a:prstGeom>
          <a:noFill/>
        </p:spPr>
        <p:txBody>
          <a:bodyPr wrap="square" rtlCol="0">
            <a:spAutoFit/>
          </a:bodyPr>
          <a:lstStyle/>
          <a:p>
            <a:r>
              <a:rPr lang="en-US" sz="1400" b="1" dirty="0" smtClean="0">
                <a:latin typeface="+mj-lt"/>
              </a:rPr>
              <a:t>Obatunde </a:t>
            </a:r>
            <a:r>
              <a:rPr lang="en-US" sz="1400" b="1" dirty="0" err="1" smtClean="0">
                <a:latin typeface="+mj-lt"/>
              </a:rPr>
              <a:t>Oladap</a:t>
            </a:r>
            <a:endParaRPr lang="en-US" sz="1400" b="1" i="1" dirty="0" smtClean="0">
              <a:latin typeface="+mj-lt"/>
            </a:endParaRPr>
          </a:p>
          <a:p>
            <a:r>
              <a:rPr lang="en-US" sz="1400" b="1" dirty="0" err="1" smtClean="0">
                <a:latin typeface="+mj-lt"/>
              </a:rPr>
              <a:t>Olubukola</a:t>
            </a:r>
            <a:r>
              <a:rPr lang="en-US" sz="1400" b="1" dirty="0" smtClean="0">
                <a:latin typeface="+mj-lt"/>
              </a:rPr>
              <a:t> </a:t>
            </a:r>
            <a:r>
              <a:rPr lang="en-US" sz="1400" b="1" dirty="0" err="1" smtClean="0">
                <a:latin typeface="+mj-lt"/>
              </a:rPr>
              <a:t>Ayinde</a:t>
            </a:r>
            <a:endParaRPr lang="en-US" sz="1400" b="1" dirty="0" smtClean="0">
              <a:latin typeface="+mj-lt"/>
            </a:endParaRPr>
          </a:p>
          <a:p>
            <a:r>
              <a:rPr lang="en-US" sz="1400" i="1" dirty="0" smtClean="0">
                <a:latin typeface="+mj-lt"/>
              </a:rPr>
              <a:t>Positive Life Association of Nigeria (PLAN</a:t>
            </a:r>
            <a:r>
              <a:rPr lang="en-US" sz="1600" i="1" dirty="0" smtClean="0">
                <a:latin typeface="+mj-lt"/>
              </a:rPr>
              <a:t>)</a:t>
            </a:r>
            <a:endParaRPr lang="en-US" sz="1600" i="1" dirty="0">
              <a:latin typeface="+mj-lt"/>
            </a:endParaRPr>
          </a:p>
        </p:txBody>
      </p:sp>
      <p:sp>
        <p:nvSpPr>
          <p:cNvPr id="34" name="TextBox 33"/>
          <p:cNvSpPr txBox="1"/>
          <p:nvPr/>
        </p:nvSpPr>
        <p:spPr>
          <a:xfrm>
            <a:off x="3420341" y="1269844"/>
            <a:ext cx="4360718" cy="984885"/>
          </a:xfrm>
          <a:prstGeom prst="rect">
            <a:avLst/>
          </a:prstGeom>
          <a:noFill/>
        </p:spPr>
        <p:txBody>
          <a:bodyPr wrap="square" rtlCol="0">
            <a:spAutoFit/>
          </a:bodyPr>
          <a:lstStyle/>
          <a:p>
            <a:pPr algn="r"/>
            <a:r>
              <a:rPr lang="en-US" sz="1400" b="1" dirty="0">
                <a:latin typeface="+mj-lt"/>
              </a:rPr>
              <a:t>Proscovia </a:t>
            </a:r>
            <a:r>
              <a:rPr lang="en-US" sz="1400" b="1" dirty="0" err="1" smtClean="0">
                <a:latin typeface="+mj-lt"/>
              </a:rPr>
              <a:t>Namakula</a:t>
            </a:r>
            <a:endParaRPr lang="en-US" sz="1400" b="1" dirty="0">
              <a:latin typeface="+mj-lt"/>
            </a:endParaRPr>
          </a:p>
          <a:p>
            <a:pPr algn="r"/>
            <a:r>
              <a:rPr lang="en-US" sz="1400" b="1" dirty="0" smtClean="0">
                <a:latin typeface="+mj-lt"/>
              </a:rPr>
              <a:t>Stephen </a:t>
            </a:r>
            <a:r>
              <a:rPr lang="en-US" sz="1400" b="1" dirty="0" err="1" smtClean="0">
                <a:latin typeface="+mj-lt"/>
              </a:rPr>
              <a:t>Watiti</a:t>
            </a:r>
            <a:endParaRPr lang="en-US" sz="1400" b="1" dirty="0" smtClean="0">
              <a:latin typeface="+mj-lt"/>
            </a:endParaRPr>
          </a:p>
          <a:p>
            <a:pPr algn="r"/>
            <a:r>
              <a:rPr lang="en-US" sz="1400" i="1" dirty="0" smtClean="0">
                <a:latin typeface="+mj-lt"/>
              </a:rPr>
              <a:t>ICW </a:t>
            </a:r>
            <a:r>
              <a:rPr lang="en-US" sz="1400" i="1" dirty="0">
                <a:latin typeface="+mj-lt"/>
              </a:rPr>
              <a:t>(East Africa)</a:t>
            </a:r>
          </a:p>
          <a:p>
            <a:pPr algn="r"/>
            <a:endParaRPr lang="en-US" sz="1600" dirty="0">
              <a:latin typeface="+mj-lt"/>
            </a:endParaRPr>
          </a:p>
        </p:txBody>
      </p:sp>
      <p:sp>
        <p:nvSpPr>
          <p:cNvPr id="35" name="TextBox 34"/>
          <p:cNvSpPr txBox="1"/>
          <p:nvPr/>
        </p:nvSpPr>
        <p:spPr>
          <a:xfrm>
            <a:off x="2514600" y="3429000"/>
            <a:ext cx="5266459" cy="1384995"/>
          </a:xfrm>
          <a:prstGeom prst="rect">
            <a:avLst/>
          </a:prstGeom>
          <a:noFill/>
        </p:spPr>
        <p:txBody>
          <a:bodyPr wrap="square" rtlCol="0">
            <a:spAutoFit/>
          </a:bodyPr>
          <a:lstStyle/>
          <a:p>
            <a:pPr algn="r"/>
            <a:r>
              <a:rPr lang="en-US" sz="1400" b="1" dirty="0">
                <a:solidFill>
                  <a:srgbClr val="000000"/>
                </a:solidFill>
                <a:latin typeface="+mj-lt"/>
              </a:rPr>
              <a:t>Imelda </a:t>
            </a:r>
            <a:r>
              <a:rPr lang="en-US" sz="1400" b="1" dirty="0" err="1" smtClean="0">
                <a:solidFill>
                  <a:srgbClr val="000000"/>
                </a:solidFill>
                <a:latin typeface="+mj-lt"/>
              </a:rPr>
              <a:t>Mahaka</a:t>
            </a:r>
            <a:endParaRPr lang="en-US" sz="1400" b="1" dirty="0" smtClean="0">
              <a:solidFill>
                <a:srgbClr val="000000"/>
              </a:solidFill>
              <a:latin typeface="+mj-lt"/>
            </a:endParaRPr>
          </a:p>
          <a:p>
            <a:pPr algn="r"/>
            <a:r>
              <a:rPr lang="en-US" sz="1400" i="1" dirty="0">
                <a:solidFill>
                  <a:srgbClr val="000000"/>
                </a:solidFill>
                <a:latin typeface="+mj-lt"/>
              </a:rPr>
              <a:t>Pangaea </a:t>
            </a:r>
            <a:r>
              <a:rPr lang="en-US" sz="1400" i="1" dirty="0" smtClean="0">
                <a:solidFill>
                  <a:srgbClr val="000000"/>
                </a:solidFill>
                <a:latin typeface="+mj-lt"/>
              </a:rPr>
              <a:t>Zimbabwe</a:t>
            </a:r>
          </a:p>
          <a:p>
            <a:pPr algn="r"/>
            <a:r>
              <a:rPr lang="en-US" sz="1400" b="1" dirty="0">
                <a:solidFill>
                  <a:srgbClr val="000000"/>
                </a:solidFill>
                <a:latin typeface="+mj-lt"/>
              </a:rPr>
              <a:t>Tapiwanashe </a:t>
            </a:r>
            <a:r>
              <a:rPr lang="en-US" sz="1400" b="1" dirty="0" smtClean="0">
                <a:solidFill>
                  <a:srgbClr val="000000"/>
                </a:solidFill>
                <a:latin typeface="+mj-lt"/>
              </a:rPr>
              <a:t>Kujinga</a:t>
            </a:r>
          </a:p>
          <a:p>
            <a:pPr algn="r"/>
            <a:r>
              <a:rPr lang="en-US" sz="1400" i="1" dirty="0" smtClean="0">
                <a:solidFill>
                  <a:srgbClr val="000000"/>
                </a:solidFill>
                <a:latin typeface="+mj-lt"/>
              </a:rPr>
              <a:t>Pan-African </a:t>
            </a:r>
            <a:r>
              <a:rPr lang="en-US" sz="1400" i="1" dirty="0">
                <a:solidFill>
                  <a:srgbClr val="000000"/>
                </a:solidFill>
                <a:latin typeface="+mj-lt"/>
              </a:rPr>
              <a:t>Treatment </a:t>
            </a:r>
            <a:r>
              <a:rPr lang="en-US" sz="1400" i="1" dirty="0" smtClean="0">
                <a:solidFill>
                  <a:srgbClr val="000000"/>
                </a:solidFill>
                <a:latin typeface="+mj-lt"/>
              </a:rPr>
              <a:t>Access  Movement </a:t>
            </a:r>
            <a:endParaRPr lang="en-US" sz="1400" i="1" dirty="0">
              <a:latin typeface="+mj-lt"/>
            </a:endParaRPr>
          </a:p>
          <a:p>
            <a:pPr algn="r"/>
            <a:r>
              <a:rPr lang="en-US" sz="1400" dirty="0" smtClean="0">
                <a:solidFill>
                  <a:srgbClr val="000000"/>
                </a:solidFill>
              </a:rPr>
              <a:t> </a:t>
            </a:r>
          </a:p>
          <a:p>
            <a:pPr algn="r"/>
            <a:endParaRPr lang="en-US" sz="1400" i="1" dirty="0">
              <a:latin typeface="+mj-lt"/>
            </a:endParaRPr>
          </a:p>
        </p:txBody>
      </p:sp>
      <p:sp>
        <p:nvSpPr>
          <p:cNvPr id="36" name="TextBox 35"/>
          <p:cNvSpPr txBox="1"/>
          <p:nvPr/>
        </p:nvSpPr>
        <p:spPr>
          <a:xfrm>
            <a:off x="1392382" y="1269844"/>
            <a:ext cx="4360718" cy="523220"/>
          </a:xfrm>
          <a:prstGeom prst="rect">
            <a:avLst/>
          </a:prstGeom>
          <a:noFill/>
        </p:spPr>
        <p:txBody>
          <a:bodyPr wrap="square" rtlCol="0">
            <a:spAutoFit/>
          </a:bodyPr>
          <a:lstStyle/>
          <a:p>
            <a:r>
              <a:rPr lang="en-US" sz="1400" b="1" dirty="0" err="1" smtClean="0">
                <a:latin typeface="+mj-lt"/>
              </a:rPr>
              <a:t>Ibrahima</a:t>
            </a:r>
            <a:r>
              <a:rPr lang="en-US" sz="1400" b="1" dirty="0" smtClean="0">
                <a:latin typeface="+mj-lt"/>
              </a:rPr>
              <a:t> Ba</a:t>
            </a:r>
          </a:p>
          <a:p>
            <a:r>
              <a:rPr lang="en-US" sz="1400" i="1" dirty="0" smtClean="0">
                <a:latin typeface="+mj-lt"/>
              </a:rPr>
              <a:t>RNP+</a:t>
            </a:r>
            <a:endParaRPr lang="en-US" sz="1400" i="1" dirty="0">
              <a:latin typeface="+mj-lt"/>
            </a:endParaRPr>
          </a:p>
        </p:txBody>
      </p:sp>
      <p:sp>
        <p:nvSpPr>
          <p:cNvPr id="37" name="TextBox 36"/>
          <p:cNvSpPr txBox="1"/>
          <p:nvPr/>
        </p:nvSpPr>
        <p:spPr>
          <a:xfrm>
            <a:off x="1392382" y="2224207"/>
            <a:ext cx="4360718" cy="523220"/>
          </a:xfrm>
          <a:prstGeom prst="rect">
            <a:avLst/>
          </a:prstGeom>
          <a:noFill/>
        </p:spPr>
        <p:txBody>
          <a:bodyPr wrap="square" rtlCol="0">
            <a:spAutoFit/>
          </a:bodyPr>
          <a:lstStyle/>
          <a:p>
            <a:r>
              <a:rPr lang="en-US" sz="1400" b="1" dirty="0" smtClean="0">
                <a:latin typeface="+mj-lt"/>
              </a:rPr>
              <a:t>Francine </a:t>
            </a:r>
            <a:r>
              <a:rPr lang="en-US" sz="1400" b="1" dirty="0" err="1" smtClean="0">
                <a:latin typeface="+mj-lt"/>
              </a:rPr>
              <a:t>Nganale</a:t>
            </a:r>
            <a:endParaRPr lang="en-US" sz="1400" b="1" dirty="0" smtClean="0">
              <a:latin typeface="+mj-lt"/>
            </a:endParaRPr>
          </a:p>
          <a:p>
            <a:r>
              <a:rPr lang="en-US" sz="1400" i="1" dirty="0" smtClean="0">
                <a:latin typeface="+mj-lt"/>
              </a:rPr>
              <a:t>ICW+ Cameroon</a:t>
            </a:r>
            <a:endParaRPr lang="en-US" sz="1400" i="1" dirty="0">
              <a:latin typeface="+mj-lt"/>
            </a:endParaRPr>
          </a:p>
        </p:txBody>
      </p:sp>
      <p:sp>
        <p:nvSpPr>
          <p:cNvPr id="11" name="TextBox 10"/>
          <p:cNvSpPr txBox="1"/>
          <p:nvPr/>
        </p:nvSpPr>
        <p:spPr>
          <a:xfrm>
            <a:off x="3429000" y="5536049"/>
            <a:ext cx="5571260" cy="1169551"/>
          </a:xfrm>
          <a:prstGeom prst="rect">
            <a:avLst/>
          </a:prstGeom>
          <a:noFill/>
        </p:spPr>
        <p:txBody>
          <a:bodyPr wrap="square" rtlCol="0">
            <a:spAutoFit/>
          </a:bodyPr>
          <a:lstStyle/>
          <a:p>
            <a:pPr algn="r"/>
            <a:r>
              <a:rPr lang="en-US" sz="1400" dirty="0" smtClean="0">
                <a:latin typeface="+mj-lt"/>
              </a:rPr>
              <a:t>Kenly </a:t>
            </a:r>
            <a:r>
              <a:rPr lang="en-US" sz="1400" dirty="0" err="1" smtClean="0">
                <a:latin typeface="+mj-lt"/>
              </a:rPr>
              <a:t>Sikwese</a:t>
            </a:r>
            <a:r>
              <a:rPr lang="en-US" sz="1400" dirty="0" smtClean="0">
                <a:latin typeface="+mj-lt"/>
              </a:rPr>
              <a:t> – </a:t>
            </a:r>
            <a:r>
              <a:rPr lang="en-US" sz="1400" i="1" dirty="0" err="1" smtClean="0">
                <a:latin typeface="+mj-lt"/>
              </a:rPr>
              <a:t>AfroCAB</a:t>
            </a:r>
            <a:endParaRPr lang="en-US" sz="1400" i="1" dirty="0" smtClean="0">
              <a:latin typeface="+mj-lt"/>
            </a:endParaRPr>
          </a:p>
          <a:p>
            <a:pPr algn="r"/>
            <a:r>
              <a:rPr lang="en-US" sz="1400" dirty="0" smtClean="0">
                <a:latin typeface="+mj-lt"/>
              </a:rPr>
              <a:t>Memory </a:t>
            </a:r>
            <a:r>
              <a:rPr lang="en-US" sz="1400" dirty="0" smtClean="0">
                <a:solidFill>
                  <a:srgbClr val="000000"/>
                </a:solidFill>
                <a:latin typeface="+mj-lt"/>
              </a:rPr>
              <a:t>Sachikonye, Polly Clayden -  </a:t>
            </a:r>
            <a:r>
              <a:rPr lang="en-US" sz="1400" i="1" dirty="0" err="1" smtClean="0">
                <a:solidFill>
                  <a:srgbClr val="000000"/>
                </a:solidFill>
                <a:latin typeface="+mj-lt"/>
              </a:rPr>
              <a:t>iBase</a:t>
            </a:r>
            <a:endParaRPr lang="en-US" sz="1400" i="1" dirty="0" smtClean="0">
              <a:solidFill>
                <a:srgbClr val="000000"/>
              </a:solidFill>
              <a:latin typeface="+mj-lt"/>
            </a:endParaRPr>
          </a:p>
          <a:p>
            <a:pPr algn="r"/>
            <a:r>
              <a:rPr lang="en-US" sz="1400" dirty="0" smtClean="0">
                <a:solidFill>
                  <a:srgbClr val="000000"/>
                </a:solidFill>
                <a:latin typeface="+mj-lt"/>
              </a:rPr>
              <a:t>Danielle  Ferris- </a:t>
            </a:r>
            <a:r>
              <a:rPr lang="en-US" sz="1400" i="1" dirty="0" smtClean="0">
                <a:solidFill>
                  <a:srgbClr val="000000"/>
                </a:solidFill>
                <a:latin typeface="+mj-lt"/>
              </a:rPr>
              <a:t>UNITAID</a:t>
            </a:r>
          </a:p>
          <a:p>
            <a:pPr algn="r"/>
            <a:r>
              <a:rPr lang="en-US" sz="1400" dirty="0" smtClean="0">
                <a:solidFill>
                  <a:srgbClr val="000000"/>
                </a:solidFill>
                <a:latin typeface="+mj-lt"/>
              </a:rPr>
              <a:t>Carolyn Amole, Herb Harwell, Caroline Middlecote, Benvy Caldwell – </a:t>
            </a:r>
            <a:r>
              <a:rPr lang="en-US" sz="1400" i="1" dirty="0" smtClean="0">
                <a:solidFill>
                  <a:srgbClr val="000000"/>
                </a:solidFill>
                <a:latin typeface="+mj-lt"/>
              </a:rPr>
              <a:t>CHAI</a:t>
            </a:r>
          </a:p>
          <a:p>
            <a:pPr algn="r"/>
            <a:r>
              <a:rPr lang="en-US" sz="1400" dirty="0" smtClean="0">
                <a:latin typeface="+mj-lt"/>
              </a:rPr>
              <a:t> </a:t>
            </a:r>
            <a:endParaRPr lang="en-US" sz="1400" dirty="0">
              <a:latin typeface="+mj-lt"/>
            </a:endParaRPr>
          </a:p>
        </p:txBody>
      </p:sp>
    </p:spTree>
    <p:extLst>
      <p:ext uri="{BB962C8B-B14F-4D97-AF65-F5344CB8AC3E}">
        <p14:creationId xmlns:p14="http://schemas.microsoft.com/office/powerpoint/2010/main" val="18666846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83462"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5" name="Slide Number Placeholder 3"/>
          <p:cNvSpPr>
            <a:spLocks noGrp="1"/>
          </p:cNvSpPr>
          <p:nvPr>
            <p:ph type="sldNum" sz="quarter" idx="11"/>
            <p:custDataLst>
              <p:tags r:id="rId3"/>
            </p:custDataLst>
          </p:nvPr>
        </p:nvSpPr>
        <p:spPr>
          <a:noFill/>
        </p:spPr>
        <p:txBody>
          <a:bodyPr/>
          <a:lstStyle/>
          <a:p>
            <a:fld id="{492152D1-46F3-4138-844B-62DA901DB5FF}" type="slidenum">
              <a:rPr lang="en-US" sz="1200" smtClean="0">
                <a:solidFill>
                  <a:srgbClr val="000000"/>
                </a:solidFill>
              </a:rPr>
              <a:pPr/>
              <a:t>20</a:t>
            </a:fld>
            <a:endParaRPr lang="en-US" sz="1200" dirty="0">
              <a:solidFill>
                <a:srgbClr val="000000"/>
              </a:solidFill>
            </a:endParaRPr>
          </a:p>
        </p:txBody>
      </p:sp>
      <p:sp>
        <p:nvSpPr>
          <p:cNvPr id="31746" name="Rectangle 2"/>
          <p:cNvSpPr>
            <a:spLocks noGrp="1" noChangeArrowheads="1"/>
          </p:cNvSpPr>
          <p:nvPr>
            <p:ph type="title"/>
            <p:custDataLst>
              <p:tags r:id="rId4"/>
            </p:custDataLst>
          </p:nvPr>
        </p:nvSpPr>
        <p:spPr bwMode="gray">
          <a:xfrm>
            <a:off x="0" y="0"/>
            <a:ext cx="9144000" cy="914400"/>
          </a:xfrm>
          <a:solidFill>
            <a:srgbClr val="003366"/>
          </a:solidFill>
        </p:spPr>
        <p:txBody>
          <a:bodyPr/>
          <a:lstStyle/>
          <a:p>
            <a:pPr marL="171450" algn="l"/>
            <a:r>
              <a:rPr lang="en-US" sz="2400" dirty="0" smtClean="0">
                <a:solidFill>
                  <a:schemeClr val="bg1"/>
                </a:solidFill>
                <a:latin typeface="Calibri" panose="020F0502020204030204" pitchFamily="34" charset="0"/>
              </a:rPr>
              <a:t>Optimal ARV CAB Practicalities </a:t>
            </a:r>
            <a:endParaRPr lang="en-US" sz="2400" dirty="0">
              <a:solidFill>
                <a:schemeClr val="bg1"/>
              </a:solidFill>
              <a:latin typeface="Calibri" panose="020F0502020204030204" pitchFamily="34" charset="0"/>
            </a:endParaRPr>
          </a:p>
        </p:txBody>
      </p:sp>
      <p:sp>
        <p:nvSpPr>
          <p:cNvPr id="12" name="TextBox 11"/>
          <p:cNvSpPr txBox="1"/>
          <p:nvPr/>
        </p:nvSpPr>
        <p:spPr>
          <a:xfrm>
            <a:off x="304800" y="1013222"/>
            <a:ext cx="8610600" cy="5539978"/>
          </a:xfrm>
          <a:prstGeom prst="rect">
            <a:avLst/>
          </a:prstGeom>
          <a:noFill/>
        </p:spPr>
        <p:txBody>
          <a:bodyPr wrap="square" rtlCol="0">
            <a:spAutoFit/>
          </a:bodyPr>
          <a:lstStyle/>
          <a:p>
            <a:pPr marL="457200" indent="-457200">
              <a:buSzPct val="70000"/>
              <a:buFont typeface="Wingdings" panose="05000000000000000000" pitchFamily="2" charset="2"/>
              <a:buChar char="q"/>
            </a:pPr>
            <a:r>
              <a:rPr lang="en-US" sz="2200" b="1" i="1" dirty="0" smtClean="0">
                <a:solidFill>
                  <a:srgbClr val="000000"/>
                </a:solidFill>
                <a:latin typeface="Calibri" panose="020F0502020204030204" pitchFamily="34" charset="0"/>
              </a:rPr>
              <a:t>Primary and alternate members: </a:t>
            </a:r>
            <a:r>
              <a:rPr lang="en-US" sz="2200" dirty="0" smtClean="0">
                <a:solidFill>
                  <a:srgbClr val="000000"/>
                </a:solidFill>
                <a:latin typeface="Calibri" panose="020F0502020204030204" pitchFamily="34" charset="0"/>
              </a:rPr>
              <a:t>Primary members requested to attend CAB meetings, with alternate members attending as needed</a:t>
            </a:r>
          </a:p>
          <a:p>
            <a:pPr>
              <a:buSzPct val="70000"/>
            </a:pPr>
            <a:endParaRPr lang="en-US" sz="3000" i="1" dirty="0" smtClean="0">
              <a:solidFill>
                <a:srgbClr val="000000"/>
              </a:solidFill>
              <a:latin typeface="Calibri" panose="020F0502020204030204" pitchFamily="34" charset="0"/>
            </a:endParaRPr>
          </a:p>
          <a:p>
            <a:pPr marL="457200" indent="-457200">
              <a:buSzPct val="70000"/>
              <a:buFont typeface="Wingdings" panose="05000000000000000000" pitchFamily="2" charset="2"/>
              <a:buChar char="q"/>
            </a:pPr>
            <a:r>
              <a:rPr lang="en-US" sz="2200" b="1" i="1" dirty="0" smtClean="0">
                <a:solidFill>
                  <a:srgbClr val="000000"/>
                </a:solidFill>
                <a:latin typeface="Calibri" panose="020F0502020204030204" pitchFamily="34" charset="0"/>
              </a:rPr>
              <a:t>1-2 in-person meetings per year/rotating locations: </a:t>
            </a:r>
            <a:r>
              <a:rPr lang="en-US" sz="2200" dirty="0" smtClean="0">
                <a:solidFill>
                  <a:srgbClr val="000000"/>
                </a:solidFill>
                <a:latin typeface="Calibri" panose="020F0502020204030204" pitchFamily="34" charset="0"/>
              </a:rPr>
              <a:t>Objective is to have 1-2 in-person meetings per year, and ongoing communication amongst the group</a:t>
            </a:r>
            <a:endParaRPr lang="en-US" sz="2200" i="1" dirty="0" smtClean="0">
              <a:solidFill>
                <a:srgbClr val="000000"/>
              </a:solidFill>
              <a:latin typeface="Calibri" panose="020F0502020204030204" pitchFamily="34" charset="0"/>
            </a:endParaRPr>
          </a:p>
          <a:p>
            <a:pPr marL="457200" indent="-457200">
              <a:buSzPct val="70000"/>
              <a:buFont typeface="Wingdings" panose="05000000000000000000" pitchFamily="2" charset="2"/>
              <a:buChar char="q"/>
            </a:pPr>
            <a:endParaRPr lang="en-US" sz="3000" i="1" dirty="0">
              <a:solidFill>
                <a:srgbClr val="000000"/>
              </a:solidFill>
              <a:latin typeface="Calibri" panose="020F0502020204030204" pitchFamily="34" charset="0"/>
            </a:endParaRPr>
          </a:p>
          <a:p>
            <a:pPr marL="457200" indent="-457200">
              <a:buSzPct val="70000"/>
              <a:buFont typeface="Wingdings" panose="05000000000000000000" pitchFamily="2" charset="2"/>
              <a:buChar char="q"/>
            </a:pPr>
            <a:r>
              <a:rPr lang="en-US" sz="2200" b="1" i="1" dirty="0" smtClean="0">
                <a:solidFill>
                  <a:srgbClr val="000000"/>
                </a:solidFill>
                <a:latin typeface="Calibri" panose="020F0502020204030204" pitchFamily="34" charset="0"/>
              </a:rPr>
              <a:t>Linkage between CAB members, other civil society organizations and CHAI country teams in countries: </a:t>
            </a:r>
            <a:r>
              <a:rPr lang="en-US" sz="2200" dirty="0" smtClean="0">
                <a:solidFill>
                  <a:srgbClr val="000000"/>
                </a:solidFill>
                <a:latin typeface="Calibri" panose="020F0502020204030204" pitchFamily="34" charset="0"/>
              </a:rPr>
              <a:t>Engagement with CHAI country teams to be discussed tomorrow; CAB members requested to support communication of project and activities at national level</a:t>
            </a:r>
          </a:p>
          <a:p>
            <a:pPr>
              <a:buSzPct val="70000"/>
            </a:pPr>
            <a:endParaRPr lang="en-US" sz="3000" i="1" dirty="0" smtClean="0">
              <a:solidFill>
                <a:srgbClr val="000000"/>
              </a:solidFill>
              <a:latin typeface="Calibri" panose="020F0502020204030204" pitchFamily="34" charset="0"/>
            </a:endParaRPr>
          </a:p>
          <a:p>
            <a:pPr marL="457200" indent="-457200">
              <a:buSzPct val="70000"/>
              <a:buFont typeface="Wingdings" panose="05000000000000000000" pitchFamily="2" charset="2"/>
              <a:buChar char="q"/>
            </a:pPr>
            <a:r>
              <a:rPr lang="en-US" sz="2200" b="1" i="1" dirty="0" smtClean="0">
                <a:solidFill>
                  <a:srgbClr val="000000"/>
                </a:solidFill>
                <a:latin typeface="Calibri" panose="020F0502020204030204" pitchFamily="34" charset="0"/>
              </a:rPr>
              <a:t>Implementation of demand generation activities:</a:t>
            </a:r>
            <a:r>
              <a:rPr lang="en-US" sz="2200" dirty="0" smtClean="0">
                <a:solidFill>
                  <a:srgbClr val="000000"/>
                </a:solidFill>
                <a:latin typeface="Calibri" panose="020F0502020204030204" pitchFamily="34" charset="0"/>
              </a:rPr>
              <a:t> Budgets for community activities at national level to be coordinated between CAB, CHAI country teams, and other community organizations</a:t>
            </a:r>
            <a:endParaRPr lang="en-US" sz="2200" b="1" i="1"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41075687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gray">
          <a:xfrm>
            <a:off x="0" y="0"/>
            <a:ext cx="9144000" cy="914400"/>
          </a:xfrm>
          <a:prstGeom prst="rect">
            <a:avLst/>
          </a:prstGeom>
          <a:solidFill>
            <a:srgbClr val="003366"/>
          </a:solidFill>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171450" algn="l"/>
            <a:r>
              <a:rPr lang="en-US" sz="2400" dirty="0" smtClean="0">
                <a:solidFill>
                  <a:prstClr val="white"/>
                </a:solidFill>
              </a:rPr>
              <a:t>The CAB is supported by a UNITAID grant</a:t>
            </a:r>
            <a:endParaRPr lang="en-US" sz="2400" dirty="0">
              <a:solidFill>
                <a:prstClr val="white"/>
              </a:solidFill>
            </a:endParaRPr>
          </a:p>
        </p:txBody>
      </p:sp>
      <p:sp>
        <p:nvSpPr>
          <p:cNvPr id="2" name="TextBox 1"/>
          <p:cNvSpPr txBox="1"/>
          <p:nvPr/>
        </p:nvSpPr>
        <p:spPr>
          <a:xfrm>
            <a:off x="855252" y="2286000"/>
            <a:ext cx="7433573" cy="1015663"/>
          </a:xfrm>
          <a:prstGeom prst="rect">
            <a:avLst/>
          </a:prstGeom>
          <a:noFill/>
        </p:spPr>
        <p:txBody>
          <a:bodyPr wrap="none" rtlCol="0">
            <a:spAutoFit/>
          </a:bodyPr>
          <a:lstStyle/>
          <a:p>
            <a:pPr algn="ctr" defTabSz="457200"/>
            <a:endParaRPr lang="en-US" sz="2000" dirty="0">
              <a:solidFill>
                <a:prstClr val="black"/>
              </a:solidFill>
              <a:latin typeface="Calibri"/>
              <a:ea typeface="ＭＳ Ｐゴシック" pitchFamily="127" charset="-128"/>
            </a:endParaRPr>
          </a:p>
          <a:p>
            <a:pPr algn="ctr" defTabSz="457200"/>
            <a:r>
              <a:rPr lang="en-US" sz="2000" dirty="0">
                <a:solidFill>
                  <a:prstClr val="black"/>
                </a:solidFill>
                <a:latin typeface="Calibri"/>
                <a:ea typeface="ＭＳ Ｐゴシック" pitchFamily="127" charset="-128"/>
              </a:rPr>
              <a:t>CHAI’s work on accelerating access to optimal ARVs</a:t>
            </a:r>
          </a:p>
          <a:p>
            <a:pPr algn="ctr" defTabSz="457200"/>
            <a:r>
              <a:rPr lang="en-US" sz="2000" dirty="0">
                <a:solidFill>
                  <a:prstClr val="black"/>
                </a:solidFill>
                <a:latin typeface="Calibri"/>
                <a:ea typeface="ＭＳ Ｐゴシック" pitchFamily="127" charset="-128"/>
              </a:rPr>
              <a:t>is made possible by the generous support and partnership of UNITAID</a:t>
            </a: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0202" y="3581400"/>
            <a:ext cx="4203596" cy="228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312000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108448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6"/>
          <p:cNvGrpSpPr/>
          <p:nvPr/>
        </p:nvGrpSpPr>
        <p:grpSpPr>
          <a:xfrm>
            <a:off x="0" y="-18000"/>
            <a:ext cx="9144000" cy="6876000"/>
            <a:chOff x="30052" y="0"/>
            <a:chExt cx="10255476" cy="6858000"/>
          </a:xfrm>
        </p:grpSpPr>
        <p:pic>
          <p:nvPicPr>
            <p:cNvPr id="21" name="Picture 2" descr="https://oyinboafricanabeni.files.wordpress.com/2013/03/kid.jpg"/>
            <p:cNvPicPr>
              <a:picLocks noChangeAspect="1" noChangeArrowheads="1"/>
            </p:cNvPicPr>
            <p:nvPr/>
          </p:nvPicPr>
          <p:blipFill>
            <a:blip r:embed="rId7" cstate="screen">
              <a:duotone>
                <a:schemeClr val="accent6">
                  <a:shade val="45000"/>
                  <a:satMod val="135000"/>
                </a:schemeClr>
                <a:prstClr val="white"/>
              </a:duotone>
              <a:lum bright="10000"/>
            </a:blip>
            <a:stretch>
              <a:fillRect/>
            </a:stretch>
          </p:blipFill>
          <p:spPr bwMode="auto">
            <a:xfrm>
              <a:off x="30052" y="0"/>
              <a:ext cx="5098005" cy="6858000"/>
            </a:xfrm>
            <a:prstGeom prst="rect">
              <a:avLst/>
            </a:prstGeom>
            <a:noFill/>
            <a:ln>
              <a:noFill/>
            </a:ln>
          </p:spPr>
        </p:pic>
        <p:pic>
          <p:nvPicPr>
            <p:cNvPr id="22" name="Picture 2" descr="https://oyinboafricanabeni.files.wordpress.com/2013/03/kid.jpg"/>
            <p:cNvPicPr>
              <a:picLocks noChangeAspect="1" noChangeArrowheads="1"/>
            </p:cNvPicPr>
            <p:nvPr/>
          </p:nvPicPr>
          <p:blipFill>
            <a:blip r:embed="rId8" cstate="screen">
              <a:duotone>
                <a:schemeClr val="accent6">
                  <a:shade val="45000"/>
                  <a:satMod val="135000"/>
                </a:schemeClr>
                <a:prstClr val="white"/>
              </a:duotone>
              <a:lum bright="10000"/>
            </a:blip>
            <a:stretch>
              <a:fillRect/>
            </a:stretch>
          </p:blipFill>
          <p:spPr bwMode="auto">
            <a:xfrm>
              <a:off x="5116286" y="0"/>
              <a:ext cx="5169242" cy="6858000"/>
            </a:xfrm>
            <a:prstGeom prst="rect">
              <a:avLst/>
            </a:prstGeom>
            <a:noFill/>
            <a:ln>
              <a:noFill/>
            </a:ln>
          </p:spPr>
        </p:pic>
      </p:grpSp>
      <p:sp>
        <p:nvSpPr>
          <p:cNvPr id="20" name="Title 19"/>
          <p:cNvSpPr>
            <a:spLocks noGrp="1"/>
          </p:cNvSpPr>
          <p:nvPr>
            <p:ph type="title"/>
          </p:nvPr>
        </p:nvSpPr>
        <p:spPr>
          <a:solidFill>
            <a:schemeClr val="tx2"/>
          </a:solidFill>
          <a:effectLst/>
        </p:spPr>
        <p:txBody>
          <a:bodyPr wrap="square"/>
          <a:lstStyle/>
          <a:p>
            <a:pPr lvl="0"/>
            <a:r>
              <a:rPr lang="de-DE" sz="2800" dirty="0" smtClean="0">
                <a:solidFill>
                  <a:srgbClr val="FFFFFF"/>
                </a:solidFill>
                <a:latin typeface="Arial"/>
              </a:rPr>
              <a:t>UNITAID's mission &amp; new strategy</a:t>
            </a:r>
          </a:p>
        </p:txBody>
      </p:sp>
      <p:sp>
        <p:nvSpPr>
          <p:cNvPr id="11" name="Rectangle 10"/>
          <p:cNvSpPr/>
          <p:nvPr/>
        </p:nvSpPr>
        <p:spPr>
          <a:xfrm>
            <a:off x="773725" y="2318290"/>
            <a:ext cx="7717133" cy="42528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de-DE" sz="2800" b="1" i="1" dirty="0" smtClean="0">
                <a:solidFill>
                  <a:srgbClr val="000000"/>
                </a:solidFill>
              </a:rPr>
              <a:t>Mission</a:t>
            </a:r>
          </a:p>
          <a:p>
            <a:endParaRPr lang="de-DE" sz="800" dirty="0" smtClean="0">
              <a:solidFill>
                <a:srgbClr val="000000"/>
              </a:solidFill>
            </a:endParaRPr>
          </a:p>
          <a:p>
            <a:r>
              <a:rPr lang="de-DE" sz="2800" dirty="0" smtClean="0">
                <a:solidFill>
                  <a:srgbClr val="000000"/>
                </a:solidFill>
              </a:rPr>
              <a:t>Maximize the effectiveness of the global health response by catalyzing access to better health products</a:t>
            </a:r>
          </a:p>
        </p:txBody>
      </p:sp>
      <p:sp>
        <p:nvSpPr>
          <p:cNvPr id="3" name="Rectangle 2"/>
          <p:cNvSpPr/>
          <p:nvPr/>
        </p:nvSpPr>
        <p:spPr>
          <a:xfrm>
            <a:off x="773724" y="3954017"/>
            <a:ext cx="3642344" cy="523220"/>
          </a:xfrm>
          <a:prstGeom prst="rect">
            <a:avLst/>
          </a:prstGeom>
        </p:spPr>
        <p:txBody>
          <a:bodyPr wrap="none">
            <a:spAutoFit/>
          </a:bodyPr>
          <a:lstStyle/>
          <a:p>
            <a:r>
              <a:rPr lang="de-DE" sz="2800" b="1" i="1" dirty="0" smtClean="0">
                <a:solidFill>
                  <a:srgbClr val="000000"/>
                </a:solidFill>
              </a:rPr>
              <a:t>Strategic Objectives</a:t>
            </a:r>
            <a:endParaRPr lang="de-DE" sz="2800" b="1" i="1" dirty="0">
              <a:solidFill>
                <a:srgbClr val="000000"/>
              </a:solidFill>
            </a:endParaRPr>
          </a:p>
        </p:txBody>
      </p:sp>
      <p:sp>
        <p:nvSpPr>
          <p:cNvPr id="14" name="Rectangle 13"/>
          <p:cNvSpPr/>
          <p:nvPr/>
        </p:nvSpPr>
        <p:spPr>
          <a:xfrm>
            <a:off x="813616" y="4474764"/>
            <a:ext cx="7717133" cy="56605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de-DE" sz="2800" dirty="0" smtClean="0">
                <a:solidFill>
                  <a:srgbClr val="000000"/>
                </a:solidFill>
              </a:rPr>
              <a:t>Innovation, Access and Scalability</a:t>
            </a:r>
          </a:p>
        </p:txBody>
      </p:sp>
    </p:spTree>
    <p:extLst>
      <p:ext uri="{BB962C8B-B14F-4D97-AF65-F5344CB8AC3E}">
        <p14:creationId xmlns:p14="http://schemas.microsoft.com/office/powerpoint/2010/main" val="215176396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1085510"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46538"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err="1" smtClean="0">
              <a:solidFill>
                <a:srgbClr val="000000"/>
              </a:solidFill>
              <a:sym typeface="Arial"/>
            </a:endParaRPr>
          </a:p>
        </p:txBody>
      </p:sp>
      <p:sp>
        <p:nvSpPr>
          <p:cNvPr id="2" name="Title 1"/>
          <p:cNvSpPr>
            <a:spLocks noGrp="1"/>
          </p:cNvSpPr>
          <p:nvPr>
            <p:ph type="title"/>
          </p:nvPr>
        </p:nvSpPr>
        <p:spPr>
          <a:xfrm>
            <a:off x="1" y="194158"/>
            <a:ext cx="7540777" cy="756000"/>
          </a:xfrm>
        </p:spPr>
        <p:txBody>
          <a:bodyPr/>
          <a:lstStyle/>
          <a:p>
            <a:r>
              <a:rPr lang="en-US" dirty="0" smtClean="0"/>
              <a:t>HOW UNITAID OPERATES NOW</a:t>
            </a:r>
            <a:endParaRPr lang="en-US" dirty="0"/>
          </a:p>
        </p:txBody>
      </p:sp>
      <p:sp>
        <p:nvSpPr>
          <p:cNvPr id="10" name="TextBox 9"/>
          <p:cNvSpPr txBox="1"/>
          <p:nvPr/>
        </p:nvSpPr>
        <p:spPr>
          <a:xfrm>
            <a:off x="381000" y="1602113"/>
            <a:ext cx="8306136" cy="492443"/>
          </a:xfrm>
          <a:prstGeom prst="rect">
            <a:avLst/>
          </a:prstGeom>
          <a:noFill/>
        </p:spPr>
        <p:txBody>
          <a:bodyPr wrap="square" tIns="91440" bIns="91440" rtlCol="0">
            <a:spAutoFit/>
          </a:bodyPr>
          <a:lstStyle/>
          <a:p>
            <a:r>
              <a:rPr lang="en-GB" sz="2000" i="1" dirty="0" smtClean="0">
                <a:solidFill>
                  <a:srgbClr val="B0120E"/>
                </a:solidFill>
              </a:rPr>
              <a:t>UNITAID collaborates with global health partners and governments to: </a:t>
            </a:r>
          </a:p>
        </p:txBody>
      </p:sp>
      <p:pic>
        <p:nvPicPr>
          <p:cNvPr id="2351137" name="Picture 3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2803" y="2196153"/>
            <a:ext cx="8134307" cy="3213100"/>
          </a:xfrm>
          <a:prstGeom prst="rect">
            <a:avLst/>
          </a:prstGeom>
          <a:noFill/>
          <a:ln w="1905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025211170"/>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466" y="1591"/>
          <a:ext cx="1465" cy="1587"/>
        </p:xfrm>
        <a:graphic>
          <a:graphicData uri="http://schemas.openxmlformats.org/presentationml/2006/ole">
            <mc:AlternateContent xmlns:mc="http://schemas.openxmlformats.org/markup-compatibility/2006">
              <mc:Choice xmlns:v="urn:schemas-microsoft-com:vml" Requires="v">
                <p:oleObj spid="_x0000_s1086534"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6"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46538"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err="1" smtClean="0">
              <a:solidFill>
                <a:srgbClr val="000000"/>
              </a:solidFill>
              <a:sym typeface="Arial"/>
            </a:endParaRPr>
          </a:p>
        </p:txBody>
      </p:sp>
      <p:sp>
        <p:nvSpPr>
          <p:cNvPr id="2" name="Title 1"/>
          <p:cNvSpPr>
            <a:spLocks noGrp="1"/>
          </p:cNvSpPr>
          <p:nvPr>
            <p:ph type="title"/>
          </p:nvPr>
        </p:nvSpPr>
        <p:spPr>
          <a:xfrm>
            <a:off x="-8986" y="139920"/>
            <a:ext cx="7540777" cy="756000"/>
          </a:xfrm>
        </p:spPr>
        <p:txBody>
          <a:bodyPr/>
          <a:lstStyle/>
          <a:p>
            <a:r>
              <a:rPr lang="en-US" dirty="0"/>
              <a:t>What are concrete </a:t>
            </a:r>
            <a:r>
              <a:rPr lang="en-US" dirty="0" smtClean="0"/>
              <a:t>interventions?</a:t>
            </a:r>
            <a:endParaRPr lang="en-US" dirty="0"/>
          </a:p>
        </p:txBody>
      </p:sp>
      <p:sp>
        <p:nvSpPr>
          <p:cNvPr id="46" name="TextColumnContent"/>
          <p:cNvSpPr>
            <a:spLocks noChangeArrowheads="1"/>
          </p:cNvSpPr>
          <p:nvPr/>
        </p:nvSpPr>
        <p:spPr bwMode="gray">
          <a:xfrm>
            <a:off x="665739" y="1647416"/>
            <a:ext cx="7786600" cy="4169184"/>
          </a:xfrm>
          <a:prstGeom prst="rect">
            <a:avLst/>
          </a:prstGeom>
          <a:noFill/>
          <a:ln w="9525" algn="ctr">
            <a:noFill/>
            <a:miter lim="800000"/>
            <a:headEnd type="none" w="lg" len="lg"/>
            <a:tailEnd type="none" w="lg" len="lg"/>
          </a:ln>
          <a:effectLst/>
        </p:spPr>
        <p:txBody>
          <a:bodyPr tIns="91440" bIns="91440" anchor="t" anchorCtr="0"/>
          <a:lstStyle/>
          <a:p>
            <a:pPr marL="342900" indent="-342900">
              <a:buClr>
                <a:srgbClr val="B0120E"/>
              </a:buClr>
              <a:buSzPct val="100000"/>
              <a:buFont typeface="Wingdings" panose="05000000000000000000" pitchFamily="2" charset="2"/>
              <a:buChar char="ü"/>
            </a:pPr>
            <a:r>
              <a:rPr lang="en-US" sz="2400" dirty="0">
                <a:solidFill>
                  <a:srgbClr val="000000"/>
                </a:solidFill>
                <a:latin typeface="Arial"/>
              </a:rPr>
              <a:t>S</a:t>
            </a:r>
            <a:r>
              <a:rPr lang="en-US" sz="2400" dirty="0" smtClean="0">
                <a:solidFill>
                  <a:srgbClr val="000000"/>
                </a:solidFill>
                <a:latin typeface="Arial"/>
              </a:rPr>
              <a:t>upport evidence-gathering for </a:t>
            </a:r>
            <a:r>
              <a:rPr lang="en-US" sz="2400" dirty="0">
                <a:solidFill>
                  <a:srgbClr val="000000"/>
                </a:solidFill>
                <a:latin typeface="Arial"/>
              </a:rPr>
              <a:t>new </a:t>
            </a:r>
            <a:r>
              <a:rPr lang="en-US" sz="2400" dirty="0" smtClean="0">
                <a:solidFill>
                  <a:srgbClr val="000000"/>
                </a:solidFill>
                <a:latin typeface="Arial"/>
              </a:rPr>
              <a:t>health products</a:t>
            </a:r>
          </a:p>
          <a:p>
            <a:pPr marL="342900" indent="-342900">
              <a:buClr>
                <a:srgbClr val="B0120E"/>
              </a:buClr>
              <a:buSzPct val="100000"/>
              <a:buFont typeface="Wingdings" panose="05000000000000000000" pitchFamily="2" charset="2"/>
              <a:buChar char="ü"/>
            </a:pPr>
            <a:endParaRPr lang="en-US" sz="2400" dirty="0" smtClean="0">
              <a:solidFill>
                <a:srgbClr val="000000"/>
              </a:solidFill>
              <a:latin typeface="Arial"/>
            </a:endParaRPr>
          </a:p>
          <a:p>
            <a:pPr marL="342900" indent="-342900">
              <a:buClr>
                <a:srgbClr val="B0120E"/>
              </a:buClr>
              <a:buSzPct val="100000"/>
              <a:buFont typeface="Wingdings" panose="05000000000000000000" pitchFamily="2" charset="2"/>
              <a:buChar char="ü"/>
            </a:pPr>
            <a:r>
              <a:rPr lang="en-US" sz="2400" dirty="0" smtClean="0">
                <a:solidFill>
                  <a:srgbClr val="000000"/>
                </a:solidFill>
                <a:latin typeface="Arial"/>
              </a:rPr>
              <a:t>Ensure markets are prepared for the priority combinations (manufacturer side &amp; demand side)</a:t>
            </a:r>
          </a:p>
          <a:p>
            <a:pPr marL="889000" lvl="2" indent="-342900">
              <a:buClr>
                <a:srgbClr val="C00000"/>
              </a:buClr>
              <a:buSzPct val="100000"/>
              <a:buFont typeface="Wingdings" panose="05000000000000000000" pitchFamily="2" charset="2"/>
              <a:buChar char="§"/>
            </a:pPr>
            <a:endParaRPr lang="en-US" sz="2400" dirty="0" smtClean="0">
              <a:solidFill>
                <a:srgbClr val="000000"/>
              </a:solidFill>
              <a:latin typeface="Arial"/>
            </a:endParaRPr>
          </a:p>
          <a:p>
            <a:pPr marL="431800" lvl="1" indent="-342900">
              <a:buClr>
                <a:srgbClr val="C00000"/>
              </a:buClr>
              <a:buSzPct val="100000"/>
              <a:buFont typeface="Wingdings" panose="05000000000000000000" pitchFamily="2" charset="2"/>
              <a:buChar char="ü"/>
            </a:pPr>
            <a:r>
              <a:rPr lang="en-US" sz="2400" dirty="0">
                <a:solidFill>
                  <a:srgbClr val="000000"/>
                </a:solidFill>
                <a:latin typeface="Arial"/>
              </a:rPr>
              <a:t>C</a:t>
            </a:r>
            <a:r>
              <a:rPr lang="en-US" sz="2400" dirty="0" smtClean="0">
                <a:solidFill>
                  <a:srgbClr val="000000"/>
                </a:solidFill>
                <a:latin typeface="Arial"/>
              </a:rPr>
              <a:t>oordination </a:t>
            </a:r>
            <a:r>
              <a:rPr lang="en-US" sz="2400" dirty="0">
                <a:solidFill>
                  <a:srgbClr val="000000"/>
                </a:solidFill>
                <a:latin typeface="Arial"/>
              </a:rPr>
              <a:t>with </a:t>
            </a:r>
            <a:r>
              <a:rPr lang="en-US" sz="2400" dirty="0" smtClean="0">
                <a:solidFill>
                  <a:srgbClr val="000000"/>
                </a:solidFill>
                <a:latin typeface="Arial"/>
              </a:rPr>
              <a:t>partners, including communities and countries, to </a:t>
            </a:r>
            <a:r>
              <a:rPr lang="en-US" sz="2400" dirty="0">
                <a:solidFill>
                  <a:srgbClr val="000000"/>
                </a:solidFill>
                <a:latin typeface="Arial"/>
              </a:rPr>
              <a:t>support rapid introduction and scale-up in countries in a timely </a:t>
            </a:r>
            <a:r>
              <a:rPr lang="en-US" sz="2400" dirty="0" smtClean="0">
                <a:solidFill>
                  <a:srgbClr val="000000"/>
                </a:solidFill>
                <a:latin typeface="Arial"/>
              </a:rPr>
              <a:t>manner</a:t>
            </a:r>
          </a:p>
          <a:p>
            <a:pPr marL="88900" lvl="1">
              <a:buClr>
                <a:srgbClr val="C00000"/>
              </a:buClr>
              <a:buSzPct val="100000"/>
            </a:pPr>
            <a:endParaRPr lang="en-US" sz="2400" dirty="0">
              <a:solidFill>
                <a:srgbClr val="000000"/>
              </a:solidFill>
              <a:latin typeface="Arial"/>
            </a:endParaRPr>
          </a:p>
          <a:p>
            <a:pPr marL="431800" lvl="1" indent="-342900">
              <a:buClr>
                <a:srgbClr val="C00000"/>
              </a:buClr>
              <a:buSzPct val="100000"/>
              <a:buFont typeface="Wingdings" panose="05000000000000000000" pitchFamily="2" charset="2"/>
              <a:buChar char="§"/>
            </a:pPr>
            <a:endParaRPr lang="en-US" sz="2400" dirty="0">
              <a:solidFill>
                <a:srgbClr val="000000"/>
              </a:solidFill>
              <a:latin typeface="Arial"/>
            </a:endParaRPr>
          </a:p>
        </p:txBody>
      </p:sp>
    </p:spTree>
    <p:extLst>
      <p:ext uri="{BB962C8B-B14F-4D97-AF65-F5344CB8AC3E}">
        <p14:creationId xmlns:p14="http://schemas.microsoft.com/office/powerpoint/2010/main" val="3106072469"/>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8755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6" name="Rectangle 2"/>
          <p:cNvSpPr>
            <a:spLocks noGrp="1" noChangeArrowheads="1"/>
          </p:cNvSpPr>
          <p:nvPr>
            <p:ph type="title"/>
            <p:custDataLst>
              <p:tags r:id="rId3"/>
            </p:custDataLst>
          </p:nvPr>
        </p:nvSpPr>
        <p:spPr bwMode="gray">
          <a:xfrm>
            <a:off x="0" y="0"/>
            <a:ext cx="9144000" cy="914400"/>
          </a:xfrm>
          <a:solidFill>
            <a:srgbClr val="003366"/>
          </a:solidFill>
        </p:spPr>
        <p:txBody>
          <a:bodyPr/>
          <a:lstStyle/>
          <a:p>
            <a:pPr marL="171450" algn="l"/>
            <a:r>
              <a:rPr lang="en-US" sz="2400" i="1" dirty="0" smtClean="0">
                <a:solidFill>
                  <a:schemeClr val="bg1"/>
                </a:solidFill>
                <a:latin typeface="Calibri" panose="020F0502020204030204" pitchFamily="34" charset="0"/>
              </a:rPr>
              <a:t>Thank you!</a:t>
            </a:r>
            <a:endParaRPr lang="en-US" sz="2400" dirty="0">
              <a:solidFill>
                <a:schemeClr val="bg1"/>
              </a:solidFill>
              <a:latin typeface="Calibri" panose="020F0502020204030204" pitchFamily="34" charset="0"/>
            </a:endParaRPr>
          </a:p>
        </p:txBody>
      </p:sp>
      <p:pic>
        <p:nvPicPr>
          <p:cNvPr id="1079298"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68370" y="1714500"/>
            <a:ext cx="6207260" cy="415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32069265"/>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smtClean="0"/>
              <a:t>Welcome </a:t>
            </a:r>
            <a:r>
              <a:rPr lang="en-US" sz="2400" dirty="0" smtClean="0"/>
              <a:t>to our </a:t>
            </a:r>
            <a:r>
              <a:rPr lang="en-US" sz="2400" dirty="0" err="1" smtClean="0"/>
              <a:t>Sengalese</a:t>
            </a:r>
            <a:r>
              <a:rPr lang="en-US" sz="2400" dirty="0" smtClean="0"/>
              <a:t> colleagues!</a:t>
            </a:r>
            <a:endParaRPr lang="en-US" sz="2400" dirty="0"/>
          </a:p>
        </p:txBody>
      </p:sp>
      <p:pic>
        <p:nvPicPr>
          <p:cNvPr id="1019906" name="Picture 2"/>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2057400"/>
            <a:ext cx="5056632" cy="3225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3"/>
          <p:cNvSpPr>
            <a:spLocks noChangeArrowheads="1"/>
          </p:cNvSpPr>
          <p:nvPr/>
        </p:nvSpPr>
        <p:spPr bwMode="auto">
          <a:xfrm>
            <a:off x="2908300" y="1600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itchFamily="34" charset="0"/>
                <a:cs typeface="Arial" pitchFamily="34" charset="0"/>
              </a:rPr>
              <a:t/>
            </a:r>
            <a:br>
              <a:rPr kumimoji="0" lang="en-US" altLang="en-US" sz="1800" b="0" i="0" u="none" strike="noStrike" cap="none" normalizeH="0" baseline="0" smtClean="0">
                <a:ln>
                  <a:noFill/>
                </a:ln>
                <a:solidFill>
                  <a:schemeClr val="tx1"/>
                </a:solidFill>
                <a:effectLst/>
                <a:latin typeface="Arial" pitchFamily="34" charset="0"/>
                <a:cs typeface="Arial" pitchFamily="34" charset="0"/>
              </a:rPr>
            </a:br>
            <a:r>
              <a:rPr kumimoji="0" lang="en-US" altLang="en-US" sz="1800" b="0" i="0" u="none" strike="noStrike" cap="none" normalizeH="0" baseline="0" smtClean="0">
                <a:ln>
                  <a:noFill/>
                </a:ln>
                <a:solidFill>
                  <a:schemeClr val="tx1"/>
                </a:solidFill>
                <a:effectLst/>
                <a:latin typeface="Arial" pitchFamily="34" charset="0"/>
                <a:cs typeface="Arial" pitchFamily="34" charset="0"/>
              </a:rPr>
              <a:t/>
            </a:r>
            <a:br>
              <a:rPr kumimoji="0" lang="en-US" altLang="en-US" sz="1800" b="0" i="0" u="none" strike="noStrike" cap="none" normalizeH="0" baseline="0" smtClean="0">
                <a:ln>
                  <a:noFill/>
                </a:ln>
                <a:solidFill>
                  <a:schemeClr val="tx1"/>
                </a:solidFill>
                <a:effectLst/>
                <a:latin typeface="Arial" pitchFamily="34" charset="0"/>
                <a:cs typeface="Arial" pitchFamily="34" charset="0"/>
              </a:rPr>
            </a:b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22139986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99648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5" name="Slide Number Placeholder 3"/>
          <p:cNvSpPr>
            <a:spLocks noGrp="1"/>
          </p:cNvSpPr>
          <p:nvPr>
            <p:ph type="sldNum" sz="quarter" idx="11"/>
            <p:custDataLst>
              <p:tags r:id="rId3"/>
            </p:custDataLst>
          </p:nvPr>
        </p:nvSpPr>
        <p:spPr>
          <a:noFill/>
        </p:spPr>
        <p:txBody>
          <a:bodyPr/>
          <a:lstStyle/>
          <a:p>
            <a:fld id="{492152D1-46F3-4138-844B-62DA901DB5FF}" type="slidenum">
              <a:rPr lang="en-US" sz="1200" smtClean="0"/>
              <a:pPr/>
              <a:t>4</a:t>
            </a:fld>
            <a:endParaRPr lang="en-US" sz="1200" dirty="0"/>
          </a:p>
        </p:txBody>
      </p:sp>
      <p:sp>
        <p:nvSpPr>
          <p:cNvPr id="31746" name="Rectangle 2"/>
          <p:cNvSpPr>
            <a:spLocks noGrp="1" noChangeArrowheads="1"/>
          </p:cNvSpPr>
          <p:nvPr>
            <p:ph type="title"/>
            <p:custDataLst>
              <p:tags r:id="rId4"/>
            </p:custDataLst>
          </p:nvPr>
        </p:nvSpPr>
        <p:spPr bwMode="gray">
          <a:xfrm>
            <a:off x="0" y="0"/>
            <a:ext cx="9144000" cy="914400"/>
          </a:xfrm>
          <a:solidFill>
            <a:srgbClr val="003366"/>
          </a:solidFill>
        </p:spPr>
        <p:txBody>
          <a:bodyPr/>
          <a:lstStyle/>
          <a:p>
            <a:pPr marL="171450" algn="l"/>
            <a:r>
              <a:rPr lang="en-US" sz="2400" dirty="0">
                <a:solidFill>
                  <a:schemeClr val="bg1"/>
                </a:solidFill>
                <a:latin typeface="Calibri" panose="020F0502020204030204" pitchFamily="34" charset="0"/>
              </a:rPr>
              <a:t>Agenda Overview: Tuesday, April 11</a:t>
            </a:r>
          </a:p>
        </p:txBody>
      </p:sp>
      <p:graphicFrame>
        <p:nvGraphicFramePr>
          <p:cNvPr id="6" name="Table 5"/>
          <p:cNvGraphicFramePr>
            <a:graphicFrameLocks noGrp="1"/>
          </p:cNvGraphicFramePr>
          <p:nvPr>
            <p:extLst>
              <p:ext uri="{D42A27DB-BD31-4B8C-83A1-F6EECF244321}">
                <p14:modId xmlns:p14="http://schemas.microsoft.com/office/powerpoint/2010/main" val="2361682845"/>
              </p:ext>
            </p:extLst>
          </p:nvPr>
        </p:nvGraphicFramePr>
        <p:xfrm>
          <a:off x="914400" y="990600"/>
          <a:ext cx="7315200" cy="5748226"/>
        </p:xfrm>
        <a:graphic>
          <a:graphicData uri="http://schemas.openxmlformats.org/drawingml/2006/table">
            <a:tbl>
              <a:tblPr firstRow="1" firstCol="1" bandRow="1">
                <a:tableStyleId>{5DA37D80-6434-44D0-A028-1B22A696006F}</a:tableStyleId>
              </a:tblPr>
              <a:tblGrid>
                <a:gridCol w="1709151">
                  <a:extLst>
                    <a:ext uri="{9D8B030D-6E8A-4147-A177-3AD203B41FA5}">
                      <a16:colId xmlns:a16="http://schemas.microsoft.com/office/drawing/2014/main" xmlns="" val="20000"/>
                    </a:ext>
                  </a:extLst>
                </a:gridCol>
                <a:gridCol w="3741963">
                  <a:extLst>
                    <a:ext uri="{9D8B030D-6E8A-4147-A177-3AD203B41FA5}">
                      <a16:colId xmlns:a16="http://schemas.microsoft.com/office/drawing/2014/main" xmlns="" val="20001"/>
                    </a:ext>
                  </a:extLst>
                </a:gridCol>
                <a:gridCol w="1864086">
                  <a:extLst>
                    <a:ext uri="{9D8B030D-6E8A-4147-A177-3AD203B41FA5}">
                      <a16:colId xmlns:a16="http://schemas.microsoft.com/office/drawing/2014/main" xmlns="" val="20002"/>
                    </a:ext>
                  </a:extLst>
                </a:gridCol>
              </a:tblGrid>
              <a:tr h="185263">
                <a:tc>
                  <a:txBody>
                    <a:bodyPr/>
                    <a:lstStyle/>
                    <a:p>
                      <a:r>
                        <a:rPr lang="en-US" sz="1400" dirty="0">
                          <a:effectLst/>
                          <a:latin typeface="Calibri" panose="020F0502020204030204" pitchFamily="34" charset="0"/>
                        </a:rPr>
                        <a:t>Time</a:t>
                      </a:r>
                    </a:p>
                  </a:txBody>
                  <a:tcPr marL="64743" marR="64743" marT="0" marB="0"/>
                </a:tc>
                <a:tc>
                  <a:txBody>
                    <a:bodyPr/>
                    <a:lstStyle/>
                    <a:p>
                      <a:r>
                        <a:rPr lang="en-US" sz="1400" dirty="0">
                          <a:effectLst/>
                          <a:latin typeface="Calibri" panose="020F0502020204030204" pitchFamily="34" charset="0"/>
                        </a:rPr>
                        <a:t>Topic</a:t>
                      </a:r>
                    </a:p>
                  </a:txBody>
                  <a:tcPr marL="64743" marR="64743" marT="0" marB="0"/>
                </a:tc>
                <a:tc>
                  <a:txBody>
                    <a:bodyPr/>
                    <a:lstStyle/>
                    <a:p>
                      <a:r>
                        <a:rPr lang="en-US" sz="1400">
                          <a:effectLst/>
                          <a:latin typeface="Calibri" panose="020F0502020204030204" pitchFamily="34" charset="0"/>
                        </a:rPr>
                        <a:t>Presenter</a:t>
                      </a:r>
                    </a:p>
                  </a:txBody>
                  <a:tcPr marL="64743" marR="64743" marT="0" marB="0"/>
                </a:tc>
                <a:extLst>
                  <a:ext uri="{0D108BD9-81ED-4DB2-BD59-A6C34878D82A}">
                    <a16:rowId xmlns:a16="http://schemas.microsoft.com/office/drawing/2014/main" xmlns="" val="10000"/>
                  </a:ext>
                </a:extLst>
              </a:tr>
              <a:tr h="222316">
                <a:tc>
                  <a:txBody>
                    <a:bodyPr/>
                    <a:lstStyle/>
                    <a:p>
                      <a:r>
                        <a:rPr lang="en-US" sz="1400" dirty="0">
                          <a:effectLst/>
                          <a:latin typeface="Calibri" panose="020F0502020204030204" pitchFamily="34" charset="0"/>
                        </a:rPr>
                        <a:t>9:00</a:t>
                      </a:r>
                      <a:r>
                        <a:rPr lang="en-US" sz="1400" baseline="0" dirty="0">
                          <a:effectLst/>
                          <a:latin typeface="Calibri" panose="020F0502020204030204" pitchFamily="34" charset="0"/>
                        </a:rPr>
                        <a:t> – 9:45</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Welcome and CAB Overview</a:t>
                      </a:r>
                    </a:p>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tc>
                  <a:txBody>
                    <a:bodyPr/>
                    <a:lstStyle/>
                    <a:p>
                      <a:r>
                        <a:rPr lang="en-US" sz="1400" dirty="0">
                          <a:effectLst/>
                          <a:latin typeface="Calibri" panose="020F0502020204030204" pitchFamily="34" charset="0"/>
                        </a:rPr>
                        <a:t>Kenly </a:t>
                      </a:r>
                      <a:r>
                        <a:rPr lang="en-US" sz="1400" dirty="0" err="1">
                          <a:effectLst/>
                          <a:latin typeface="Calibri" panose="020F0502020204030204" pitchFamily="34" charset="0"/>
                        </a:rPr>
                        <a:t>Sikwese</a:t>
                      </a:r>
                      <a:r>
                        <a:rPr lang="en-US" sz="1400" dirty="0">
                          <a:effectLst/>
                          <a:latin typeface="Calibri" panose="020F0502020204030204" pitchFamily="34" charset="0"/>
                        </a:rPr>
                        <a:t> (</a:t>
                      </a:r>
                      <a:r>
                        <a:rPr lang="en-US" sz="1400" dirty="0" err="1">
                          <a:effectLst/>
                          <a:latin typeface="Calibri" panose="020F0502020204030204" pitchFamily="34" charset="0"/>
                        </a:rPr>
                        <a:t>AfroCAB</a:t>
                      </a:r>
                      <a:r>
                        <a:rPr lang="en-US" sz="1400" dirty="0">
                          <a:effectLst/>
                          <a:latin typeface="Calibri" panose="020F0502020204030204" pitchFamily="34" charset="0"/>
                        </a:rPr>
                        <a:t>)</a:t>
                      </a:r>
                    </a:p>
                  </a:txBody>
                  <a:tcPr marL="64743" marR="64743" marT="0" marB="0"/>
                </a:tc>
                <a:extLst>
                  <a:ext uri="{0D108BD9-81ED-4DB2-BD59-A6C34878D82A}">
                    <a16:rowId xmlns:a16="http://schemas.microsoft.com/office/drawing/2014/main" xmlns="" val="10001"/>
                  </a:ext>
                </a:extLst>
              </a:tr>
              <a:tr h="1040081">
                <a:tc>
                  <a:txBody>
                    <a:bodyPr/>
                    <a:lstStyle/>
                    <a:p>
                      <a:r>
                        <a:rPr lang="en-US" sz="1400" dirty="0">
                          <a:effectLst/>
                          <a:latin typeface="Calibri" panose="020F0502020204030204" pitchFamily="34" charset="0"/>
                        </a:rPr>
                        <a:t>9:45 – 10:45</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rPr>
                        <a:t>Introduction and Setting the Scene: Country Context</a:t>
                      </a:r>
                    </a:p>
                  </a:txBody>
                  <a:tcPr marL="64743" marR="64743" marT="0" marB="0"/>
                </a:tc>
                <a:tc>
                  <a:txBody>
                    <a:bodyPr/>
                    <a:lstStyle/>
                    <a:p>
                      <a:r>
                        <a:rPr lang="en-US" sz="1400" dirty="0">
                          <a:effectLst/>
                          <a:latin typeface="Calibri" panose="020F0502020204030204" pitchFamily="34" charset="0"/>
                        </a:rPr>
                        <a:t>CAB</a:t>
                      </a:r>
                      <a:r>
                        <a:rPr lang="en-US" sz="1400" baseline="0" dirty="0">
                          <a:effectLst/>
                          <a:latin typeface="Calibri" panose="020F0502020204030204" pitchFamily="34" charset="0"/>
                        </a:rPr>
                        <a:t> Country Members</a:t>
                      </a:r>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2"/>
                  </a:ext>
                </a:extLst>
              </a:tr>
              <a:tr h="444632">
                <a:tc>
                  <a:txBody>
                    <a:bodyPr/>
                    <a:lstStyle/>
                    <a:p>
                      <a:r>
                        <a:rPr lang="en-US" sz="1400" dirty="0">
                          <a:effectLst/>
                          <a:latin typeface="Calibri" panose="020F0502020204030204" pitchFamily="34" charset="0"/>
                        </a:rPr>
                        <a:t>10:45 – 11.1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reak</a:t>
                      </a:r>
                    </a:p>
                  </a:txBody>
                  <a:tcPr marL="64743" marR="64743" marT="0" marB="0"/>
                </a:tc>
                <a:tc>
                  <a:txBody>
                    <a:bodyPr/>
                    <a:lstStyle/>
                    <a:p>
                      <a:pPr marL="0" marR="0">
                        <a:spcBef>
                          <a:spcPts val="0"/>
                        </a:spcBef>
                        <a:spcAft>
                          <a:spcPts val="0"/>
                        </a:spcAft>
                      </a:pPr>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3"/>
                  </a:ext>
                </a:extLst>
              </a:tr>
              <a:tr h="666948">
                <a:tc>
                  <a:txBody>
                    <a:bodyPr/>
                    <a:lstStyle/>
                    <a:p>
                      <a:r>
                        <a:rPr lang="en-US" sz="1400" dirty="0">
                          <a:effectLst/>
                          <a:latin typeface="Calibri" panose="020F0502020204030204" pitchFamily="34" charset="0"/>
                        </a:rPr>
                        <a:t>11:10 – 11:3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ackground on the Optimal ARV grant and goals of the CAB</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Carolyn Amole and Caroline Middlecote (CHAI)</a:t>
                      </a:r>
                    </a:p>
                  </a:txBody>
                  <a:tcPr marL="64743" marR="64743" marT="0" marB="0"/>
                </a:tc>
                <a:extLst>
                  <a:ext uri="{0D108BD9-81ED-4DB2-BD59-A6C34878D82A}">
                    <a16:rowId xmlns:a16="http://schemas.microsoft.com/office/drawing/2014/main" xmlns="" val="10004"/>
                  </a:ext>
                </a:extLst>
              </a:tr>
              <a:tr h="370526">
                <a:tc>
                  <a:txBody>
                    <a:bodyPr/>
                    <a:lstStyle/>
                    <a:p>
                      <a:r>
                        <a:rPr lang="en-US" sz="1400" dirty="0">
                          <a:effectLst/>
                          <a:latin typeface="Calibri" panose="020F0502020204030204" pitchFamily="34" charset="0"/>
                        </a:rPr>
                        <a:t>11:30 – 13:0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ackground on Optimal ARV products</a:t>
                      </a:r>
                    </a:p>
                    <a:p>
                      <a:pPr marL="285750" marR="0" indent="-285750">
                        <a:spcBef>
                          <a:spcPts val="0"/>
                        </a:spcBef>
                        <a:spcAft>
                          <a:spcPts val="0"/>
                        </a:spcAft>
                        <a:buFontTx/>
                        <a:buChar char="-"/>
                      </a:pPr>
                      <a:r>
                        <a:rPr lang="en-US" sz="1400" i="1" dirty="0">
                          <a:effectLst/>
                          <a:latin typeface="Calibri" panose="020F0502020204030204" pitchFamily="34" charset="0"/>
                          <a:ea typeface="Times New Roman"/>
                          <a:cs typeface="Times New Roman"/>
                        </a:rPr>
                        <a:t>Product overviews and discussion</a:t>
                      </a:r>
                    </a:p>
                    <a:p>
                      <a:pPr marL="285750" marR="0" indent="-285750">
                        <a:spcBef>
                          <a:spcPts val="0"/>
                        </a:spcBef>
                        <a:spcAft>
                          <a:spcPts val="0"/>
                        </a:spcAft>
                        <a:buFontTx/>
                        <a:buChar char="-"/>
                      </a:pPr>
                      <a:r>
                        <a:rPr lang="en-US" sz="1400" i="1" dirty="0">
                          <a:effectLst/>
                          <a:latin typeface="Calibri" panose="020F0502020204030204" pitchFamily="34" charset="0"/>
                          <a:ea typeface="Times New Roman"/>
                          <a:cs typeface="Times New Roman"/>
                        </a:rPr>
                        <a:t>Discussion on community engagement</a:t>
                      </a:r>
                      <a:r>
                        <a:rPr lang="en-US" sz="1400" i="1" baseline="0" dirty="0">
                          <a:effectLst/>
                          <a:latin typeface="Calibri" panose="020F0502020204030204" pitchFamily="34" charset="0"/>
                          <a:ea typeface="Times New Roman"/>
                          <a:cs typeface="Times New Roman"/>
                        </a:rPr>
                        <a:t> with </a:t>
                      </a:r>
                      <a:r>
                        <a:rPr lang="en-US" sz="1400" i="1" baseline="0" dirty="0" err="1">
                          <a:effectLst/>
                          <a:latin typeface="Calibri" panose="020F0502020204030204" pitchFamily="34" charset="0"/>
                          <a:ea typeface="Times New Roman"/>
                          <a:cs typeface="Times New Roman"/>
                        </a:rPr>
                        <a:t>clinicans</a:t>
                      </a:r>
                      <a:r>
                        <a:rPr lang="en-US" sz="1400" i="1" baseline="0" dirty="0">
                          <a:effectLst/>
                          <a:latin typeface="Calibri" panose="020F0502020204030204" pitchFamily="34" charset="0"/>
                          <a:ea typeface="Times New Roman"/>
                          <a:cs typeface="Times New Roman"/>
                        </a:rPr>
                        <a:t> and opportunity for joint advocacy</a:t>
                      </a:r>
                    </a:p>
                    <a:p>
                      <a:pPr marL="285750" marR="0" indent="-285750">
                        <a:spcBef>
                          <a:spcPts val="0"/>
                        </a:spcBef>
                        <a:spcAft>
                          <a:spcPts val="0"/>
                        </a:spcAft>
                        <a:buFontTx/>
                        <a:buChar char="-"/>
                      </a:pPr>
                      <a:r>
                        <a:rPr lang="en-US" sz="1400" i="1" baseline="0" dirty="0">
                          <a:effectLst/>
                          <a:latin typeface="Calibri" panose="020F0502020204030204" pitchFamily="34" charset="0"/>
                          <a:ea typeface="Times New Roman"/>
                          <a:cs typeface="Times New Roman"/>
                        </a:rPr>
                        <a:t>Review of clinical trials</a:t>
                      </a:r>
                      <a:endParaRPr lang="en-US" sz="1400" i="1"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Herb</a:t>
                      </a:r>
                      <a:r>
                        <a:rPr lang="en-US" sz="1400" baseline="0" dirty="0">
                          <a:effectLst/>
                          <a:latin typeface="Calibri" panose="020F0502020204030204" pitchFamily="34" charset="0"/>
                          <a:ea typeface="Times New Roman"/>
                          <a:cs typeface="Times New Roman"/>
                        </a:rPr>
                        <a:t> (CHAI), Kenly (</a:t>
                      </a:r>
                      <a:r>
                        <a:rPr lang="en-US" sz="1400" baseline="0" dirty="0" err="1">
                          <a:effectLst/>
                          <a:latin typeface="Calibri" panose="020F0502020204030204" pitchFamily="34" charset="0"/>
                          <a:ea typeface="Times New Roman"/>
                          <a:cs typeface="Times New Roman"/>
                        </a:rPr>
                        <a:t>AfroCAB</a:t>
                      </a:r>
                      <a:r>
                        <a:rPr lang="en-US" sz="1400" baseline="0" dirty="0">
                          <a:effectLst/>
                          <a:latin typeface="Calibri" panose="020F0502020204030204" pitchFamily="34" charset="0"/>
                          <a:ea typeface="Times New Roman"/>
                          <a:cs typeface="Times New Roman"/>
                        </a:rPr>
                        <a:t>), Polly (</a:t>
                      </a:r>
                      <a:r>
                        <a:rPr lang="en-US" sz="1400" baseline="0" dirty="0" err="1">
                          <a:effectLst/>
                          <a:latin typeface="Calibri" panose="020F0502020204030204" pitchFamily="34" charset="0"/>
                          <a:ea typeface="Times New Roman"/>
                          <a:cs typeface="Times New Roman"/>
                        </a:rPr>
                        <a:t>i</a:t>
                      </a:r>
                      <a:r>
                        <a:rPr lang="en-US" sz="1400" baseline="0" dirty="0">
                          <a:effectLst/>
                          <a:latin typeface="Calibri" panose="020F0502020204030204" pitchFamily="34" charset="0"/>
                          <a:ea typeface="Times New Roman"/>
                          <a:cs typeface="Times New Roman"/>
                        </a:rPr>
                        <a:t>-Base)</a:t>
                      </a: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5"/>
                  </a:ext>
                </a:extLst>
              </a:tr>
              <a:tr h="555789">
                <a:tc>
                  <a:txBody>
                    <a:bodyPr/>
                    <a:lstStyle/>
                    <a:p>
                      <a:r>
                        <a:rPr lang="en-US" sz="1400" dirty="0">
                          <a:effectLst/>
                          <a:latin typeface="Calibri" panose="020F0502020204030204" pitchFamily="34" charset="0"/>
                        </a:rPr>
                        <a:t>13:00 – 14:00</a:t>
                      </a:r>
                    </a:p>
                  </a:txBody>
                  <a:tcPr marL="64743" marR="64743" marT="0" marB="0"/>
                </a:tc>
                <a:tc>
                  <a:txBody>
                    <a:bodyPr/>
                    <a:lstStyle/>
                    <a:p>
                      <a:r>
                        <a:rPr lang="en-US" sz="1400" dirty="0">
                          <a:effectLst/>
                          <a:latin typeface="Calibri" panose="020F0502020204030204" pitchFamily="34" charset="0"/>
                        </a:rPr>
                        <a:t>Lunch </a:t>
                      </a:r>
                    </a:p>
                  </a:txBody>
                  <a:tcPr marL="64743" marR="64743" marT="0" marB="0"/>
                </a:tc>
                <a:tc>
                  <a:txBody>
                    <a:bodyPr/>
                    <a:lstStyle/>
                    <a:p>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6"/>
                  </a:ext>
                </a:extLst>
              </a:tr>
              <a:tr h="666948">
                <a:tc>
                  <a:txBody>
                    <a:bodyPr/>
                    <a:lstStyle/>
                    <a:p>
                      <a:r>
                        <a:rPr lang="en-US" sz="1400" dirty="0">
                          <a:effectLst/>
                          <a:latin typeface="Calibri" panose="020F0502020204030204" pitchFamily="34" charset="0"/>
                        </a:rPr>
                        <a:t>14:00</a:t>
                      </a:r>
                      <a:r>
                        <a:rPr lang="en-US" sz="1400" baseline="0" dirty="0">
                          <a:effectLst/>
                          <a:latin typeface="Calibri" panose="020F0502020204030204" pitchFamily="34" charset="0"/>
                        </a:rPr>
                        <a:t> – 15:30</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Role playing! Engaging with community </a:t>
                      </a:r>
                      <a:r>
                        <a:rPr lang="en-US" sz="1400" dirty="0" err="1">
                          <a:effectLst/>
                          <a:latin typeface="Calibri" panose="020F0502020204030204" pitchFamily="34" charset="0"/>
                          <a:ea typeface="Times New Roman"/>
                          <a:cs typeface="Times New Roman"/>
                        </a:rPr>
                        <a:t>MoH</a:t>
                      </a:r>
                      <a:r>
                        <a:rPr lang="en-US" sz="1400" dirty="0">
                          <a:effectLst/>
                          <a:latin typeface="Calibri" panose="020F0502020204030204" pitchFamily="34" charset="0"/>
                          <a:ea typeface="Times New Roman"/>
                          <a:cs typeface="Times New Roman"/>
                        </a:rPr>
                        <a:t> and partners</a:t>
                      </a:r>
                      <a:r>
                        <a:rPr lang="en-US" sz="1400" baseline="0" dirty="0">
                          <a:effectLst/>
                          <a:latin typeface="Calibri" panose="020F0502020204030204" pitchFamily="34" charset="0"/>
                          <a:ea typeface="Times New Roman"/>
                          <a:cs typeface="Times New Roman"/>
                        </a:rPr>
                        <a:t> on new product introduction</a:t>
                      </a:r>
                      <a:endParaRPr lang="en-US" sz="1400"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Luckyboy (TAC)</a:t>
                      </a:r>
                      <a:r>
                        <a:rPr lang="en-US" sz="1400" baseline="0" dirty="0">
                          <a:effectLst/>
                          <a:latin typeface="Calibri" panose="020F0502020204030204" pitchFamily="34" charset="0"/>
                          <a:ea typeface="Times New Roman"/>
                          <a:cs typeface="Times New Roman"/>
                        </a:rPr>
                        <a:t> and Polly (</a:t>
                      </a:r>
                      <a:r>
                        <a:rPr lang="en-US" sz="1400" baseline="0" dirty="0" err="1">
                          <a:effectLst/>
                          <a:latin typeface="Calibri" panose="020F0502020204030204" pitchFamily="34" charset="0"/>
                          <a:ea typeface="Times New Roman"/>
                          <a:cs typeface="Times New Roman"/>
                        </a:rPr>
                        <a:t>i</a:t>
                      </a:r>
                      <a:r>
                        <a:rPr lang="en-US" sz="1400" baseline="0" dirty="0">
                          <a:effectLst/>
                          <a:latin typeface="Calibri" panose="020F0502020204030204" pitchFamily="34" charset="0"/>
                          <a:ea typeface="Times New Roman"/>
                          <a:cs typeface="Times New Roman"/>
                        </a:rPr>
                        <a:t>-Base)</a:t>
                      </a: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7"/>
                  </a:ext>
                </a:extLst>
              </a:tr>
              <a:tr h="666948">
                <a:tc>
                  <a:txBody>
                    <a:bodyPr/>
                    <a:lstStyle/>
                    <a:p>
                      <a:endParaRPr lang="en-US" sz="1400" dirty="0">
                        <a:effectLst/>
                        <a:latin typeface="Calibri" panose="020F0502020204030204" pitchFamily="34" charset="0"/>
                      </a:endParaRPr>
                    </a:p>
                  </a:txBody>
                  <a:tcPr marL="64743" marR="64743"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smtClean="0">
                          <a:effectLst/>
                          <a:latin typeface="Calibri" panose="020F0502020204030204" pitchFamily="34" charset="0"/>
                        </a:rPr>
                        <a:t>End of meeting  -  time for side meetings</a:t>
                      </a:r>
                      <a:endParaRPr lang="en-US" sz="1400" b="0" i="1" dirty="0" smtClean="0">
                        <a:effectLst/>
                        <a:latin typeface="Calibri" panose="020F0502020204030204" pitchFamily="34" charset="0"/>
                      </a:endParaRPr>
                    </a:p>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36544166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997511"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5" name="Slide Number Placeholder 3"/>
          <p:cNvSpPr>
            <a:spLocks noGrp="1"/>
          </p:cNvSpPr>
          <p:nvPr>
            <p:ph type="sldNum" sz="quarter" idx="11"/>
            <p:custDataLst>
              <p:tags r:id="rId3"/>
            </p:custDataLst>
          </p:nvPr>
        </p:nvSpPr>
        <p:spPr>
          <a:noFill/>
        </p:spPr>
        <p:txBody>
          <a:bodyPr/>
          <a:lstStyle/>
          <a:p>
            <a:fld id="{492152D1-46F3-4138-844B-62DA901DB5FF}" type="slidenum">
              <a:rPr lang="en-US" sz="1200" smtClean="0"/>
              <a:pPr/>
              <a:t>5</a:t>
            </a:fld>
            <a:endParaRPr lang="en-US" sz="1200" dirty="0"/>
          </a:p>
        </p:txBody>
      </p:sp>
      <p:sp>
        <p:nvSpPr>
          <p:cNvPr id="31746" name="Rectangle 2"/>
          <p:cNvSpPr>
            <a:spLocks noGrp="1" noChangeArrowheads="1"/>
          </p:cNvSpPr>
          <p:nvPr>
            <p:ph type="title"/>
            <p:custDataLst>
              <p:tags r:id="rId4"/>
            </p:custDataLst>
          </p:nvPr>
        </p:nvSpPr>
        <p:spPr bwMode="gray">
          <a:xfrm>
            <a:off x="0" y="0"/>
            <a:ext cx="9144000" cy="914400"/>
          </a:xfrm>
          <a:solidFill>
            <a:srgbClr val="003366"/>
          </a:solidFill>
        </p:spPr>
        <p:txBody>
          <a:bodyPr/>
          <a:lstStyle/>
          <a:p>
            <a:pPr marL="171450" algn="l"/>
            <a:r>
              <a:rPr lang="en-US" sz="2400" dirty="0">
                <a:solidFill>
                  <a:schemeClr val="bg1"/>
                </a:solidFill>
                <a:latin typeface="Calibri" panose="020F0502020204030204" pitchFamily="34" charset="0"/>
              </a:rPr>
              <a:t>Agenda Overview: Wednesday, April </a:t>
            </a:r>
            <a:r>
              <a:rPr lang="en-US" sz="2400" dirty="0" smtClean="0">
                <a:solidFill>
                  <a:schemeClr val="bg1"/>
                </a:solidFill>
                <a:latin typeface="Calibri" panose="020F0502020204030204" pitchFamily="34" charset="0"/>
              </a:rPr>
              <a:t>12</a:t>
            </a:r>
            <a:endParaRPr lang="en-US" sz="2400" dirty="0">
              <a:solidFill>
                <a:schemeClr val="bg1"/>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692592218"/>
              </p:ext>
            </p:extLst>
          </p:nvPr>
        </p:nvGraphicFramePr>
        <p:xfrm>
          <a:off x="914400" y="1038704"/>
          <a:ext cx="7315200" cy="5035416"/>
        </p:xfrm>
        <a:graphic>
          <a:graphicData uri="http://schemas.openxmlformats.org/drawingml/2006/table">
            <a:tbl>
              <a:tblPr firstRow="1" firstCol="1" bandRow="1">
                <a:tableStyleId>{5DA37D80-6434-44D0-A028-1B22A696006F}</a:tableStyleId>
              </a:tblPr>
              <a:tblGrid>
                <a:gridCol w="1709151">
                  <a:extLst>
                    <a:ext uri="{9D8B030D-6E8A-4147-A177-3AD203B41FA5}">
                      <a16:colId xmlns:a16="http://schemas.microsoft.com/office/drawing/2014/main" xmlns="" val="20000"/>
                    </a:ext>
                  </a:extLst>
                </a:gridCol>
                <a:gridCol w="3741963">
                  <a:extLst>
                    <a:ext uri="{9D8B030D-6E8A-4147-A177-3AD203B41FA5}">
                      <a16:colId xmlns:a16="http://schemas.microsoft.com/office/drawing/2014/main" xmlns="" val="20001"/>
                    </a:ext>
                  </a:extLst>
                </a:gridCol>
                <a:gridCol w="1864086">
                  <a:extLst>
                    <a:ext uri="{9D8B030D-6E8A-4147-A177-3AD203B41FA5}">
                      <a16:colId xmlns:a16="http://schemas.microsoft.com/office/drawing/2014/main" xmlns="" val="20002"/>
                    </a:ext>
                  </a:extLst>
                </a:gridCol>
              </a:tblGrid>
              <a:tr h="209376">
                <a:tc>
                  <a:txBody>
                    <a:bodyPr/>
                    <a:lstStyle/>
                    <a:p>
                      <a:r>
                        <a:rPr lang="en-US" sz="1400" dirty="0">
                          <a:effectLst/>
                          <a:latin typeface="Calibri" panose="020F0502020204030204" pitchFamily="34" charset="0"/>
                        </a:rPr>
                        <a:t>Time</a:t>
                      </a:r>
                    </a:p>
                  </a:txBody>
                  <a:tcPr marL="64743" marR="64743" marT="0" marB="0"/>
                </a:tc>
                <a:tc>
                  <a:txBody>
                    <a:bodyPr/>
                    <a:lstStyle/>
                    <a:p>
                      <a:r>
                        <a:rPr lang="en-US" sz="1400">
                          <a:effectLst/>
                          <a:latin typeface="Calibri" panose="020F0502020204030204" pitchFamily="34" charset="0"/>
                        </a:rPr>
                        <a:t>Topic</a:t>
                      </a:r>
                    </a:p>
                  </a:txBody>
                  <a:tcPr marL="64743" marR="64743" marT="0" marB="0"/>
                </a:tc>
                <a:tc>
                  <a:txBody>
                    <a:bodyPr/>
                    <a:lstStyle/>
                    <a:p>
                      <a:r>
                        <a:rPr lang="en-US" sz="1400">
                          <a:effectLst/>
                          <a:latin typeface="Calibri" panose="020F0502020204030204" pitchFamily="34" charset="0"/>
                        </a:rPr>
                        <a:t>Presenter</a:t>
                      </a:r>
                    </a:p>
                  </a:txBody>
                  <a:tcPr marL="64743" marR="64743" marT="0" marB="0"/>
                </a:tc>
                <a:extLst>
                  <a:ext uri="{0D108BD9-81ED-4DB2-BD59-A6C34878D82A}">
                    <a16:rowId xmlns:a16="http://schemas.microsoft.com/office/drawing/2014/main" xmlns="" val="10000"/>
                  </a:ext>
                </a:extLst>
              </a:tr>
              <a:tr h="1675011">
                <a:tc>
                  <a:txBody>
                    <a:bodyPr/>
                    <a:lstStyle/>
                    <a:p>
                      <a:r>
                        <a:rPr lang="en-US" sz="1400" dirty="0">
                          <a:effectLst/>
                          <a:latin typeface="Calibri" panose="020F0502020204030204" pitchFamily="34" charset="0"/>
                        </a:rPr>
                        <a:t>9:00 – 11:3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Drafting</a:t>
                      </a:r>
                      <a:r>
                        <a:rPr lang="en-US" sz="1400" baseline="0" dirty="0">
                          <a:effectLst/>
                          <a:latin typeface="Calibri" panose="020F0502020204030204" pitchFamily="34" charset="0"/>
                          <a:ea typeface="Times New Roman"/>
                          <a:cs typeface="Times New Roman"/>
                        </a:rPr>
                        <a:t> country plans: Morning working session (tea break to be taken at leisure when served)</a:t>
                      </a:r>
                    </a:p>
                    <a:p>
                      <a:pPr marL="285750" marR="0" indent="-285750">
                        <a:spcBef>
                          <a:spcPts val="0"/>
                        </a:spcBef>
                        <a:spcAft>
                          <a:spcPts val="0"/>
                        </a:spcAft>
                        <a:buFontTx/>
                        <a:buChar char="-"/>
                      </a:pPr>
                      <a:r>
                        <a:rPr lang="en-US" sz="1400" i="1" baseline="0" dirty="0">
                          <a:effectLst/>
                          <a:latin typeface="Calibri" panose="020F0502020204030204" pitchFamily="34" charset="0"/>
                          <a:ea typeface="Times New Roman"/>
                          <a:cs typeface="Times New Roman"/>
                        </a:rPr>
                        <a:t>Country representatives will work in pairs by country</a:t>
                      </a:r>
                    </a:p>
                    <a:p>
                      <a:pPr marL="285750" marR="0" indent="-285750">
                        <a:spcBef>
                          <a:spcPts val="0"/>
                        </a:spcBef>
                        <a:spcAft>
                          <a:spcPts val="0"/>
                        </a:spcAft>
                        <a:buFontTx/>
                        <a:buChar char="-"/>
                      </a:pPr>
                      <a:r>
                        <a:rPr lang="en-US" sz="1400" i="1" baseline="0" dirty="0">
                          <a:effectLst/>
                          <a:latin typeface="Calibri" panose="020F0502020204030204" pitchFamily="34" charset="0"/>
                          <a:ea typeface="Times New Roman"/>
                          <a:cs typeface="Times New Roman"/>
                        </a:rPr>
                        <a:t>Goal: Develop plans on who to partner with, activities to conduct and potential barriers</a:t>
                      </a:r>
                    </a:p>
                    <a:p>
                      <a:pPr marL="285750" marR="0" indent="-285750">
                        <a:spcBef>
                          <a:spcPts val="0"/>
                        </a:spcBef>
                        <a:spcAft>
                          <a:spcPts val="0"/>
                        </a:spcAft>
                        <a:buFontTx/>
                        <a:buChar char="-"/>
                      </a:pPr>
                      <a:r>
                        <a:rPr lang="en-US" sz="1400" i="1" baseline="0" dirty="0">
                          <a:effectLst/>
                          <a:latin typeface="Calibri" panose="020F0502020204030204" pitchFamily="34" charset="0"/>
                          <a:ea typeface="Times New Roman"/>
                          <a:cs typeface="Times New Roman"/>
                        </a:rPr>
                        <a:t>Feedback on plans to the group and discussion</a:t>
                      </a:r>
                      <a:endParaRPr lang="en-US" sz="1400" i="1" dirty="0">
                        <a:effectLst/>
                        <a:latin typeface="Calibri" panose="020F0502020204030204" pitchFamily="34" charset="0"/>
                        <a:ea typeface="Times New Roman"/>
                        <a:cs typeface="Times New Roman"/>
                      </a:endParaRPr>
                    </a:p>
                  </a:txBody>
                  <a:tcPr marL="64743" marR="64743" marT="0" marB="0"/>
                </a:tc>
                <a:tc>
                  <a:txBody>
                    <a:bodyPr/>
                    <a:lstStyle/>
                    <a:p>
                      <a:r>
                        <a:rPr lang="en-US" sz="1400" dirty="0">
                          <a:effectLst/>
                          <a:latin typeface="Calibri" panose="020F0502020204030204" pitchFamily="34" charset="0"/>
                        </a:rPr>
                        <a:t>Kenly to facilitate</a:t>
                      </a:r>
                    </a:p>
                  </a:txBody>
                  <a:tcPr marL="64743" marR="64743" marT="0" marB="0"/>
                </a:tc>
                <a:extLst>
                  <a:ext uri="{0D108BD9-81ED-4DB2-BD59-A6C34878D82A}">
                    <a16:rowId xmlns:a16="http://schemas.microsoft.com/office/drawing/2014/main" xmlns="" val="10001"/>
                  </a:ext>
                </a:extLst>
              </a:tr>
              <a:tr h="1020662">
                <a:tc>
                  <a:txBody>
                    <a:bodyPr/>
                    <a:lstStyle/>
                    <a:p>
                      <a:r>
                        <a:rPr lang="en-US" sz="1400" dirty="0">
                          <a:effectLst/>
                          <a:latin typeface="Calibri" panose="020F0502020204030204" pitchFamily="34" charset="0"/>
                        </a:rPr>
                        <a:t>11:30</a:t>
                      </a:r>
                      <a:r>
                        <a:rPr lang="en-US" sz="1400" baseline="0" dirty="0">
                          <a:effectLst/>
                          <a:latin typeface="Calibri" panose="020F0502020204030204" pitchFamily="34" charset="0"/>
                        </a:rPr>
                        <a:t> – 12:00</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rPr>
                        <a:t>Working with CHAI country teams:</a:t>
                      </a:r>
                      <a:r>
                        <a:rPr lang="en-US" sz="1400" baseline="0" dirty="0">
                          <a:effectLst/>
                          <a:latin typeface="Calibri" panose="020F0502020204030204" pitchFamily="34" charset="0"/>
                        </a:rPr>
                        <a:t> developing a framework for engagement and partnership</a:t>
                      </a:r>
                      <a:endParaRPr lang="en-US" sz="1400" dirty="0">
                        <a:effectLst/>
                        <a:latin typeface="Calibri" panose="020F0502020204030204" pitchFamily="34" charset="0"/>
                      </a:endParaRPr>
                    </a:p>
                  </a:txBody>
                  <a:tcPr marL="64743" marR="64743" marT="0" marB="0"/>
                </a:tc>
                <a:tc>
                  <a:txBody>
                    <a:bodyPr/>
                    <a:lstStyle/>
                    <a:p>
                      <a:r>
                        <a:rPr lang="en-US" sz="1400" dirty="0">
                          <a:effectLst/>
                          <a:latin typeface="Calibri" panose="020F0502020204030204" pitchFamily="34" charset="0"/>
                        </a:rPr>
                        <a:t>Stella and Caroline (CHAI)</a:t>
                      </a:r>
                    </a:p>
                  </a:txBody>
                  <a:tcPr marL="64743" marR="64743" marT="0" marB="0"/>
                </a:tc>
                <a:extLst>
                  <a:ext uri="{0D108BD9-81ED-4DB2-BD59-A6C34878D82A}">
                    <a16:rowId xmlns:a16="http://schemas.microsoft.com/office/drawing/2014/main" xmlns="" val="10002"/>
                  </a:ext>
                </a:extLst>
              </a:tr>
              <a:tr h="436330">
                <a:tc>
                  <a:txBody>
                    <a:bodyPr/>
                    <a:lstStyle/>
                    <a:p>
                      <a:r>
                        <a:rPr lang="en-US" sz="1400" dirty="0">
                          <a:effectLst/>
                          <a:latin typeface="Calibri" panose="020F0502020204030204" pitchFamily="34" charset="0"/>
                        </a:rPr>
                        <a:t>12:00</a:t>
                      </a:r>
                      <a:r>
                        <a:rPr lang="en-US" sz="1400" baseline="0" dirty="0">
                          <a:effectLst/>
                          <a:latin typeface="Calibri" panose="020F0502020204030204" pitchFamily="34" charset="0"/>
                        </a:rPr>
                        <a:t> – 13:00</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reak for lunch</a:t>
                      </a:r>
                    </a:p>
                  </a:txBody>
                  <a:tcPr marL="64743" marR="64743" marT="0" marB="0"/>
                </a:tc>
                <a:tc>
                  <a:txBody>
                    <a:bodyPr/>
                    <a:lstStyle/>
                    <a:p>
                      <a:pPr marL="0" marR="0">
                        <a:spcBef>
                          <a:spcPts val="0"/>
                        </a:spcBef>
                        <a:spcAft>
                          <a:spcPts val="0"/>
                        </a:spcAft>
                      </a:pPr>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3"/>
                  </a:ext>
                </a:extLst>
              </a:tr>
              <a:tr h="654496">
                <a:tc>
                  <a:txBody>
                    <a:bodyPr/>
                    <a:lstStyle/>
                    <a:p>
                      <a:r>
                        <a:rPr lang="en-US" sz="1400" dirty="0">
                          <a:effectLst/>
                          <a:latin typeface="Calibri" panose="020F0502020204030204" pitchFamily="34" charset="0"/>
                        </a:rPr>
                        <a:t>13:00</a:t>
                      </a:r>
                      <a:r>
                        <a:rPr lang="en-US" sz="1400" baseline="0" dirty="0">
                          <a:effectLst/>
                          <a:latin typeface="Calibri" panose="020F0502020204030204" pitchFamily="34" charset="0"/>
                        </a:rPr>
                        <a:t> – 13:45</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err="1">
                          <a:effectLst/>
                          <a:latin typeface="Calibri" panose="020F0502020204030204" pitchFamily="34" charset="0"/>
                          <a:ea typeface="Times New Roman"/>
                          <a:cs typeface="Times New Roman"/>
                        </a:rPr>
                        <a:t>AfroCAB</a:t>
                      </a:r>
                      <a:r>
                        <a:rPr lang="en-US" sz="1400" dirty="0">
                          <a:effectLst/>
                          <a:latin typeface="Calibri" panose="020F0502020204030204" pitchFamily="34" charset="0"/>
                          <a:ea typeface="Times New Roman"/>
                          <a:cs typeface="Times New Roman"/>
                        </a:rPr>
                        <a:t> App!</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Kenly</a:t>
                      </a:r>
                    </a:p>
                  </a:txBody>
                  <a:tcPr marL="64743" marR="64743" marT="0" marB="0"/>
                </a:tc>
                <a:extLst>
                  <a:ext uri="{0D108BD9-81ED-4DB2-BD59-A6C34878D82A}">
                    <a16:rowId xmlns:a16="http://schemas.microsoft.com/office/drawing/2014/main" xmlns="" val="10004"/>
                  </a:ext>
                </a:extLst>
              </a:tr>
              <a:tr h="363608">
                <a:tc>
                  <a:txBody>
                    <a:bodyPr/>
                    <a:lstStyle/>
                    <a:p>
                      <a:r>
                        <a:rPr lang="en-US" sz="1400" dirty="0">
                          <a:effectLst/>
                          <a:latin typeface="Calibri" panose="020F0502020204030204" pitchFamily="34" charset="0"/>
                        </a:rPr>
                        <a:t>13:45</a:t>
                      </a:r>
                      <a:r>
                        <a:rPr lang="en-US" sz="1400" baseline="0" dirty="0">
                          <a:effectLst/>
                          <a:latin typeface="Calibri" panose="020F0502020204030204" pitchFamily="34" charset="0"/>
                        </a:rPr>
                        <a:t> – 14:30</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Meeting</a:t>
                      </a:r>
                      <a:r>
                        <a:rPr lang="en-US" sz="1400" baseline="0" dirty="0">
                          <a:effectLst/>
                          <a:latin typeface="Calibri" panose="020F0502020204030204" pitchFamily="34" charset="0"/>
                          <a:ea typeface="Times New Roman"/>
                          <a:cs typeface="Times New Roman"/>
                        </a:rPr>
                        <a:t> wrap-up and next steps</a:t>
                      </a:r>
                      <a:endParaRPr lang="en-US" sz="1400"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Kenly and Polly</a:t>
                      </a:r>
                    </a:p>
                  </a:txBody>
                  <a:tcPr marL="64743" marR="64743" marT="0" marB="0"/>
                </a:tc>
                <a:extLst>
                  <a:ext uri="{0D108BD9-81ED-4DB2-BD59-A6C34878D82A}">
                    <a16:rowId xmlns:a16="http://schemas.microsoft.com/office/drawing/2014/main" xmlns="" val="10005"/>
                  </a:ext>
                </a:extLst>
              </a:tr>
              <a:tr h="545412">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i="1" baseline="0" dirty="0" smtClean="0">
                        <a:effectLst/>
                        <a:latin typeface="Calibri" panose="020F0502020204030204" pitchFamily="34" charset="0"/>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400" b="0" i="1" baseline="0" dirty="0" smtClean="0">
                          <a:effectLst/>
                          <a:latin typeface="Calibri" panose="020F0502020204030204" pitchFamily="34" charset="0"/>
                        </a:rPr>
                        <a:t>End of meeting  -  time for side meetings</a:t>
                      </a:r>
                      <a:endParaRPr lang="en-US" sz="1400" b="0" i="1" dirty="0" smtClean="0">
                        <a:effectLst/>
                        <a:latin typeface="Calibri" panose="020F0502020204030204" pitchFamily="34" charset="0"/>
                      </a:endParaRPr>
                    </a:p>
                    <a:p>
                      <a:endParaRPr lang="en-US" sz="1400" dirty="0">
                        <a:effectLst/>
                        <a:latin typeface="Calibri" panose="020F0502020204030204" pitchFamily="34" charset="0"/>
                      </a:endParaRPr>
                    </a:p>
                  </a:txBody>
                  <a:tcPr marL="64743" marR="64743" marT="0" marB="0" anchor="ctr"/>
                </a:tc>
                <a:tc hMerge="1">
                  <a:txBody>
                    <a:bodyPr/>
                    <a:lstStyle/>
                    <a:p>
                      <a:endParaRPr lang="en-US" sz="1400" dirty="0">
                        <a:effectLst/>
                        <a:latin typeface="Calibri" panose="020F0502020204030204" pitchFamily="34" charset="0"/>
                      </a:endParaRPr>
                    </a:p>
                  </a:txBody>
                  <a:tcPr marL="64743" marR="64743" marT="0" marB="0"/>
                </a:tc>
                <a:tc hMerge="1">
                  <a:txBody>
                    <a:bodyPr/>
                    <a:lstStyle/>
                    <a:p>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12054568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25138"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5" name="Slide Number Placeholder 3"/>
          <p:cNvSpPr>
            <a:spLocks noGrp="1"/>
          </p:cNvSpPr>
          <p:nvPr>
            <p:ph type="sldNum" sz="quarter" idx="11"/>
            <p:custDataLst>
              <p:tags r:id="rId3"/>
            </p:custDataLst>
          </p:nvPr>
        </p:nvSpPr>
        <p:spPr>
          <a:noFill/>
        </p:spPr>
        <p:txBody>
          <a:bodyPr/>
          <a:lstStyle/>
          <a:p>
            <a:fld id="{492152D1-46F3-4138-844B-62DA901DB5FF}" type="slidenum">
              <a:rPr lang="en-US" sz="1200" smtClean="0">
                <a:solidFill>
                  <a:srgbClr val="000000"/>
                </a:solidFill>
              </a:rPr>
              <a:pPr/>
              <a:t>6</a:t>
            </a:fld>
            <a:endParaRPr lang="en-US" sz="1200" dirty="0">
              <a:solidFill>
                <a:srgbClr val="000000"/>
              </a:solidFill>
            </a:endParaRPr>
          </a:p>
        </p:txBody>
      </p:sp>
      <p:sp>
        <p:nvSpPr>
          <p:cNvPr id="31746" name="Rectangle 2"/>
          <p:cNvSpPr>
            <a:spLocks noGrp="1" noChangeArrowheads="1"/>
          </p:cNvSpPr>
          <p:nvPr>
            <p:ph type="title"/>
            <p:custDataLst>
              <p:tags r:id="rId4"/>
            </p:custDataLst>
          </p:nvPr>
        </p:nvSpPr>
        <p:spPr bwMode="gray">
          <a:xfrm>
            <a:off x="0" y="0"/>
            <a:ext cx="9144000" cy="914400"/>
          </a:xfrm>
          <a:solidFill>
            <a:srgbClr val="003366"/>
          </a:solidFill>
        </p:spPr>
        <p:txBody>
          <a:bodyPr/>
          <a:lstStyle/>
          <a:p>
            <a:pPr marL="171450" algn="l"/>
            <a:r>
              <a:rPr lang="en-US" sz="2400" dirty="0">
                <a:solidFill>
                  <a:schemeClr val="bg1"/>
                </a:solidFill>
                <a:latin typeface="Calibri" panose="020F0502020204030204" pitchFamily="34" charset="0"/>
              </a:rPr>
              <a:t>Agenda Overview: Tuesday, April 11</a:t>
            </a:r>
          </a:p>
        </p:txBody>
      </p:sp>
      <p:graphicFrame>
        <p:nvGraphicFramePr>
          <p:cNvPr id="6" name="Table 5"/>
          <p:cNvGraphicFramePr>
            <a:graphicFrameLocks noGrp="1"/>
          </p:cNvGraphicFramePr>
          <p:nvPr>
            <p:extLst>
              <p:ext uri="{D42A27DB-BD31-4B8C-83A1-F6EECF244321}">
                <p14:modId xmlns:p14="http://schemas.microsoft.com/office/powerpoint/2010/main" val="2772739370"/>
              </p:ext>
            </p:extLst>
          </p:nvPr>
        </p:nvGraphicFramePr>
        <p:xfrm>
          <a:off x="914400" y="990600"/>
          <a:ext cx="7315200" cy="5748226"/>
        </p:xfrm>
        <a:graphic>
          <a:graphicData uri="http://schemas.openxmlformats.org/drawingml/2006/table">
            <a:tbl>
              <a:tblPr firstRow="1" firstCol="1" bandRow="1">
                <a:tableStyleId>{5DA37D80-6434-44D0-A028-1B22A696006F}</a:tableStyleId>
              </a:tblPr>
              <a:tblGrid>
                <a:gridCol w="1709151">
                  <a:extLst>
                    <a:ext uri="{9D8B030D-6E8A-4147-A177-3AD203B41FA5}">
                      <a16:colId xmlns:a16="http://schemas.microsoft.com/office/drawing/2014/main" xmlns="" val="20000"/>
                    </a:ext>
                  </a:extLst>
                </a:gridCol>
                <a:gridCol w="3741963">
                  <a:extLst>
                    <a:ext uri="{9D8B030D-6E8A-4147-A177-3AD203B41FA5}">
                      <a16:colId xmlns:a16="http://schemas.microsoft.com/office/drawing/2014/main" xmlns="" val="20001"/>
                    </a:ext>
                  </a:extLst>
                </a:gridCol>
                <a:gridCol w="1864086">
                  <a:extLst>
                    <a:ext uri="{9D8B030D-6E8A-4147-A177-3AD203B41FA5}">
                      <a16:colId xmlns:a16="http://schemas.microsoft.com/office/drawing/2014/main" xmlns="" val="20002"/>
                    </a:ext>
                  </a:extLst>
                </a:gridCol>
              </a:tblGrid>
              <a:tr h="185263">
                <a:tc>
                  <a:txBody>
                    <a:bodyPr/>
                    <a:lstStyle/>
                    <a:p>
                      <a:r>
                        <a:rPr lang="en-US" sz="1400" dirty="0">
                          <a:effectLst/>
                          <a:latin typeface="Calibri" panose="020F0502020204030204" pitchFamily="34" charset="0"/>
                        </a:rPr>
                        <a:t>Time</a:t>
                      </a:r>
                    </a:p>
                  </a:txBody>
                  <a:tcPr marL="64743" marR="64743" marT="0" marB="0"/>
                </a:tc>
                <a:tc>
                  <a:txBody>
                    <a:bodyPr/>
                    <a:lstStyle/>
                    <a:p>
                      <a:r>
                        <a:rPr lang="en-US" sz="1400" dirty="0">
                          <a:effectLst/>
                          <a:latin typeface="Calibri" panose="020F0502020204030204" pitchFamily="34" charset="0"/>
                        </a:rPr>
                        <a:t>Topic</a:t>
                      </a:r>
                    </a:p>
                  </a:txBody>
                  <a:tcPr marL="64743" marR="64743" marT="0" marB="0"/>
                </a:tc>
                <a:tc>
                  <a:txBody>
                    <a:bodyPr/>
                    <a:lstStyle/>
                    <a:p>
                      <a:r>
                        <a:rPr lang="en-US" sz="1400">
                          <a:effectLst/>
                          <a:latin typeface="Calibri" panose="020F0502020204030204" pitchFamily="34" charset="0"/>
                        </a:rPr>
                        <a:t>Presenter</a:t>
                      </a:r>
                    </a:p>
                  </a:txBody>
                  <a:tcPr marL="64743" marR="64743" marT="0" marB="0"/>
                </a:tc>
                <a:extLst>
                  <a:ext uri="{0D108BD9-81ED-4DB2-BD59-A6C34878D82A}">
                    <a16:rowId xmlns:a16="http://schemas.microsoft.com/office/drawing/2014/main" xmlns="" val="10000"/>
                  </a:ext>
                </a:extLst>
              </a:tr>
              <a:tr h="222316">
                <a:tc>
                  <a:txBody>
                    <a:bodyPr/>
                    <a:lstStyle/>
                    <a:p>
                      <a:r>
                        <a:rPr lang="en-US" sz="1400" dirty="0">
                          <a:effectLst/>
                          <a:latin typeface="Calibri" panose="020F0502020204030204" pitchFamily="34" charset="0"/>
                        </a:rPr>
                        <a:t>9:00</a:t>
                      </a:r>
                      <a:r>
                        <a:rPr lang="en-US" sz="1400" baseline="0" dirty="0">
                          <a:effectLst/>
                          <a:latin typeface="Calibri" panose="020F0502020204030204" pitchFamily="34" charset="0"/>
                        </a:rPr>
                        <a:t> – 9:45</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Welcome and CAB Overview</a:t>
                      </a:r>
                    </a:p>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tc>
                  <a:txBody>
                    <a:bodyPr/>
                    <a:lstStyle/>
                    <a:p>
                      <a:r>
                        <a:rPr lang="en-US" sz="1400" dirty="0">
                          <a:effectLst/>
                          <a:latin typeface="Calibri" panose="020F0502020204030204" pitchFamily="34" charset="0"/>
                        </a:rPr>
                        <a:t>Kenly </a:t>
                      </a:r>
                      <a:r>
                        <a:rPr lang="en-US" sz="1400" dirty="0" err="1">
                          <a:effectLst/>
                          <a:latin typeface="Calibri" panose="020F0502020204030204" pitchFamily="34" charset="0"/>
                        </a:rPr>
                        <a:t>Sikwese</a:t>
                      </a:r>
                      <a:r>
                        <a:rPr lang="en-US" sz="1400" dirty="0">
                          <a:effectLst/>
                          <a:latin typeface="Calibri" panose="020F0502020204030204" pitchFamily="34" charset="0"/>
                        </a:rPr>
                        <a:t> (</a:t>
                      </a:r>
                      <a:r>
                        <a:rPr lang="en-US" sz="1400" dirty="0" err="1">
                          <a:effectLst/>
                          <a:latin typeface="Calibri" panose="020F0502020204030204" pitchFamily="34" charset="0"/>
                        </a:rPr>
                        <a:t>AfroCAB</a:t>
                      </a:r>
                      <a:r>
                        <a:rPr lang="en-US" sz="1400" dirty="0">
                          <a:effectLst/>
                          <a:latin typeface="Calibri" panose="020F0502020204030204" pitchFamily="34" charset="0"/>
                        </a:rPr>
                        <a:t>)</a:t>
                      </a:r>
                    </a:p>
                  </a:txBody>
                  <a:tcPr marL="64743" marR="64743" marT="0" marB="0"/>
                </a:tc>
                <a:extLst>
                  <a:ext uri="{0D108BD9-81ED-4DB2-BD59-A6C34878D82A}">
                    <a16:rowId xmlns:a16="http://schemas.microsoft.com/office/drawing/2014/main" xmlns="" val="10001"/>
                  </a:ext>
                </a:extLst>
              </a:tr>
              <a:tr h="1040081">
                <a:tc>
                  <a:txBody>
                    <a:bodyPr/>
                    <a:lstStyle/>
                    <a:p>
                      <a:r>
                        <a:rPr lang="en-US" sz="1400" dirty="0">
                          <a:effectLst/>
                          <a:latin typeface="Calibri" panose="020F0502020204030204" pitchFamily="34" charset="0"/>
                        </a:rPr>
                        <a:t>9:45 – 10:45</a:t>
                      </a:r>
                    </a:p>
                  </a:txBody>
                  <a:tcPr marL="64743" marR="64743" marT="0" marB="0">
                    <a:solidFill>
                      <a:schemeClr val="accent1">
                        <a:lumMod val="75000"/>
                      </a:schemeClr>
                    </a:solidFill>
                  </a:tcPr>
                </a:tc>
                <a:tc>
                  <a:txBody>
                    <a:bodyPr/>
                    <a:lstStyle/>
                    <a:p>
                      <a:pPr marL="0" marR="0">
                        <a:spcBef>
                          <a:spcPts val="0"/>
                        </a:spcBef>
                        <a:spcAft>
                          <a:spcPts val="0"/>
                        </a:spcAft>
                      </a:pPr>
                      <a:r>
                        <a:rPr lang="en-US" sz="1400" b="1" dirty="0">
                          <a:effectLst/>
                          <a:latin typeface="Calibri" panose="020F0502020204030204" pitchFamily="34" charset="0"/>
                        </a:rPr>
                        <a:t>Introduction and Setting the Scene: Country Context</a:t>
                      </a:r>
                    </a:p>
                  </a:txBody>
                  <a:tcPr marL="64743" marR="64743" marT="0" marB="0">
                    <a:solidFill>
                      <a:schemeClr val="accent1">
                        <a:lumMod val="75000"/>
                      </a:schemeClr>
                    </a:solidFill>
                  </a:tcPr>
                </a:tc>
                <a:tc>
                  <a:txBody>
                    <a:bodyPr/>
                    <a:lstStyle/>
                    <a:p>
                      <a:r>
                        <a:rPr lang="en-US" sz="1400" b="1" dirty="0">
                          <a:effectLst/>
                          <a:latin typeface="Calibri" panose="020F0502020204030204" pitchFamily="34" charset="0"/>
                        </a:rPr>
                        <a:t>CAB</a:t>
                      </a:r>
                      <a:r>
                        <a:rPr lang="en-US" sz="1400" b="1" baseline="0" dirty="0">
                          <a:effectLst/>
                          <a:latin typeface="Calibri" panose="020F0502020204030204" pitchFamily="34" charset="0"/>
                        </a:rPr>
                        <a:t> Country Members</a:t>
                      </a:r>
                      <a:endParaRPr lang="en-US" sz="1400" b="1" dirty="0">
                        <a:effectLst/>
                        <a:latin typeface="Calibri" panose="020F0502020204030204" pitchFamily="34" charset="0"/>
                      </a:endParaRPr>
                    </a:p>
                  </a:txBody>
                  <a:tcPr marL="64743" marR="64743" marT="0" marB="0">
                    <a:solidFill>
                      <a:schemeClr val="accent1">
                        <a:lumMod val="75000"/>
                      </a:schemeClr>
                    </a:solidFill>
                  </a:tcPr>
                </a:tc>
                <a:extLst>
                  <a:ext uri="{0D108BD9-81ED-4DB2-BD59-A6C34878D82A}">
                    <a16:rowId xmlns:a16="http://schemas.microsoft.com/office/drawing/2014/main" xmlns="" val="10002"/>
                  </a:ext>
                </a:extLst>
              </a:tr>
              <a:tr h="444632">
                <a:tc>
                  <a:txBody>
                    <a:bodyPr/>
                    <a:lstStyle/>
                    <a:p>
                      <a:r>
                        <a:rPr lang="en-US" sz="1400" dirty="0">
                          <a:effectLst/>
                          <a:latin typeface="Calibri" panose="020F0502020204030204" pitchFamily="34" charset="0"/>
                        </a:rPr>
                        <a:t>10:45 – 11.1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reak</a:t>
                      </a:r>
                    </a:p>
                  </a:txBody>
                  <a:tcPr marL="64743" marR="64743" marT="0" marB="0"/>
                </a:tc>
                <a:tc>
                  <a:txBody>
                    <a:bodyPr/>
                    <a:lstStyle/>
                    <a:p>
                      <a:pPr marL="0" marR="0">
                        <a:spcBef>
                          <a:spcPts val="0"/>
                        </a:spcBef>
                        <a:spcAft>
                          <a:spcPts val="0"/>
                        </a:spcAft>
                      </a:pPr>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3"/>
                  </a:ext>
                </a:extLst>
              </a:tr>
              <a:tr h="666948">
                <a:tc>
                  <a:txBody>
                    <a:bodyPr/>
                    <a:lstStyle/>
                    <a:p>
                      <a:r>
                        <a:rPr lang="en-US" sz="1400" dirty="0">
                          <a:effectLst/>
                          <a:latin typeface="Calibri" panose="020F0502020204030204" pitchFamily="34" charset="0"/>
                        </a:rPr>
                        <a:t>11:10 – 11:3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ackground on the Optimal ARV grant and goals of the CAB</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Carolyn Amole and Caroline Middlecote (CHAI)</a:t>
                      </a:r>
                    </a:p>
                  </a:txBody>
                  <a:tcPr marL="64743" marR="64743" marT="0" marB="0"/>
                </a:tc>
                <a:extLst>
                  <a:ext uri="{0D108BD9-81ED-4DB2-BD59-A6C34878D82A}">
                    <a16:rowId xmlns:a16="http://schemas.microsoft.com/office/drawing/2014/main" xmlns="" val="10004"/>
                  </a:ext>
                </a:extLst>
              </a:tr>
              <a:tr h="370526">
                <a:tc>
                  <a:txBody>
                    <a:bodyPr/>
                    <a:lstStyle/>
                    <a:p>
                      <a:r>
                        <a:rPr lang="en-US" sz="1400" dirty="0">
                          <a:effectLst/>
                          <a:latin typeface="Calibri" panose="020F0502020204030204" pitchFamily="34" charset="0"/>
                        </a:rPr>
                        <a:t>11:30 – 13:0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ackground on Optimal ARV products</a:t>
                      </a:r>
                    </a:p>
                    <a:p>
                      <a:pPr marL="285750" marR="0" indent="-285750">
                        <a:spcBef>
                          <a:spcPts val="0"/>
                        </a:spcBef>
                        <a:spcAft>
                          <a:spcPts val="0"/>
                        </a:spcAft>
                        <a:buFontTx/>
                        <a:buChar char="-"/>
                      </a:pPr>
                      <a:r>
                        <a:rPr lang="en-US" sz="1400" i="1" dirty="0">
                          <a:effectLst/>
                          <a:latin typeface="Calibri" panose="020F0502020204030204" pitchFamily="34" charset="0"/>
                          <a:ea typeface="Times New Roman"/>
                          <a:cs typeface="Times New Roman"/>
                        </a:rPr>
                        <a:t>Product overviews and discussion</a:t>
                      </a:r>
                    </a:p>
                    <a:p>
                      <a:pPr marL="285750" marR="0" indent="-285750">
                        <a:spcBef>
                          <a:spcPts val="0"/>
                        </a:spcBef>
                        <a:spcAft>
                          <a:spcPts val="0"/>
                        </a:spcAft>
                        <a:buFontTx/>
                        <a:buChar char="-"/>
                      </a:pPr>
                      <a:r>
                        <a:rPr lang="en-US" sz="1400" i="1" dirty="0">
                          <a:effectLst/>
                          <a:latin typeface="Calibri" panose="020F0502020204030204" pitchFamily="34" charset="0"/>
                          <a:ea typeface="Times New Roman"/>
                          <a:cs typeface="Times New Roman"/>
                        </a:rPr>
                        <a:t>Discussion on community engagement</a:t>
                      </a:r>
                      <a:r>
                        <a:rPr lang="en-US" sz="1400" i="1" baseline="0" dirty="0">
                          <a:effectLst/>
                          <a:latin typeface="Calibri" panose="020F0502020204030204" pitchFamily="34" charset="0"/>
                          <a:ea typeface="Times New Roman"/>
                          <a:cs typeface="Times New Roman"/>
                        </a:rPr>
                        <a:t> with </a:t>
                      </a:r>
                      <a:r>
                        <a:rPr lang="en-US" sz="1400" i="1" baseline="0" dirty="0" err="1">
                          <a:effectLst/>
                          <a:latin typeface="Calibri" panose="020F0502020204030204" pitchFamily="34" charset="0"/>
                          <a:ea typeface="Times New Roman"/>
                          <a:cs typeface="Times New Roman"/>
                        </a:rPr>
                        <a:t>clinicans</a:t>
                      </a:r>
                      <a:r>
                        <a:rPr lang="en-US" sz="1400" i="1" baseline="0" dirty="0">
                          <a:effectLst/>
                          <a:latin typeface="Calibri" panose="020F0502020204030204" pitchFamily="34" charset="0"/>
                          <a:ea typeface="Times New Roman"/>
                          <a:cs typeface="Times New Roman"/>
                        </a:rPr>
                        <a:t> and opportunity for joint advocacy</a:t>
                      </a:r>
                    </a:p>
                    <a:p>
                      <a:pPr marL="285750" marR="0" indent="-285750">
                        <a:spcBef>
                          <a:spcPts val="0"/>
                        </a:spcBef>
                        <a:spcAft>
                          <a:spcPts val="0"/>
                        </a:spcAft>
                        <a:buFontTx/>
                        <a:buChar char="-"/>
                      </a:pPr>
                      <a:r>
                        <a:rPr lang="en-US" sz="1400" i="1" baseline="0" dirty="0">
                          <a:effectLst/>
                          <a:latin typeface="Calibri" panose="020F0502020204030204" pitchFamily="34" charset="0"/>
                          <a:ea typeface="Times New Roman"/>
                          <a:cs typeface="Times New Roman"/>
                        </a:rPr>
                        <a:t>Review of clinical trials</a:t>
                      </a:r>
                      <a:endParaRPr lang="en-US" sz="1400" i="1"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Herb</a:t>
                      </a:r>
                      <a:r>
                        <a:rPr lang="en-US" sz="1400" baseline="0" dirty="0">
                          <a:effectLst/>
                          <a:latin typeface="Calibri" panose="020F0502020204030204" pitchFamily="34" charset="0"/>
                          <a:ea typeface="Times New Roman"/>
                          <a:cs typeface="Times New Roman"/>
                        </a:rPr>
                        <a:t> (CHAI), Kenly (</a:t>
                      </a:r>
                      <a:r>
                        <a:rPr lang="en-US" sz="1400" baseline="0" dirty="0" err="1">
                          <a:effectLst/>
                          <a:latin typeface="Calibri" panose="020F0502020204030204" pitchFamily="34" charset="0"/>
                          <a:ea typeface="Times New Roman"/>
                          <a:cs typeface="Times New Roman"/>
                        </a:rPr>
                        <a:t>AfroCAB</a:t>
                      </a:r>
                      <a:r>
                        <a:rPr lang="en-US" sz="1400" baseline="0" dirty="0">
                          <a:effectLst/>
                          <a:latin typeface="Calibri" panose="020F0502020204030204" pitchFamily="34" charset="0"/>
                          <a:ea typeface="Times New Roman"/>
                          <a:cs typeface="Times New Roman"/>
                        </a:rPr>
                        <a:t>), Polly (</a:t>
                      </a:r>
                      <a:r>
                        <a:rPr lang="en-US" sz="1400" baseline="0" dirty="0" err="1">
                          <a:effectLst/>
                          <a:latin typeface="Calibri" panose="020F0502020204030204" pitchFamily="34" charset="0"/>
                          <a:ea typeface="Times New Roman"/>
                          <a:cs typeface="Times New Roman"/>
                        </a:rPr>
                        <a:t>i</a:t>
                      </a:r>
                      <a:r>
                        <a:rPr lang="en-US" sz="1400" baseline="0" dirty="0">
                          <a:effectLst/>
                          <a:latin typeface="Calibri" panose="020F0502020204030204" pitchFamily="34" charset="0"/>
                          <a:ea typeface="Times New Roman"/>
                          <a:cs typeface="Times New Roman"/>
                        </a:rPr>
                        <a:t>-Base)</a:t>
                      </a: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5"/>
                  </a:ext>
                </a:extLst>
              </a:tr>
              <a:tr h="555789">
                <a:tc>
                  <a:txBody>
                    <a:bodyPr/>
                    <a:lstStyle/>
                    <a:p>
                      <a:r>
                        <a:rPr lang="en-US" sz="1400" dirty="0">
                          <a:effectLst/>
                          <a:latin typeface="Calibri" panose="020F0502020204030204" pitchFamily="34" charset="0"/>
                        </a:rPr>
                        <a:t>13:00 – 14:00</a:t>
                      </a:r>
                    </a:p>
                  </a:txBody>
                  <a:tcPr marL="64743" marR="64743" marT="0" marB="0"/>
                </a:tc>
                <a:tc>
                  <a:txBody>
                    <a:bodyPr/>
                    <a:lstStyle/>
                    <a:p>
                      <a:r>
                        <a:rPr lang="en-US" sz="1400" dirty="0">
                          <a:effectLst/>
                          <a:latin typeface="Calibri" panose="020F0502020204030204" pitchFamily="34" charset="0"/>
                        </a:rPr>
                        <a:t>Lunch </a:t>
                      </a:r>
                    </a:p>
                  </a:txBody>
                  <a:tcPr marL="64743" marR="64743" marT="0" marB="0"/>
                </a:tc>
                <a:tc>
                  <a:txBody>
                    <a:bodyPr/>
                    <a:lstStyle/>
                    <a:p>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6"/>
                  </a:ext>
                </a:extLst>
              </a:tr>
              <a:tr h="666948">
                <a:tc>
                  <a:txBody>
                    <a:bodyPr/>
                    <a:lstStyle/>
                    <a:p>
                      <a:r>
                        <a:rPr lang="en-US" sz="1400" dirty="0">
                          <a:effectLst/>
                          <a:latin typeface="Calibri" panose="020F0502020204030204" pitchFamily="34" charset="0"/>
                        </a:rPr>
                        <a:t>14:00</a:t>
                      </a:r>
                      <a:r>
                        <a:rPr lang="en-US" sz="1400" baseline="0" dirty="0">
                          <a:effectLst/>
                          <a:latin typeface="Calibri" panose="020F0502020204030204" pitchFamily="34" charset="0"/>
                        </a:rPr>
                        <a:t> – 15:30</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Role playing! Engaging with community </a:t>
                      </a:r>
                      <a:r>
                        <a:rPr lang="en-US" sz="1400" dirty="0" err="1">
                          <a:effectLst/>
                          <a:latin typeface="Calibri" panose="020F0502020204030204" pitchFamily="34" charset="0"/>
                          <a:ea typeface="Times New Roman"/>
                          <a:cs typeface="Times New Roman"/>
                        </a:rPr>
                        <a:t>MoH</a:t>
                      </a:r>
                      <a:r>
                        <a:rPr lang="en-US" sz="1400" dirty="0">
                          <a:effectLst/>
                          <a:latin typeface="Calibri" panose="020F0502020204030204" pitchFamily="34" charset="0"/>
                          <a:ea typeface="Times New Roman"/>
                          <a:cs typeface="Times New Roman"/>
                        </a:rPr>
                        <a:t> and partners</a:t>
                      </a:r>
                      <a:r>
                        <a:rPr lang="en-US" sz="1400" baseline="0" dirty="0">
                          <a:effectLst/>
                          <a:latin typeface="Calibri" panose="020F0502020204030204" pitchFamily="34" charset="0"/>
                          <a:ea typeface="Times New Roman"/>
                          <a:cs typeface="Times New Roman"/>
                        </a:rPr>
                        <a:t> on new product introduction</a:t>
                      </a:r>
                      <a:endParaRPr lang="en-US" sz="1400"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Luckyboy (TAC)</a:t>
                      </a:r>
                      <a:r>
                        <a:rPr lang="en-US" sz="1400" baseline="0" dirty="0">
                          <a:effectLst/>
                          <a:latin typeface="Calibri" panose="020F0502020204030204" pitchFamily="34" charset="0"/>
                          <a:ea typeface="Times New Roman"/>
                          <a:cs typeface="Times New Roman"/>
                        </a:rPr>
                        <a:t> and Polly (</a:t>
                      </a:r>
                      <a:r>
                        <a:rPr lang="en-US" sz="1400" baseline="0" dirty="0" err="1">
                          <a:effectLst/>
                          <a:latin typeface="Calibri" panose="020F0502020204030204" pitchFamily="34" charset="0"/>
                          <a:ea typeface="Times New Roman"/>
                          <a:cs typeface="Times New Roman"/>
                        </a:rPr>
                        <a:t>i</a:t>
                      </a:r>
                      <a:r>
                        <a:rPr lang="en-US" sz="1400" baseline="0" dirty="0">
                          <a:effectLst/>
                          <a:latin typeface="Calibri" panose="020F0502020204030204" pitchFamily="34" charset="0"/>
                          <a:ea typeface="Times New Roman"/>
                          <a:cs typeface="Times New Roman"/>
                        </a:rPr>
                        <a:t>-Base)</a:t>
                      </a: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7"/>
                  </a:ext>
                </a:extLst>
              </a:tr>
              <a:tr h="666948">
                <a:tc>
                  <a:txBody>
                    <a:bodyPr/>
                    <a:lstStyle/>
                    <a:p>
                      <a:endParaRPr lang="en-US" sz="1400" dirty="0">
                        <a:effectLst/>
                        <a:latin typeface="Calibri" panose="020F0502020204030204" pitchFamily="34" charset="0"/>
                      </a:endParaRPr>
                    </a:p>
                  </a:txBody>
                  <a:tcPr marL="64743" marR="64743"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smtClean="0">
                          <a:effectLst/>
                          <a:latin typeface="Calibri" panose="020F0502020204030204" pitchFamily="34" charset="0"/>
                        </a:rPr>
                        <a:t>End of meeting  -  time for side meetings</a:t>
                      </a:r>
                      <a:endParaRPr lang="en-US" sz="1400" b="0" i="1" dirty="0" smtClean="0">
                        <a:effectLst/>
                        <a:latin typeface="Calibri" panose="020F0502020204030204" pitchFamily="34" charset="0"/>
                      </a:endParaRPr>
                    </a:p>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6601202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400" dirty="0"/>
              <a:t>Introductions and Scene Setting: Country Context</a:t>
            </a:r>
            <a:endParaRPr lang="en-US" sz="2400" dirty="0"/>
          </a:p>
        </p:txBody>
      </p:sp>
      <p:pic>
        <p:nvPicPr>
          <p:cNvPr id="6" name="Picture 4" descr="http://www.theodora.com/wfb/south_africa/sf.gif"/>
          <p:cNvPicPr preferRelativeResize="0">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20268" y="4526280"/>
            <a:ext cx="1170432" cy="73152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www.theodora.com/flags/zi.gif"/>
          <p:cNvPicPr preferRelativeResize="0">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80713" y="3429000"/>
            <a:ext cx="1170432" cy="7315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p:cNvPicPr preferRelativeResize="0">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0268" y="2224207"/>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6"/>
          <p:cNvPicPr preferRelativeResize="0">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168" y="4526280"/>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7"/>
          <p:cNvPicPr preferRelativeResize="0">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72400" y="1269844"/>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19"/>
          <p:cNvPicPr preferRelativeResize="0">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1168" y="3429000"/>
            <a:ext cx="1170432" cy="73152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558084" name="Picture 4"/>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1168" y="2224207"/>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8085" name="Picture 5"/>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168" y="5486400"/>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9906" name="Picture 2"/>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168" y="1269844"/>
            <a:ext cx="1170432" cy="73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3"/>
          <p:cNvSpPr>
            <a:spLocks noChangeArrowheads="1"/>
          </p:cNvSpPr>
          <p:nvPr/>
        </p:nvSpPr>
        <p:spPr bwMode="auto">
          <a:xfrm>
            <a:off x="2908300" y="1600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r>
              <a:rPr lang="en-US" altLang="en-US" sz="1800" smtClean="0">
                <a:solidFill>
                  <a:prstClr val="black"/>
                </a:solidFill>
                <a:latin typeface="Arial" pitchFamily="34" charset="0"/>
                <a:cs typeface="Arial" pitchFamily="34" charset="0"/>
              </a:rPr>
              <a:t/>
            </a:r>
            <a:br>
              <a:rPr lang="en-US" altLang="en-US" sz="1800" smtClean="0">
                <a:solidFill>
                  <a:prstClr val="black"/>
                </a:solidFill>
                <a:latin typeface="Arial" pitchFamily="34" charset="0"/>
                <a:cs typeface="Arial" pitchFamily="34" charset="0"/>
              </a:rPr>
            </a:br>
            <a:r>
              <a:rPr lang="en-US" altLang="en-US" sz="1800" smtClean="0">
                <a:solidFill>
                  <a:prstClr val="black"/>
                </a:solidFill>
                <a:latin typeface="Arial" pitchFamily="34" charset="0"/>
                <a:cs typeface="Arial" pitchFamily="34" charset="0"/>
              </a:rPr>
              <a:t/>
            </a:r>
            <a:br>
              <a:rPr lang="en-US" altLang="en-US" sz="1800" smtClean="0">
                <a:solidFill>
                  <a:prstClr val="black"/>
                </a:solidFill>
                <a:latin typeface="Arial" pitchFamily="34" charset="0"/>
                <a:cs typeface="Arial" pitchFamily="34" charset="0"/>
              </a:rPr>
            </a:br>
            <a:endParaRPr lang="en-US" altLang="en-US" sz="1800" smtClean="0">
              <a:solidFill>
                <a:prstClr val="black"/>
              </a:solidFill>
              <a:latin typeface="Arial" pitchFamily="34" charset="0"/>
              <a:cs typeface="Arial" pitchFamily="34" charset="0"/>
            </a:endParaRPr>
          </a:p>
        </p:txBody>
      </p:sp>
      <p:sp>
        <p:nvSpPr>
          <p:cNvPr id="10" name="TextBox 9"/>
          <p:cNvSpPr txBox="1"/>
          <p:nvPr/>
        </p:nvSpPr>
        <p:spPr>
          <a:xfrm>
            <a:off x="1392382" y="4526280"/>
            <a:ext cx="4038600" cy="584775"/>
          </a:xfrm>
          <a:prstGeom prst="rect">
            <a:avLst/>
          </a:prstGeom>
          <a:noFill/>
        </p:spPr>
        <p:txBody>
          <a:bodyPr wrap="square" rtlCol="0">
            <a:spAutoFit/>
          </a:bodyPr>
          <a:lstStyle/>
          <a:p>
            <a:r>
              <a:rPr lang="en-US" sz="1400" b="1" dirty="0" err="1" smtClean="0">
                <a:solidFill>
                  <a:prstClr val="black"/>
                </a:solidFill>
                <a:latin typeface="Calibri"/>
              </a:rPr>
              <a:t>Sorn</a:t>
            </a:r>
            <a:r>
              <a:rPr lang="en-US" sz="1400" b="1" dirty="0" smtClean="0">
                <a:solidFill>
                  <a:prstClr val="black"/>
                </a:solidFill>
                <a:latin typeface="Calibri"/>
              </a:rPr>
              <a:t> </a:t>
            </a:r>
            <a:r>
              <a:rPr lang="en-US" sz="1400" b="1" dirty="0" err="1" smtClean="0">
                <a:solidFill>
                  <a:srgbClr val="000000"/>
                </a:solidFill>
                <a:latin typeface="Calibri"/>
              </a:rPr>
              <a:t>Sotheariddh</a:t>
            </a:r>
            <a:endParaRPr lang="en-US" sz="1400" b="1" dirty="0" smtClean="0">
              <a:solidFill>
                <a:srgbClr val="000000"/>
              </a:solidFill>
              <a:latin typeface="Calibri"/>
            </a:endParaRPr>
          </a:p>
          <a:p>
            <a:r>
              <a:rPr lang="en-US" sz="1400" i="1" dirty="0" smtClean="0">
                <a:solidFill>
                  <a:srgbClr val="000000"/>
                </a:solidFill>
                <a:latin typeface="Calibri"/>
              </a:rPr>
              <a:t>CPN+</a:t>
            </a:r>
            <a:r>
              <a:rPr lang="en-US" sz="1800" dirty="0" smtClean="0">
                <a:solidFill>
                  <a:srgbClr val="000000"/>
                </a:solidFill>
                <a:latin typeface="Calibri"/>
              </a:rPr>
              <a:t> </a:t>
            </a:r>
            <a:r>
              <a:rPr lang="en-US" sz="1800" dirty="0" smtClean="0">
                <a:solidFill>
                  <a:prstClr val="black"/>
                </a:solidFill>
                <a:latin typeface="Calibri"/>
              </a:rPr>
              <a:t> </a:t>
            </a:r>
            <a:endParaRPr lang="en-US" sz="1800" dirty="0">
              <a:solidFill>
                <a:prstClr val="black"/>
              </a:solidFill>
              <a:latin typeface="Calibri"/>
            </a:endParaRPr>
          </a:p>
        </p:txBody>
      </p:sp>
      <p:sp>
        <p:nvSpPr>
          <p:cNvPr id="27" name="TextBox 26"/>
          <p:cNvSpPr txBox="1"/>
          <p:nvPr/>
        </p:nvSpPr>
        <p:spPr>
          <a:xfrm>
            <a:off x="3009900" y="2224207"/>
            <a:ext cx="4771159" cy="1661993"/>
          </a:xfrm>
          <a:prstGeom prst="rect">
            <a:avLst/>
          </a:prstGeom>
          <a:noFill/>
        </p:spPr>
        <p:txBody>
          <a:bodyPr wrap="square" rtlCol="0">
            <a:spAutoFit/>
          </a:bodyPr>
          <a:lstStyle/>
          <a:p>
            <a:pPr algn="r"/>
            <a:r>
              <a:rPr lang="en-US" sz="1400" b="1" dirty="0" smtClean="0">
                <a:solidFill>
                  <a:srgbClr val="000000"/>
                </a:solidFill>
                <a:latin typeface="Calibri"/>
              </a:rPr>
              <a:t>Mustafa Salim </a:t>
            </a:r>
            <a:r>
              <a:rPr lang="en-US" sz="1400" b="1" dirty="0" smtClean="0">
                <a:solidFill>
                  <a:srgbClr val="000000"/>
                </a:solidFill>
                <a:latin typeface="Calibri"/>
              </a:rPr>
              <a:t>Kibet</a:t>
            </a:r>
          </a:p>
          <a:p>
            <a:pPr algn="r"/>
            <a:r>
              <a:rPr lang="en-US" sz="1400" i="1" dirty="0">
                <a:solidFill>
                  <a:srgbClr val="000000"/>
                </a:solidFill>
                <a:latin typeface="Calibri"/>
              </a:rPr>
              <a:t>Islamic Men’s Network</a:t>
            </a:r>
            <a:endParaRPr lang="en-US" sz="1400" i="1" dirty="0">
              <a:solidFill>
                <a:prstClr val="black"/>
              </a:solidFill>
              <a:latin typeface="Calibri"/>
            </a:endParaRPr>
          </a:p>
          <a:p>
            <a:pPr algn="r"/>
            <a:r>
              <a:rPr lang="en-US" sz="1400" b="1" dirty="0" smtClean="0">
                <a:solidFill>
                  <a:srgbClr val="000000"/>
                </a:solidFill>
                <a:latin typeface="Calibri"/>
              </a:rPr>
              <a:t>Jacqueline </a:t>
            </a:r>
            <a:r>
              <a:rPr lang="en-US" sz="1400" b="1" dirty="0" err="1" smtClean="0">
                <a:solidFill>
                  <a:srgbClr val="000000"/>
                </a:solidFill>
                <a:latin typeface="Calibri"/>
              </a:rPr>
              <a:t>Wambui</a:t>
            </a:r>
            <a:endParaRPr lang="en-US" sz="1400" b="1" dirty="0" smtClean="0">
              <a:solidFill>
                <a:srgbClr val="000000"/>
              </a:solidFill>
              <a:latin typeface="Calibri"/>
            </a:endParaRPr>
          </a:p>
          <a:p>
            <a:pPr algn="r"/>
            <a:r>
              <a:rPr lang="en-US" sz="1400" i="1" dirty="0">
                <a:solidFill>
                  <a:srgbClr val="000000"/>
                </a:solidFill>
                <a:latin typeface="Calibri"/>
              </a:rPr>
              <a:t>National Empowerment </a:t>
            </a:r>
            <a:r>
              <a:rPr lang="en-US" sz="1400" i="1" dirty="0" smtClean="0">
                <a:solidFill>
                  <a:srgbClr val="000000"/>
                </a:solidFill>
                <a:latin typeface="Calibri"/>
              </a:rPr>
              <a:t>Network of </a:t>
            </a:r>
            <a:r>
              <a:rPr lang="en-US" sz="1400" i="1" dirty="0">
                <a:solidFill>
                  <a:srgbClr val="000000"/>
                </a:solidFill>
                <a:latin typeface="Calibri"/>
              </a:rPr>
              <a:t>People Living </a:t>
            </a:r>
            <a:r>
              <a:rPr lang="en-US" sz="1400" i="1" dirty="0" smtClean="0">
                <a:solidFill>
                  <a:srgbClr val="000000"/>
                </a:solidFill>
                <a:latin typeface="Calibri"/>
              </a:rPr>
              <a:t>with HIV/AIDS in Kenya </a:t>
            </a:r>
            <a:r>
              <a:rPr lang="en-US" sz="1400" i="1" dirty="0">
                <a:solidFill>
                  <a:srgbClr val="000000"/>
                </a:solidFill>
                <a:latin typeface="Calibri"/>
              </a:rPr>
              <a:t>(NEPHAK)</a:t>
            </a:r>
            <a:endParaRPr lang="en-US" sz="1400" i="1" dirty="0">
              <a:solidFill>
                <a:prstClr val="black"/>
              </a:solidFill>
              <a:latin typeface="Calibri"/>
            </a:endParaRPr>
          </a:p>
          <a:p>
            <a:pPr algn="r"/>
            <a:endParaRPr lang="en-US" sz="1600" i="1" dirty="0" smtClean="0">
              <a:solidFill>
                <a:srgbClr val="000000"/>
              </a:solidFill>
              <a:latin typeface="Calibri"/>
            </a:endParaRPr>
          </a:p>
          <a:p>
            <a:pPr algn="r"/>
            <a:r>
              <a:rPr lang="en-US" sz="1600" dirty="0" smtClean="0">
                <a:solidFill>
                  <a:srgbClr val="000000"/>
                </a:solidFill>
                <a:latin typeface="Calibri"/>
              </a:rPr>
              <a:t> </a:t>
            </a:r>
            <a:r>
              <a:rPr lang="en-US" sz="1600" dirty="0" smtClean="0">
                <a:solidFill>
                  <a:prstClr val="black"/>
                </a:solidFill>
                <a:latin typeface="Calibri"/>
              </a:rPr>
              <a:t> </a:t>
            </a:r>
            <a:endParaRPr lang="en-US" sz="1600" dirty="0">
              <a:solidFill>
                <a:prstClr val="black"/>
              </a:solidFill>
              <a:latin typeface="Calibri"/>
            </a:endParaRPr>
          </a:p>
        </p:txBody>
      </p:sp>
      <p:sp>
        <p:nvSpPr>
          <p:cNvPr id="30" name="TextBox 29"/>
          <p:cNvSpPr txBox="1"/>
          <p:nvPr/>
        </p:nvSpPr>
        <p:spPr>
          <a:xfrm>
            <a:off x="1392382" y="5486400"/>
            <a:ext cx="4360718" cy="769441"/>
          </a:xfrm>
          <a:prstGeom prst="rect">
            <a:avLst/>
          </a:prstGeom>
          <a:noFill/>
        </p:spPr>
        <p:txBody>
          <a:bodyPr wrap="square" rtlCol="0">
            <a:spAutoFit/>
          </a:bodyPr>
          <a:lstStyle/>
          <a:p>
            <a:r>
              <a:rPr lang="en-US" sz="1400" b="1" dirty="0" smtClean="0">
                <a:solidFill>
                  <a:srgbClr val="000000"/>
                </a:solidFill>
                <a:latin typeface="Calibri"/>
              </a:rPr>
              <a:t>George </a:t>
            </a:r>
            <a:r>
              <a:rPr lang="en-US" sz="1400" b="1" dirty="0" err="1" smtClean="0">
                <a:solidFill>
                  <a:srgbClr val="000000"/>
                </a:solidFill>
                <a:latin typeface="Calibri"/>
              </a:rPr>
              <a:t>Kampango</a:t>
            </a:r>
            <a:endParaRPr lang="en-US" sz="1400" b="1" dirty="0" smtClean="0">
              <a:solidFill>
                <a:srgbClr val="000000"/>
              </a:solidFill>
              <a:latin typeface="Calibri"/>
            </a:endParaRPr>
          </a:p>
          <a:p>
            <a:r>
              <a:rPr lang="en-US" sz="1400" dirty="0" smtClean="0">
                <a:solidFill>
                  <a:srgbClr val="000000"/>
                </a:solidFill>
                <a:latin typeface="Calibri"/>
              </a:rPr>
              <a:t>Clara </a:t>
            </a:r>
            <a:r>
              <a:rPr lang="en-US" sz="1400" dirty="0" err="1" smtClean="0">
                <a:solidFill>
                  <a:srgbClr val="000000"/>
                </a:solidFill>
                <a:latin typeface="Calibri"/>
              </a:rPr>
              <a:t>Banya</a:t>
            </a:r>
            <a:endParaRPr lang="en-US" sz="1400" dirty="0" smtClean="0">
              <a:solidFill>
                <a:srgbClr val="000000"/>
              </a:solidFill>
              <a:latin typeface="Calibri"/>
            </a:endParaRPr>
          </a:p>
          <a:p>
            <a:r>
              <a:rPr lang="en-US" sz="1400" i="1" dirty="0">
                <a:solidFill>
                  <a:srgbClr val="000000"/>
                </a:solidFill>
                <a:latin typeface="Calibri"/>
              </a:rPr>
              <a:t>Malawi Network of </a:t>
            </a:r>
            <a:r>
              <a:rPr lang="en-US" sz="1400" i="1" dirty="0" smtClean="0">
                <a:solidFill>
                  <a:srgbClr val="000000"/>
                </a:solidFill>
                <a:latin typeface="Calibri"/>
              </a:rPr>
              <a:t>PLHIV</a:t>
            </a:r>
            <a:r>
              <a:rPr lang="en-US" sz="1600" dirty="0" smtClean="0">
                <a:solidFill>
                  <a:srgbClr val="000000"/>
                </a:solidFill>
                <a:latin typeface="Calibri"/>
              </a:rPr>
              <a:t> </a:t>
            </a:r>
            <a:r>
              <a:rPr lang="en-US" sz="1600" dirty="0" smtClean="0">
                <a:solidFill>
                  <a:prstClr val="black"/>
                </a:solidFill>
                <a:latin typeface="Calibri"/>
              </a:rPr>
              <a:t> </a:t>
            </a:r>
            <a:endParaRPr lang="en-US" sz="1600" dirty="0">
              <a:solidFill>
                <a:prstClr val="black"/>
              </a:solidFill>
              <a:latin typeface="Calibri"/>
            </a:endParaRPr>
          </a:p>
        </p:txBody>
      </p:sp>
      <p:sp>
        <p:nvSpPr>
          <p:cNvPr id="31" name="TextBox 30"/>
          <p:cNvSpPr txBox="1"/>
          <p:nvPr/>
        </p:nvSpPr>
        <p:spPr>
          <a:xfrm>
            <a:off x="3420341" y="4526280"/>
            <a:ext cx="4360718" cy="523220"/>
          </a:xfrm>
          <a:prstGeom prst="rect">
            <a:avLst/>
          </a:prstGeom>
          <a:noFill/>
        </p:spPr>
        <p:txBody>
          <a:bodyPr wrap="square" rtlCol="0">
            <a:spAutoFit/>
          </a:bodyPr>
          <a:lstStyle/>
          <a:p>
            <a:pPr algn="r"/>
            <a:r>
              <a:rPr lang="en-US" sz="1400" b="1" dirty="0" smtClean="0">
                <a:solidFill>
                  <a:prstClr val="black"/>
                </a:solidFill>
                <a:latin typeface="Calibri"/>
              </a:rPr>
              <a:t>Luckyboy Mkhondwane</a:t>
            </a:r>
          </a:p>
          <a:p>
            <a:pPr algn="r"/>
            <a:r>
              <a:rPr lang="en-US" sz="1400" b="1" i="1" dirty="0" smtClean="0">
                <a:solidFill>
                  <a:prstClr val="black"/>
                </a:solidFill>
                <a:latin typeface="Calibri"/>
              </a:rPr>
              <a:t>Tr</a:t>
            </a:r>
            <a:r>
              <a:rPr lang="en-US" sz="1400" i="1" dirty="0" smtClean="0">
                <a:solidFill>
                  <a:prstClr val="black"/>
                </a:solidFill>
                <a:latin typeface="Calibri"/>
              </a:rPr>
              <a:t>eatment Action Campaign (TAC)</a:t>
            </a:r>
            <a:endParaRPr lang="en-US" sz="1400" i="1" dirty="0">
              <a:solidFill>
                <a:prstClr val="black"/>
              </a:solidFill>
              <a:latin typeface="Calibri"/>
            </a:endParaRPr>
          </a:p>
        </p:txBody>
      </p:sp>
      <p:sp>
        <p:nvSpPr>
          <p:cNvPr id="32" name="TextBox 31"/>
          <p:cNvSpPr txBox="1"/>
          <p:nvPr/>
        </p:nvSpPr>
        <p:spPr>
          <a:xfrm>
            <a:off x="1392382" y="3429000"/>
            <a:ext cx="4360718" cy="769441"/>
          </a:xfrm>
          <a:prstGeom prst="rect">
            <a:avLst/>
          </a:prstGeom>
          <a:noFill/>
        </p:spPr>
        <p:txBody>
          <a:bodyPr wrap="square" rtlCol="0">
            <a:spAutoFit/>
          </a:bodyPr>
          <a:lstStyle/>
          <a:p>
            <a:r>
              <a:rPr lang="en-US" sz="1400" b="1" dirty="0" smtClean="0">
                <a:solidFill>
                  <a:prstClr val="black"/>
                </a:solidFill>
                <a:latin typeface="Calibri"/>
              </a:rPr>
              <a:t>Obatunde </a:t>
            </a:r>
            <a:r>
              <a:rPr lang="en-US" sz="1400" b="1" dirty="0" smtClean="0">
                <a:solidFill>
                  <a:prstClr val="black"/>
                </a:solidFill>
                <a:latin typeface="Calibri"/>
              </a:rPr>
              <a:t>Oladapo</a:t>
            </a:r>
            <a:endParaRPr lang="en-US" sz="1400" b="1" i="1" dirty="0" smtClean="0">
              <a:solidFill>
                <a:prstClr val="black"/>
              </a:solidFill>
              <a:latin typeface="Calibri"/>
            </a:endParaRPr>
          </a:p>
          <a:p>
            <a:r>
              <a:rPr lang="en-US" sz="1400" b="1" dirty="0" err="1" smtClean="0">
                <a:solidFill>
                  <a:prstClr val="black"/>
                </a:solidFill>
                <a:latin typeface="Calibri"/>
              </a:rPr>
              <a:t>Olubukola</a:t>
            </a:r>
            <a:r>
              <a:rPr lang="en-US" sz="1400" b="1" dirty="0" smtClean="0">
                <a:solidFill>
                  <a:prstClr val="black"/>
                </a:solidFill>
                <a:latin typeface="Calibri"/>
              </a:rPr>
              <a:t> </a:t>
            </a:r>
            <a:r>
              <a:rPr lang="en-US" sz="1400" b="1" dirty="0" err="1" smtClean="0">
                <a:solidFill>
                  <a:prstClr val="black"/>
                </a:solidFill>
                <a:latin typeface="Calibri"/>
              </a:rPr>
              <a:t>Ayinde</a:t>
            </a:r>
            <a:endParaRPr lang="en-US" sz="1400" b="1" dirty="0" smtClean="0">
              <a:solidFill>
                <a:prstClr val="black"/>
              </a:solidFill>
              <a:latin typeface="Calibri"/>
            </a:endParaRPr>
          </a:p>
          <a:p>
            <a:r>
              <a:rPr lang="en-US" sz="1400" i="1" dirty="0" smtClean="0">
                <a:solidFill>
                  <a:prstClr val="black"/>
                </a:solidFill>
                <a:latin typeface="Calibri"/>
              </a:rPr>
              <a:t>Positive Life Association of Nigeria (PLAN</a:t>
            </a:r>
            <a:r>
              <a:rPr lang="en-US" sz="1600" i="1" dirty="0" smtClean="0">
                <a:solidFill>
                  <a:prstClr val="black"/>
                </a:solidFill>
                <a:latin typeface="Calibri"/>
              </a:rPr>
              <a:t>)</a:t>
            </a:r>
            <a:endParaRPr lang="en-US" sz="1600" i="1" dirty="0">
              <a:solidFill>
                <a:prstClr val="black"/>
              </a:solidFill>
              <a:latin typeface="Calibri"/>
            </a:endParaRPr>
          </a:p>
        </p:txBody>
      </p:sp>
      <p:sp>
        <p:nvSpPr>
          <p:cNvPr id="34" name="TextBox 33"/>
          <p:cNvSpPr txBox="1"/>
          <p:nvPr/>
        </p:nvSpPr>
        <p:spPr>
          <a:xfrm>
            <a:off x="3420341" y="1269844"/>
            <a:ext cx="4360718" cy="984885"/>
          </a:xfrm>
          <a:prstGeom prst="rect">
            <a:avLst/>
          </a:prstGeom>
          <a:noFill/>
        </p:spPr>
        <p:txBody>
          <a:bodyPr wrap="square" rtlCol="0">
            <a:spAutoFit/>
          </a:bodyPr>
          <a:lstStyle/>
          <a:p>
            <a:pPr algn="r"/>
            <a:r>
              <a:rPr lang="en-US" sz="1400" b="1" dirty="0">
                <a:solidFill>
                  <a:prstClr val="black"/>
                </a:solidFill>
                <a:latin typeface="Calibri"/>
              </a:rPr>
              <a:t>Proscovia </a:t>
            </a:r>
            <a:r>
              <a:rPr lang="en-US" sz="1400" b="1" dirty="0" err="1" smtClean="0">
                <a:solidFill>
                  <a:prstClr val="black"/>
                </a:solidFill>
                <a:latin typeface="Calibri"/>
              </a:rPr>
              <a:t>Namakula</a:t>
            </a:r>
            <a:endParaRPr lang="en-US" sz="1400" b="1" dirty="0">
              <a:solidFill>
                <a:prstClr val="black"/>
              </a:solidFill>
              <a:latin typeface="Calibri"/>
            </a:endParaRPr>
          </a:p>
          <a:p>
            <a:pPr algn="r"/>
            <a:r>
              <a:rPr lang="en-US" sz="1400" b="1" dirty="0" smtClean="0">
                <a:solidFill>
                  <a:prstClr val="black"/>
                </a:solidFill>
                <a:latin typeface="Calibri"/>
              </a:rPr>
              <a:t>Stephen </a:t>
            </a:r>
            <a:r>
              <a:rPr lang="en-US" sz="1400" b="1" dirty="0" err="1" smtClean="0">
                <a:solidFill>
                  <a:prstClr val="black"/>
                </a:solidFill>
                <a:latin typeface="Calibri"/>
              </a:rPr>
              <a:t>Watiti</a:t>
            </a:r>
            <a:endParaRPr lang="en-US" sz="1400" b="1" dirty="0" smtClean="0">
              <a:solidFill>
                <a:prstClr val="black"/>
              </a:solidFill>
              <a:latin typeface="Calibri"/>
            </a:endParaRPr>
          </a:p>
          <a:p>
            <a:pPr algn="r"/>
            <a:r>
              <a:rPr lang="en-US" sz="1400" i="1" dirty="0" smtClean="0">
                <a:solidFill>
                  <a:prstClr val="black"/>
                </a:solidFill>
                <a:latin typeface="Calibri"/>
              </a:rPr>
              <a:t>ICW </a:t>
            </a:r>
            <a:r>
              <a:rPr lang="en-US" sz="1400" i="1" dirty="0">
                <a:solidFill>
                  <a:prstClr val="black"/>
                </a:solidFill>
                <a:latin typeface="Calibri"/>
              </a:rPr>
              <a:t>(East Africa)</a:t>
            </a:r>
          </a:p>
          <a:p>
            <a:pPr algn="r"/>
            <a:endParaRPr lang="en-US" sz="1600" dirty="0">
              <a:solidFill>
                <a:prstClr val="black"/>
              </a:solidFill>
              <a:latin typeface="Calibri"/>
            </a:endParaRPr>
          </a:p>
        </p:txBody>
      </p:sp>
      <p:sp>
        <p:nvSpPr>
          <p:cNvPr id="35" name="TextBox 34"/>
          <p:cNvSpPr txBox="1"/>
          <p:nvPr/>
        </p:nvSpPr>
        <p:spPr>
          <a:xfrm>
            <a:off x="2514600" y="3429000"/>
            <a:ext cx="5266459" cy="1384995"/>
          </a:xfrm>
          <a:prstGeom prst="rect">
            <a:avLst/>
          </a:prstGeom>
          <a:noFill/>
        </p:spPr>
        <p:txBody>
          <a:bodyPr wrap="square" rtlCol="0">
            <a:spAutoFit/>
          </a:bodyPr>
          <a:lstStyle/>
          <a:p>
            <a:pPr algn="r"/>
            <a:r>
              <a:rPr lang="en-US" sz="1400" b="1" dirty="0">
                <a:solidFill>
                  <a:srgbClr val="000000"/>
                </a:solidFill>
                <a:latin typeface="Calibri"/>
              </a:rPr>
              <a:t>Imelda </a:t>
            </a:r>
            <a:r>
              <a:rPr lang="en-US" sz="1400" b="1" dirty="0" err="1" smtClean="0">
                <a:solidFill>
                  <a:srgbClr val="000000"/>
                </a:solidFill>
                <a:latin typeface="Calibri"/>
              </a:rPr>
              <a:t>Mahaka</a:t>
            </a:r>
            <a:endParaRPr lang="en-US" sz="1400" b="1" dirty="0" smtClean="0">
              <a:solidFill>
                <a:srgbClr val="000000"/>
              </a:solidFill>
              <a:latin typeface="Calibri"/>
            </a:endParaRPr>
          </a:p>
          <a:p>
            <a:pPr algn="r"/>
            <a:r>
              <a:rPr lang="en-US" sz="1400" i="1" dirty="0">
                <a:solidFill>
                  <a:srgbClr val="000000"/>
                </a:solidFill>
                <a:latin typeface="Calibri"/>
              </a:rPr>
              <a:t>Pangaea </a:t>
            </a:r>
            <a:r>
              <a:rPr lang="en-US" sz="1400" i="1" dirty="0" smtClean="0">
                <a:solidFill>
                  <a:srgbClr val="000000"/>
                </a:solidFill>
                <a:latin typeface="Calibri"/>
              </a:rPr>
              <a:t>Zimbabwe</a:t>
            </a:r>
          </a:p>
          <a:p>
            <a:pPr algn="r"/>
            <a:r>
              <a:rPr lang="en-US" sz="1400" b="1" dirty="0">
                <a:solidFill>
                  <a:srgbClr val="000000"/>
                </a:solidFill>
                <a:latin typeface="Calibri"/>
              </a:rPr>
              <a:t>Tapiwanashe </a:t>
            </a:r>
            <a:r>
              <a:rPr lang="en-US" sz="1400" b="1" dirty="0" smtClean="0">
                <a:solidFill>
                  <a:srgbClr val="000000"/>
                </a:solidFill>
                <a:latin typeface="Calibri"/>
              </a:rPr>
              <a:t>Kujinga</a:t>
            </a:r>
          </a:p>
          <a:p>
            <a:pPr algn="r"/>
            <a:r>
              <a:rPr lang="en-US" sz="1400" i="1" dirty="0" smtClean="0">
                <a:solidFill>
                  <a:srgbClr val="000000"/>
                </a:solidFill>
                <a:latin typeface="Calibri"/>
              </a:rPr>
              <a:t>Pan-African </a:t>
            </a:r>
            <a:r>
              <a:rPr lang="en-US" sz="1400" i="1" dirty="0">
                <a:solidFill>
                  <a:srgbClr val="000000"/>
                </a:solidFill>
                <a:latin typeface="Calibri"/>
              </a:rPr>
              <a:t>Treatment </a:t>
            </a:r>
            <a:r>
              <a:rPr lang="en-US" sz="1400" i="1" dirty="0" smtClean="0">
                <a:solidFill>
                  <a:srgbClr val="000000"/>
                </a:solidFill>
                <a:latin typeface="Calibri"/>
              </a:rPr>
              <a:t>Access  Movement </a:t>
            </a:r>
            <a:endParaRPr lang="en-US" sz="1400" i="1" dirty="0">
              <a:solidFill>
                <a:prstClr val="black"/>
              </a:solidFill>
              <a:latin typeface="Calibri"/>
            </a:endParaRPr>
          </a:p>
          <a:p>
            <a:pPr algn="r"/>
            <a:r>
              <a:rPr lang="en-US" sz="1400" dirty="0" smtClean="0">
                <a:solidFill>
                  <a:srgbClr val="000000"/>
                </a:solidFill>
              </a:rPr>
              <a:t> </a:t>
            </a:r>
          </a:p>
          <a:p>
            <a:pPr algn="r"/>
            <a:endParaRPr lang="en-US" sz="1400" i="1" dirty="0">
              <a:solidFill>
                <a:prstClr val="black"/>
              </a:solidFill>
              <a:latin typeface="Calibri"/>
            </a:endParaRPr>
          </a:p>
        </p:txBody>
      </p:sp>
      <p:sp>
        <p:nvSpPr>
          <p:cNvPr id="36" name="TextBox 35"/>
          <p:cNvSpPr txBox="1"/>
          <p:nvPr/>
        </p:nvSpPr>
        <p:spPr>
          <a:xfrm>
            <a:off x="1392382" y="1269844"/>
            <a:ext cx="4360718" cy="523220"/>
          </a:xfrm>
          <a:prstGeom prst="rect">
            <a:avLst/>
          </a:prstGeom>
          <a:noFill/>
        </p:spPr>
        <p:txBody>
          <a:bodyPr wrap="square" rtlCol="0">
            <a:spAutoFit/>
          </a:bodyPr>
          <a:lstStyle/>
          <a:p>
            <a:r>
              <a:rPr lang="en-US" sz="1400" b="1" dirty="0" err="1" smtClean="0">
                <a:solidFill>
                  <a:prstClr val="black"/>
                </a:solidFill>
                <a:latin typeface="Calibri"/>
              </a:rPr>
              <a:t>Ibrahima</a:t>
            </a:r>
            <a:r>
              <a:rPr lang="en-US" sz="1400" b="1" dirty="0" smtClean="0">
                <a:solidFill>
                  <a:prstClr val="black"/>
                </a:solidFill>
                <a:latin typeface="Calibri"/>
              </a:rPr>
              <a:t> Ba</a:t>
            </a:r>
          </a:p>
          <a:p>
            <a:r>
              <a:rPr lang="en-US" sz="1400" i="1" dirty="0" smtClean="0">
                <a:solidFill>
                  <a:prstClr val="black"/>
                </a:solidFill>
                <a:latin typeface="Calibri"/>
              </a:rPr>
              <a:t>RNP+</a:t>
            </a:r>
            <a:endParaRPr lang="en-US" sz="1400" i="1" dirty="0">
              <a:solidFill>
                <a:prstClr val="black"/>
              </a:solidFill>
              <a:latin typeface="Calibri"/>
            </a:endParaRPr>
          </a:p>
        </p:txBody>
      </p:sp>
      <p:sp>
        <p:nvSpPr>
          <p:cNvPr id="37" name="TextBox 36"/>
          <p:cNvSpPr txBox="1"/>
          <p:nvPr/>
        </p:nvSpPr>
        <p:spPr>
          <a:xfrm>
            <a:off x="1392382" y="2224207"/>
            <a:ext cx="4360718" cy="523220"/>
          </a:xfrm>
          <a:prstGeom prst="rect">
            <a:avLst/>
          </a:prstGeom>
          <a:noFill/>
        </p:spPr>
        <p:txBody>
          <a:bodyPr wrap="square" rtlCol="0">
            <a:spAutoFit/>
          </a:bodyPr>
          <a:lstStyle/>
          <a:p>
            <a:r>
              <a:rPr lang="en-US" sz="1400" b="1" dirty="0" smtClean="0">
                <a:solidFill>
                  <a:prstClr val="black"/>
                </a:solidFill>
                <a:latin typeface="Calibri"/>
              </a:rPr>
              <a:t>Francine </a:t>
            </a:r>
            <a:r>
              <a:rPr lang="en-US" sz="1400" b="1" dirty="0" err="1" smtClean="0">
                <a:solidFill>
                  <a:prstClr val="black"/>
                </a:solidFill>
                <a:latin typeface="Calibri"/>
              </a:rPr>
              <a:t>Nganale</a:t>
            </a:r>
            <a:endParaRPr lang="en-US" sz="1400" b="1" dirty="0" smtClean="0">
              <a:solidFill>
                <a:prstClr val="black"/>
              </a:solidFill>
              <a:latin typeface="Calibri"/>
            </a:endParaRPr>
          </a:p>
          <a:p>
            <a:r>
              <a:rPr lang="en-US" sz="1400" i="1" dirty="0" smtClean="0">
                <a:solidFill>
                  <a:prstClr val="black"/>
                </a:solidFill>
                <a:latin typeface="Calibri"/>
              </a:rPr>
              <a:t>ICW+ Cameroon</a:t>
            </a:r>
            <a:endParaRPr lang="en-US" sz="1400" i="1" dirty="0">
              <a:solidFill>
                <a:prstClr val="black"/>
              </a:solidFill>
              <a:latin typeface="Calibri"/>
            </a:endParaRPr>
          </a:p>
        </p:txBody>
      </p:sp>
      <p:sp>
        <p:nvSpPr>
          <p:cNvPr id="11" name="TextBox 10"/>
          <p:cNvSpPr txBox="1"/>
          <p:nvPr/>
        </p:nvSpPr>
        <p:spPr>
          <a:xfrm>
            <a:off x="3429000" y="5536049"/>
            <a:ext cx="5571260" cy="1169551"/>
          </a:xfrm>
          <a:prstGeom prst="rect">
            <a:avLst/>
          </a:prstGeom>
          <a:noFill/>
        </p:spPr>
        <p:txBody>
          <a:bodyPr wrap="square" rtlCol="0">
            <a:spAutoFit/>
          </a:bodyPr>
          <a:lstStyle/>
          <a:p>
            <a:pPr algn="r"/>
            <a:r>
              <a:rPr lang="en-US" sz="1400" dirty="0" smtClean="0">
                <a:solidFill>
                  <a:prstClr val="black"/>
                </a:solidFill>
                <a:latin typeface="Calibri"/>
              </a:rPr>
              <a:t>Kenly </a:t>
            </a:r>
            <a:r>
              <a:rPr lang="en-US" sz="1400" dirty="0" err="1" smtClean="0">
                <a:solidFill>
                  <a:prstClr val="black"/>
                </a:solidFill>
                <a:latin typeface="Calibri"/>
              </a:rPr>
              <a:t>Sikwese</a:t>
            </a:r>
            <a:r>
              <a:rPr lang="en-US" sz="1400" dirty="0" smtClean="0">
                <a:solidFill>
                  <a:prstClr val="black"/>
                </a:solidFill>
                <a:latin typeface="Calibri"/>
              </a:rPr>
              <a:t> – </a:t>
            </a:r>
            <a:r>
              <a:rPr lang="en-US" sz="1400" i="1" dirty="0" err="1" smtClean="0">
                <a:solidFill>
                  <a:prstClr val="black"/>
                </a:solidFill>
                <a:latin typeface="Calibri"/>
              </a:rPr>
              <a:t>AfroCAB</a:t>
            </a:r>
            <a:endParaRPr lang="en-US" sz="1400" i="1" dirty="0" smtClean="0">
              <a:solidFill>
                <a:prstClr val="black"/>
              </a:solidFill>
              <a:latin typeface="Calibri"/>
            </a:endParaRPr>
          </a:p>
          <a:p>
            <a:pPr algn="r"/>
            <a:r>
              <a:rPr lang="en-US" sz="1400" dirty="0" smtClean="0">
                <a:solidFill>
                  <a:prstClr val="black"/>
                </a:solidFill>
                <a:latin typeface="Calibri"/>
              </a:rPr>
              <a:t>Memory </a:t>
            </a:r>
            <a:r>
              <a:rPr lang="en-US" sz="1400" dirty="0" smtClean="0">
                <a:solidFill>
                  <a:srgbClr val="000000"/>
                </a:solidFill>
                <a:latin typeface="Calibri"/>
              </a:rPr>
              <a:t>Sachikonye, Polly Clayden -  </a:t>
            </a:r>
            <a:r>
              <a:rPr lang="en-US" sz="1400" i="1" dirty="0" err="1" smtClean="0">
                <a:solidFill>
                  <a:srgbClr val="000000"/>
                </a:solidFill>
                <a:latin typeface="Calibri"/>
              </a:rPr>
              <a:t>iBase</a:t>
            </a:r>
            <a:endParaRPr lang="en-US" sz="1400" i="1" dirty="0" smtClean="0">
              <a:solidFill>
                <a:srgbClr val="000000"/>
              </a:solidFill>
              <a:latin typeface="Calibri"/>
            </a:endParaRPr>
          </a:p>
          <a:p>
            <a:pPr algn="r"/>
            <a:r>
              <a:rPr lang="en-US" sz="1400" dirty="0" smtClean="0">
                <a:solidFill>
                  <a:srgbClr val="000000"/>
                </a:solidFill>
                <a:latin typeface="Calibri"/>
              </a:rPr>
              <a:t>Danielle  Ferris- </a:t>
            </a:r>
            <a:r>
              <a:rPr lang="en-US" sz="1400" i="1" dirty="0" smtClean="0">
                <a:solidFill>
                  <a:srgbClr val="000000"/>
                </a:solidFill>
                <a:latin typeface="Calibri"/>
              </a:rPr>
              <a:t>UNITAID</a:t>
            </a:r>
          </a:p>
          <a:p>
            <a:pPr algn="r"/>
            <a:r>
              <a:rPr lang="en-US" sz="1400" dirty="0" smtClean="0">
                <a:solidFill>
                  <a:srgbClr val="000000"/>
                </a:solidFill>
                <a:latin typeface="Calibri"/>
              </a:rPr>
              <a:t>Carolyn Amole, Herb Harwell, Caroline Middlecote, Benvy Caldwell – </a:t>
            </a:r>
            <a:r>
              <a:rPr lang="en-US" sz="1400" i="1" dirty="0" smtClean="0">
                <a:solidFill>
                  <a:srgbClr val="000000"/>
                </a:solidFill>
                <a:latin typeface="Calibri"/>
              </a:rPr>
              <a:t>CHAI</a:t>
            </a:r>
          </a:p>
          <a:p>
            <a:pPr algn="r"/>
            <a:r>
              <a:rPr lang="en-US" sz="1400" dirty="0" smtClean="0">
                <a:solidFill>
                  <a:prstClr val="black"/>
                </a:solidFill>
                <a:latin typeface="Calibri"/>
              </a:rPr>
              <a:t> </a:t>
            </a:r>
            <a:endParaRPr lang="en-US" sz="1400" dirty="0">
              <a:solidFill>
                <a:prstClr val="black"/>
              </a:solidFill>
              <a:latin typeface="Calibri"/>
            </a:endParaRPr>
          </a:p>
        </p:txBody>
      </p:sp>
    </p:spTree>
    <p:extLst>
      <p:ext uri="{BB962C8B-B14F-4D97-AF65-F5344CB8AC3E}">
        <p14:creationId xmlns:p14="http://schemas.microsoft.com/office/powerpoint/2010/main" val="33876001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1026162"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5" name="Slide Number Placeholder 3"/>
          <p:cNvSpPr>
            <a:spLocks noGrp="1"/>
          </p:cNvSpPr>
          <p:nvPr>
            <p:ph type="sldNum" sz="quarter" idx="11"/>
            <p:custDataLst>
              <p:tags r:id="rId3"/>
            </p:custDataLst>
          </p:nvPr>
        </p:nvSpPr>
        <p:spPr>
          <a:noFill/>
        </p:spPr>
        <p:txBody>
          <a:bodyPr/>
          <a:lstStyle/>
          <a:p>
            <a:fld id="{492152D1-46F3-4138-844B-62DA901DB5FF}" type="slidenum">
              <a:rPr lang="en-US" sz="1200" smtClean="0">
                <a:solidFill>
                  <a:srgbClr val="000000"/>
                </a:solidFill>
              </a:rPr>
              <a:pPr/>
              <a:t>8</a:t>
            </a:fld>
            <a:endParaRPr lang="en-US" sz="1200" dirty="0">
              <a:solidFill>
                <a:srgbClr val="000000"/>
              </a:solidFill>
            </a:endParaRPr>
          </a:p>
        </p:txBody>
      </p:sp>
      <p:sp>
        <p:nvSpPr>
          <p:cNvPr id="31746" name="Rectangle 2"/>
          <p:cNvSpPr>
            <a:spLocks noGrp="1" noChangeArrowheads="1"/>
          </p:cNvSpPr>
          <p:nvPr>
            <p:ph type="title"/>
            <p:custDataLst>
              <p:tags r:id="rId4"/>
            </p:custDataLst>
          </p:nvPr>
        </p:nvSpPr>
        <p:spPr bwMode="gray">
          <a:xfrm>
            <a:off x="0" y="0"/>
            <a:ext cx="9144000" cy="914400"/>
          </a:xfrm>
          <a:solidFill>
            <a:srgbClr val="003366"/>
          </a:solidFill>
        </p:spPr>
        <p:txBody>
          <a:bodyPr/>
          <a:lstStyle/>
          <a:p>
            <a:pPr marL="171450" algn="l"/>
            <a:r>
              <a:rPr lang="en-US" sz="2400" dirty="0">
                <a:solidFill>
                  <a:schemeClr val="bg1"/>
                </a:solidFill>
                <a:latin typeface="Calibri" panose="020F0502020204030204" pitchFamily="34" charset="0"/>
              </a:rPr>
              <a:t>Agenda Overview: Tuesday, April 11</a:t>
            </a:r>
          </a:p>
        </p:txBody>
      </p:sp>
      <p:graphicFrame>
        <p:nvGraphicFramePr>
          <p:cNvPr id="6" name="Table 5"/>
          <p:cNvGraphicFramePr>
            <a:graphicFrameLocks noGrp="1"/>
          </p:cNvGraphicFramePr>
          <p:nvPr>
            <p:extLst>
              <p:ext uri="{D42A27DB-BD31-4B8C-83A1-F6EECF244321}">
                <p14:modId xmlns:p14="http://schemas.microsoft.com/office/powerpoint/2010/main" val="2382339589"/>
              </p:ext>
            </p:extLst>
          </p:nvPr>
        </p:nvGraphicFramePr>
        <p:xfrm>
          <a:off x="914400" y="990600"/>
          <a:ext cx="7315200" cy="5748226"/>
        </p:xfrm>
        <a:graphic>
          <a:graphicData uri="http://schemas.openxmlformats.org/drawingml/2006/table">
            <a:tbl>
              <a:tblPr firstRow="1" firstCol="1" bandRow="1">
                <a:tableStyleId>{5DA37D80-6434-44D0-A028-1B22A696006F}</a:tableStyleId>
              </a:tblPr>
              <a:tblGrid>
                <a:gridCol w="1709151">
                  <a:extLst>
                    <a:ext uri="{9D8B030D-6E8A-4147-A177-3AD203B41FA5}">
                      <a16:colId xmlns:a16="http://schemas.microsoft.com/office/drawing/2014/main" xmlns="" val="20000"/>
                    </a:ext>
                  </a:extLst>
                </a:gridCol>
                <a:gridCol w="3741963">
                  <a:extLst>
                    <a:ext uri="{9D8B030D-6E8A-4147-A177-3AD203B41FA5}">
                      <a16:colId xmlns:a16="http://schemas.microsoft.com/office/drawing/2014/main" xmlns="" val="20001"/>
                    </a:ext>
                  </a:extLst>
                </a:gridCol>
                <a:gridCol w="1864086">
                  <a:extLst>
                    <a:ext uri="{9D8B030D-6E8A-4147-A177-3AD203B41FA5}">
                      <a16:colId xmlns:a16="http://schemas.microsoft.com/office/drawing/2014/main" xmlns="" val="20002"/>
                    </a:ext>
                  </a:extLst>
                </a:gridCol>
              </a:tblGrid>
              <a:tr h="185263">
                <a:tc>
                  <a:txBody>
                    <a:bodyPr/>
                    <a:lstStyle/>
                    <a:p>
                      <a:r>
                        <a:rPr lang="en-US" sz="1400" dirty="0">
                          <a:effectLst/>
                          <a:latin typeface="Calibri" panose="020F0502020204030204" pitchFamily="34" charset="0"/>
                        </a:rPr>
                        <a:t>Time</a:t>
                      </a:r>
                    </a:p>
                  </a:txBody>
                  <a:tcPr marL="64743" marR="64743" marT="0" marB="0"/>
                </a:tc>
                <a:tc>
                  <a:txBody>
                    <a:bodyPr/>
                    <a:lstStyle/>
                    <a:p>
                      <a:r>
                        <a:rPr lang="en-US" sz="1400" dirty="0">
                          <a:effectLst/>
                          <a:latin typeface="Calibri" panose="020F0502020204030204" pitchFamily="34" charset="0"/>
                        </a:rPr>
                        <a:t>Topic</a:t>
                      </a:r>
                    </a:p>
                  </a:txBody>
                  <a:tcPr marL="64743" marR="64743" marT="0" marB="0"/>
                </a:tc>
                <a:tc>
                  <a:txBody>
                    <a:bodyPr/>
                    <a:lstStyle/>
                    <a:p>
                      <a:r>
                        <a:rPr lang="en-US" sz="1400">
                          <a:effectLst/>
                          <a:latin typeface="Calibri" panose="020F0502020204030204" pitchFamily="34" charset="0"/>
                        </a:rPr>
                        <a:t>Presenter</a:t>
                      </a:r>
                    </a:p>
                  </a:txBody>
                  <a:tcPr marL="64743" marR="64743" marT="0" marB="0"/>
                </a:tc>
                <a:extLst>
                  <a:ext uri="{0D108BD9-81ED-4DB2-BD59-A6C34878D82A}">
                    <a16:rowId xmlns:a16="http://schemas.microsoft.com/office/drawing/2014/main" xmlns="" val="10000"/>
                  </a:ext>
                </a:extLst>
              </a:tr>
              <a:tr h="222316">
                <a:tc>
                  <a:txBody>
                    <a:bodyPr/>
                    <a:lstStyle/>
                    <a:p>
                      <a:r>
                        <a:rPr lang="en-US" sz="1400" dirty="0">
                          <a:effectLst/>
                          <a:latin typeface="Calibri" panose="020F0502020204030204" pitchFamily="34" charset="0"/>
                        </a:rPr>
                        <a:t>9:00</a:t>
                      </a:r>
                      <a:r>
                        <a:rPr lang="en-US" sz="1400" baseline="0" dirty="0">
                          <a:effectLst/>
                          <a:latin typeface="Calibri" panose="020F0502020204030204" pitchFamily="34" charset="0"/>
                        </a:rPr>
                        <a:t> – 9:45</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Welcome and CAB Overview</a:t>
                      </a:r>
                    </a:p>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tc>
                  <a:txBody>
                    <a:bodyPr/>
                    <a:lstStyle/>
                    <a:p>
                      <a:r>
                        <a:rPr lang="en-US" sz="1400" dirty="0">
                          <a:effectLst/>
                          <a:latin typeface="Calibri" panose="020F0502020204030204" pitchFamily="34" charset="0"/>
                        </a:rPr>
                        <a:t>Kenly </a:t>
                      </a:r>
                      <a:r>
                        <a:rPr lang="en-US" sz="1400" dirty="0" err="1">
                          <a:effectLst/>
                          <a:latin typeface="Calibri" panose="020F0502020204030204" pitchFamily="34" charset="0"/>
                        </a:rPr>
                        <a:t>Sikwese</a:t>
                      </a:r>
                      <a:r>
                        <a:rPr lang="en-US" sz="1400" dirty="0">
                          <a:effectLst/>
                          <a:latin typeface="Calibri" panose="020F0502020204030204" pitchFamily="34" charset="0"/>
                        </a:rPr>
                        <a:t> (</a:t>
                      </a:r>
                      <a:r>
                        <a:rPr lang="en-US" sz="1400" dirty="0" err="1">
                          <a:effectLst/>
                          <a:latin typeface="Calibri" panose="020F0502020204030204" pitchFamily="34" charset="0"/>
                        </a:rPr>
                        <a:t>AfroCAB</a:t>
                      </a:r>
                      <a:r>
                        <a:rPr lang="en-US" sz="1400" dirty="0">
                          <a:effectLst/>
                          <a:latin typeface="Calibri" panose="020F0502020204030204" pitchFamily="34" charset="0"/>
                        </a:rPr>
                        <a:t>)</a:t>
                      </a:r>
                    </a:p>
                  </a:txBody>
                  <a:tcPr marL="64743" marR="64743" marT="0" marB="0"/>
                </a:tc>
                <a:extLst>
                  <a:ext uri="{0D108BD9-81ED-4DB2-BD59-A6C34878D82A}">
                    <a16:rowId xmlns:a16="http://schemas.microsoft.com/office/drawing/2014/main" xmlns="" val="10001"/>
                  </a:ext>
                </a:extLst>
              </a:tr>
              <a:tr h="1040081">
                <a:tc>
                  <a:txBody>
                    <a:bodyPr/>
                    <a:lstStyle/>
                    <a:p>
                      <a:r>
                        <a:rPr lang="en-US" sz="1400" dirty="0">
                          <a:effectLst/>
                          <a:latin typeface="Calibri" panose="020F0502020204030204" pitchFamily="34" charset="0"/>
                        </a:rPr>
                        <a:t>9:45 – 10:45</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rPr>
                        <a:t>Introduction and Setting the Scene: Country Context</a:t>
                      </a:r>
                    </a:p>
                  </a:txBody>
                  <a:tcPr marL="64743" marR="64743" marT="0" marB="0"/>
                </a:tc>
                <a:tc>
                  <a:txBody>
                    <a:bodyPr/>
                    <a:lstStyle/>
                    <a:p>
                      <a:r>
                        <a:rPr lang="en-US" sz="1400" dirty="0">
                          <a:effectLst/>
                          <a:latin typeface="Calibri" panose="020F0502020204030204" pitchFamily="34" charset="0"/>
                        </a:rPr>
                        <a:t>CAB</a:t>
                      </a:r>
                      <a:r>
                        <a:rPr lang="en-US" sz="1400" baseline="0" dirty="0">
                          <a:effectLst/>
                          <a:latin typeface="Calibri" panose="020F0502020204030204" pitchFamily="34" charset="0"/>
                        </a:rPr>
                        <a:t> Country Members</a:t>
                      </a:r>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2"/>
                  </a:ext>
                </a:extLst>
              </a:tr>
              <a:tr h="444632">
                <a:tc>
                  <a:txBody>
                    <a:bodyPr/>
                    <a:lstStyle/>
                    <a:p>
                      <a:r>
                        <a:rPr lang="en-US" sz="1400" dirty="0">
                          <a:effectLst/>
                          <a:latin typeface="Calibri" panose="020F0502020204030204" pitchFamily="34" charset="0"/>
                        </a:rPr>
                        <a:t>10:45 – 11.1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reak</a:t>
                      </a:r>
                    </a:p>
                  </a:txBody>
                  <a:tcPr marL="64743" marR="64743" marT="0" marB="0"/>
                </a:tc>
                <a:tc>
                  <a:txBody>
                    <a:bodyPr/>
                    <a:lstStyle/>
                    <a:p>
                      <a:pPr marL="0" marR="0">
                        <a:spcBef>
                          <a:spcPts val="0"/>
                        </a:spcBef>
                        <a:spcAft>
                          <a:spcPts val="0"/>
                        </a:spcAft>
                      </a:pPr>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3"/>
                  </a:ext>
                </a:extLst>
              </a:tr>
              <a:tr h="666948">
                <a:tc>
                  <a:txBody>
                    <a:bodyPr/>
                    <a:lstStyle/>
                    <a:p>
                      <a:r>
                        <a:rPr lang="en-US" sz="1400" b="1" dirty="0">
                          <a:effectLst/>
                          <a:latin typeface="Calibri" panose="020F0502020204030204" pitchFamily="34" charset="0"/>
                        </a:rPr>
                        <a:t>11:10 – 11:30</a:t>
                      </a:r>
                    </a:p>
                  </a:txBody>
                  <a:tcPr marL="64743" marR="64743" marT="0" marB="0">
                    <a:solidFill>
                      <a:schemeClr val="accent1">
                        <a:lumMod val="75000"/>
                      </a:schemeClr>
                    </a:solidFill>
                  </a:tcPr>
                </a:tc>
                <a:tc>
                  <a:txBody>
                    <a:bodyPr/>
                    <a:lstStyle/>
                    <a:p>
                      <a:pPr marL="0" marR="0">
                        <a:spcBef>
                          <a:spcPts val="0"/>
                        </a:spcBef>
                        <a:spcAft>
                          <a:spcPts val="0"/>
                        </a:spcAft>
                      </a:pPr>
                      <a:r>
                        <a:rPr lang="en-US" sz="1400" b="1" dirty="0">
                          <a:effectLst/>
                          <a:latin typeface="Calibri" panose="020F0502020204030204" pitchFamily="34" charset="0"/>
                          <a:ea typeface="Times New Roman"/>
                          <a:cs typeface="Times New Roman"/>
                        </a:rPr>
                        <a:t>Background on the Optimal ARV grant and goals of the CAB</a:t>
                      </a:r>
                    </a:p>
                  </a:txBody>
                  <a:tcPr marL="64743" marR="64743" marT="0" marB="0">
                    <a:solidFill>
                      <a:schemeClr val="accent1">
                        <a:lumMod val="75000"/>
                      </a:schemeClr>
                    </a:solidFill>
                  </a:tcPr>
                </a:tc>
                <a:tc>
                  <a:txBody>
                    <a:bodyPr/>
                    <a:lstStyle/>
                    <a:p>
                      <a:pPr marL="0" marR="0">
                        <a:spcBef>
                          <a:spcPts val="0"/>
                        </a:spcBef>
                        <a:spcAft>
                          <a:spcPts val="0"/>
                        </a:spcAft>
                      </a:pPr>
                      <a:r>
                        <a:rPr lang="en-US" sz="1400" b="1" dirty="0">
                          <a:effectLst/>
                          <a:latin typeface="Calibri" panose="020F0502020204030204" pitchFamily="34" charset="0"/>
                          <a:ea typeface="Times New Roman"/>
                          <a:cs typeface="Times New Roman"/>
                        </a:rPr>
                        <a:t>Carolyn Amole and Caroline Middlecote (CHAI)</a:t>
                      </a:r>
                    </a:p>
                  </a:txBody>
                  <a:tcPr marL="64743" marR="64743" marT="0" marB="0">
                    <a:solidFill>
                      <a:schemeClr val="accent1">
                        <a:lumMod val="75000"/>
                      </a:schemeClr>
                    </a:solidFill>
                  </a:tcPr>
                </a:tc>
                <a:extLst>
                  <a:ext uri="{0D108BD9-81ED-4DB2-BD59-A6C34878D82A}">
                    <a16:rowId xmlns:a16="http://schemas.microsoft.com/office/drawing/2014/main" xmlns="" val="10004"/>
                  </a:ext>
                </a:extLst>
              </a:tr>
              <a:tr h="370526">
                <a:tc>
                  <a:txBody>
                    <a:bodyPr/>
                    <a:lstStyle/>
                    <a:p>
                      <a:r>
                        <a:rPr lang="en-US" sz="1400" dirty="0">
                          <a:effectLst/>
                          <a:latin typeface="Calibri" panose="020F0502020204030204" pitchFamily="34" charset="0"/>
                        </a:rPr>
                        <a:t>11:30 – 13:00</a:t>
                      </a: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Background on Optimal ARV products</a:t>
                      </a:r>
                    </a:p>
                    <a:p>
                      <a:pPr marL="285750" marR="0" indent="-285750">
                        <a:spcBef>
                          <a:spcPts val="0"/>
                        </a:spcBef>
                        <a:spcAft>
                          <a:spcPts val="0"/>
                        </a:spcAft>
                        <a:buFontTx/>
                        <a:buChar char="-"/>
                      </a:pPr>
                      <a:r>
                        <a:rPr lang="en-US" sz="1400" i="1" dirty="0">
                          <a:effectLst/>
                          <a:latin typeface="Calibri" panose="020F0502020204030204" pitchFamily="34" charset="0"/>
                          <a:ea typeface="Times New Roman"/>
                          <a:cs typeface="Times New Roman"/>
                        </a:rPr>
                        <a:t>Product overviews and discussion</a:t>
                      </a:r>
                    </a:p>
                    <a:p>
                      <a:pPr marL="285750" marR="0" indent="-285750">
                        <a:spcBef>
                          <a:spcPts val="0"/>
                        </a:spcBef>
                        <a:spcAft>
                          <a:spcPts val="0"/>
                        </a:spcAft>
                        <a:buFontTx/>
                        <a:buChar char="-"/>
                      </a:pPr>
                      <a:r>
                        <a:rPr lang="en-US" sz="1400" i="1" dirty="0">
                          <a:effectLst/>
                          <a:latin typeface="Calibri" panose="020F0502020204030204" pitchFamily="34" charset="0"/>
                          <a:ea typeface="Times New Roman"/>
                          <a:cs typeface="Times New Roman"/>
                        </a:rPr>
                        <a:t>Discussion on community engagement</a:t>
                      </a:r>
                      <a:r>
                        <a:rPr lang="en-US" sz="1400" i="1" baseline="0" dirty="0">
                          <a:effectLst/>
                          <a:latin typeface="Calibri" panose="020F0502020204030204" pitchFamily="34" charset="0"/>
                          <a:ea typeface="Times New Roman"/>
                          <a:cs typeface="Times New Roman"/>
                        </a:rPr>
                        <a:t> with </a:t>
                      </a:r>
                      <a:r>
                        <a:rPr lang="en-US" sz="1400" i="1" baseline="0" dirty="0" err="1">
                          <a:effectLst/>
                          <a:latin typeface="Calibri" panose="020F0502020204030204" pitchFamily="34" charset="0"/>
                          <a:ea typeface="Times New Roman"/>
                          <a:cs typeface="Times New Roman"/>
                        </a:rPr>
                        <a:t>clinicans</a:t>
                      </a:r>
                      <a:r>
                        <a:rPr lang="en-US" sz="1400" i="1" baseline="0" dirty="0">
                          <a:effectLst/>
                          <a:latin typeface="Calibri" panose="020F0502020204030204" pitchFamily="34" charset="0"/>
                          <a:ea typeface="Times New Roman"/>
                          <a:cs typeface="Times New Roman"/>
                        </a:rPr>
                        <a:t> and opportunity for joint advocacy</a:t>
                      </a:r>
                    </a:p>
                    <a:p>
                      <a:pPr marL="285750" marR="0" indent="-285750">
                        <a:spcBef>
                          <a:spcPts val="0"/>
                        </a:spcBef>
                        <a:spcAft>
                          <a:spcPts val="0"/>
                        </a:spcAft>
                        <a:buFontTx/>
                        <a:buChar char="-"/>
                      </a:pPr>
                      <a:r>
                        <a:rPr lang="en-US" sz="1400" i="1" baseline="0" dirty="0">
                          <a:effectLst/>
                          <a:latin typeface="Calibri" panose="020F0502020204030204" pitchFamily="34" charset="0"/>
                          <a:ea typeface="Times New Roman"/>
                          <a:cs typeface="Times New Roman"/>
                        </a:rPr>
                        <a:t>Review of clinical trials</a:t>
                      </a:r>
                      <a:endParaRPr lang="en-US" sz="1400" i="1"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Herb</a:t>
                      </a:r>
                      <a:r>
                        <a:rPr lang="en-US" sz="1400" baseline="0" dirty="0">
                          <a:effectLst/>
                          <a:latin typeface="Calibri" panose="020F0502020204030204" pitchFamily="34" charset="0"/>
                          <a:ea typeface="Times New Roman"/>
                          <a:cs typeface="Times New Roman"/>
                        </a:rPr>
                        <a:t> (CHAI), Kenly (</a:t>
                      </a:r>
                      <a:r>
                        <a:rPr lang="en-US" sz="1400" baseline="0" dirty="0" err="1">
                          <a:effectLst/>
                          <a:latin typeface="Calibri" panose="020F0502020204030204" pitchFamily="34" charset="0"/>
                          <a:ea typeface="Times New Roman"/>
                          <a:cs typeface="Times New Roman"/>
                        </a:rPr>
                        <a:t>AfroCAB</a:t>
                      </a:r>
                      <a:r>
                        <a:rPr lang="en-US" sz="1400" baseline="0" dirty="0">
                          <a:effectLst/>
                          <a:latin typeface="Calibri" panose="020F0502020204030204" pitchFamily="34" charset="0"/>
                          <a:ea typeface="Times New Roman"/>
                          <a:cs typeface="Times New Roman"/>
                        </a:rPr>
                        <a:t>), Polly (</a:t>
                      </a:r>
                      <a:r>
                        <a:rPr lang="en-US" sz="1400" baseline="0" dirty="0" err="1">
                          <a:effectLst/>
                          <a:latin typeface="Calibri" panose="020F0502020204030204" pitchFamily="34" charset="0"/>
                          <a:ea typeface="Times New Roman"/>
                          <a:cs typeface="Times New Roman"/>
                        </a:rPr>
                        <a:t>i</a:t>
                      </a:r>
                      <a:r>
                        <a:rPr lang="en-US" sz="1400" baseline="0" dirty="0">
                          <a:effectLst/>
                          <a:latin typeface="Calibri" panose="020F0502020204030204" pitchFamily="34" charset="0"/>
                          <a:ea typeface="Times New Roman"/>
                          <a:cs typeface="Times New Roman"/>
                        </a:rPr>
                        <a:t>-Base)</a:t>
                      </a: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5"/>
                  </a:ext>
                </a:extLst>
              </a:tr>
              <a:tr h="555789">
                <a:tc>
                  <a:txBody>
                    <a:bodyPr/>
                    <a:lstStyle/>
                    <a:p>
                      <a:r>
                        <a:rPr lang="en-US" sz="1400" dirty="0">
                          <a:effectLst/>
                          <a:latin typeface="Calibri" panose="020F0502020204030204" pitchFamily="34" charset="0"/>
                        </a:rPr>
                        <a:t>13:00 – 14:00</a:t>
                      </a:r>
                    </a:p>
                  </a:txBody>
                  <a:tcPr marL="64743" marR="64743" marT="0" marB="0"/>
                </a:tc>
                <a:tc>
                  <a:txBody>
                    <a:bodyPr/>
                    <a:lstStyle/>
                    <a:p>
                      <a:r>
                        <a:rPr lang="en-US" sz="1400" dirty="0">
                          <a:effectLst/>
                          <a:latin typeface="Calibri" panose="020F0502020204030204" pitchFamily="34" charset="0"/>
                        </a:rPr>
                        <a:t>Lunch </a:t>
                      </a:r>
                    </a:p>
                  </a:txBody>
                  <a:tcPr marL="64743" marR="64743" marT="0" marB="0"/>
                </a:tc>
                <a:tc>
                  <a:txBody>
                    <a:bodyPr/>
                    <a:lstStyle/>
                    <a:p>
                      <a:endParaRPr lang="en-US" sz="1400" dirty="0">
                        <a:effectLst/>
                        <a:latin typeface="Calibri" panose="020F0502020204030204" pitchFamily="34" charset="0"/>
                      </a:endParaRPr>
                    </a:p>
                  </a:txBody>
                  <a:tcPr marL="64743" marR="64743" marT="0" marB="0"/>
                </a:tc>
                <a:extLst>
                  <a:ext uri="{0D108BD9-81ED-4DB2-BD59-A6C34878D82A}">
                    <a16:rowId xmlns:a16="http://schemas.microsoft.com/office/drawing/2014/main" xmlns="" val="10006"/>
                  </a:ext>
                </a:extLst>
              </a:tr>
              <a:tr h="666948">
                <a:tc>
                  <a:txBody>
                    <a:bodyPr/>
                    <a:lstStyle/>
                    <a:p>
                      <a:r>
                        <a:rPr lang="en-US" sz="1400" dirty="0">
                          <a:effectLst/>
                          <a:latin typeface="Calibri" panose="020F0502020204030204" pitchFamily="34" charset="0"/>
                        </a:rPr>
                        <a:t>14:00</a:t>
                      </a:r>
                      <a:r>
                        <a:rPr lang="en-US" sz="1400" baseline="0" dirty="0">
                          <a:effectLst/>
                          <a:latin typeface="Calibri" panose="020F0502020204030204" pitchFamily="34" charset="0"/>
                        </a:rPr>
                        <a:t> – 15:30</a:t>
                      </a:r>
                      <a:endParaRPr lang="en-US" sz="1400" dirty="0">
                        <a:effectLst/>
                        <a:latin typeface="Calibri" panose="020F0502020204030204" pitchFamily="34" charset="0"/>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Role playing! Engaging with community </a:t>
                      </a:r>
                      <a:r>
                        <a:rPr lang="en-US" sz="1400" dirty="0" err="1">
                          <a:effectLst/>
                          <a:latin typeface="Calibri" panose="020F0502020204030204" pitchFamily="34" charset="0"/>
                          <a:ea typeface="Times New Roman"/>
                          <a:cs typeface="Times New Roman"/>
                        </a:rPr>
                        <a:t>MoH</a:t>
                      </a:r>
                      <a:r>
                        <a:rPr lang="en-US" sz="1400" dirty="0">
                          <a:effectLst/>
                          <a:latin typeface="Calibri" panose="020F0502020204030204" pitchFamily="34" charset="0"/>
                          <a:ea typeface="Times New Roman"/>
                          <a:cs typeface="Times New Roman"/>
                        </a:rPr>
                        <a:t> and partners</a:t>
                      </a:r>
                      <a:r>
                        <a:rPr lang="en-US" sz="1400" baseline="0" dirty="0">
                          <a:effectLst/>
                          <a:latin typeface="Calibri" panose="020F0502020204030204" pitchFamily="34" charset="0"/>
                          <a:ea typeface="Times New Roman"/>
                          <a:cs typeface="Times New Roman"/>
                        </a:rPr>
                        <a:t> on new product introduction</a:t>
                      </a:r>
                      <a:endParaRPr lang="en-US" sz="1400"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r>
                        <a:rPr lang="en-US" sz="1400" dirty="0">
                          <a:effectLst/>
                          <a:latin typeface="Calibri" panose="020F0502020204030204" pitchFamily="34" charset="0"/>
                          <a:ea typeface="Times New Roman"/>
                          <a:cs typeface="Times New Roman"/>
                        </a:rPr>
                        <a:t>Luckyboy (TAC)</a:t>
                      </a:r>
                      <a:r>
                        <a:rPr lang="en-US" sz="1400" baseline="0" dirty="0">
                          <a:effectLst/>
                          <a:latin typeface="Calibri" panose="020F0502020204030204" pitchFamily="34" charset="0"/>
                          <a:ea typeface="Times New Roman"/>
                          <a:cs typeface="Times New Roman"/>
                        </a:rPr>
                        <a:t> and Polly (</a:t>
                      </a:r>
                      <a:r>
                        <a:rPr lang="en-US" sz="1400" baseline="0" dirty="0" err="1">
                          <a:effectLst/>
                          <a:latin typeface="Calibri" panose="020F0502020204030204" pitchFamily="34" charset="0"/>
                          <a:ea typeface="Times New Roman"/>
                          <a:cs typeface="Times New Roman"/>
                        </a:rPr>
                        <a:t>i</a:t>
                      </a:r>
                      <a:r>
                        <a:rPr lang="en-US" sz="1400" baseline="0" dirty="0">
                          <a:effectLst/>
                          <a:latin typeface="Calibri" panose="020F0502020204030204" pitchFamily="34" charset="0"/>
                          <a:ea typeface="Times New Roman"/>
                          <a:cs typeface="Times New Roman"/>
                        </a:rPr>
                        <a:t>-Base)</a:t>
                      </a: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7"/>
                  </a:ext>
                </a:extLst>
              </a:tr>
              <a:tr h="666948">
                <a:tc>
                  <a:txBody>
                    <a:bodyPr/>
                    <a:lstStyle/>
                    <a:p>
                      <a:endParaRPr lang="en-US" sz="1400" dirty="0">
                        <a:effectLst/>
                        <a:latin typeface="Calibri" panose="020F0502020204030204" pitchFamily="34" charset="0"/>
                      </a:endParaRPr>
                    </a:p>
                  </a:txBody>
                  <a:tcPr marL="64743" marR="64743"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smtClean="0">
                          <a:effectLst/>
                          <a:latin typeface="Calibri" panose="020F0502020204030204" pitchFamily="34" charset="0"/>
                        </a:rPr>
                        <a:t>End of meeting  -  time for side meetings</a:t>
                      </a:r>
                      <a:endParaRPr lang="en-US" sz="1400" b="0" i="1" dirty="0" smtClean="0">
                        <a:effectLst/>
                        <a:latin typeface="Calibri" panose="020F0502020204030204" pitchFamily="34" charset="0"/>
                      </a:endParaRPr>
                    </a:p>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tc>
                  <a:txBody>
                    <a:bodyPr/>
                    <a:lstStyle/>
                    <a:p>
                      <a:pPr marL="0" marR="0">
                        <a:spcBef>
                          <a:spcPts val="0"/>
                        </a:spcBef>
                        <a:spcAft>
                          <a:spcPts val="0"/>
                        </a:spcAft>
                      </a:pPr>
                      <a:endParaRPr lang="en-US" sz="1400" dirty="0">
                        <a:effectLst/>
                        <a:latin typeface="Calibri" panose="020F0502020204030204" pitchFamily="34" charset="0"/>
                        <a:ea typeface="Times New Roman"/>
                        <a:cs typeface="Times New Roman"/>
                      </a:endParaRPr>
                    </a:p>
                  </a:txBody>
                  <a:tcPr marL="64743" marR="64743" marT="0" marB="0"/>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6747524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gray">
          <a:xfrm>
            <a:off x="0" y="0"/>
            <a:ext cx="9144000" cy="914400"/>
          </a:xfrm>
          <a:prstGeom prst="rect">
            <a:avLst/>
          </a:prstGeom>
          <a:solidFill>
            <a:srgbClr val="003366"/>
          </a:solidFill>
          <a:ln>
            <a:miter lim="800000"/>
            <a:headEnd/>
            <a:tailEnd/>
          </a:ln>
        </p:spPr>
        <p:txBody>
          <a:bodyPr wrap="square" lIns="91440" tIns="45720" rIns="91440" bIns="45720" numCol="1" anchor="ctr" anchorCtr="0" compatLnSpc="1">
            <a:prstTxWarp prst="textNoShape">
              <a:avLst/>
            </a:prstTxWarp>
            <a:normAutofit/>
          </a:bodyPr>
          <a:lstStyle>
            <a:lvl1pPr marL="231775" indent="-231775" algn="ctr" rtl="0" eaLnBrk="0" fontAlgn="base" hangingPunct="0">
              <a:spcBef>
                <a:spcPct val="0"/>
              </a:spcBef>
              <a:spcAft>
                <a:spcPct val="0"/>
              </a:spcAft>
              <a:defRPr sz="4400">
                <a:solidFill>
                  <a:schemeClr val="tx2"/>
                </a:solidFill>
                <a:latin typeface="+mj-lt"/>
                <a:ea typeface="MS PGothic" charset="0"/>
                <a:cs typeface="MS PGothic" charset="0"/>
              </a:defRPr>
            </a:lvl1pPr>
            <a:lvl2pPr marL="231775" indent="-231775" algn="ctr" rtl="0" eaLnBrk="0" fontAlgn="base" hangingPunct="0">
              <a:spcBef>
                <a:spcPct val="0"/>
              </a:spcBef>
              <a:spcAft>
                <a:spcPct val="0"/>
              </a:spcAft>
              <a:defRPr sz="4400">
                <a:solidFill>
                  <a:schemeClr val="tx2"/>
                </a:solidFill>
                <a:latin typeface="Arial" pitchFamily="-107" charset="0"/>
                <a:ea typeface="MS PGothic" charset="0"/>
                <a:cs typeface="MS PGothic" charset="0"/>
              </a:defRPr>
            </a:lvl2pPr>
            <a:lvl3pPr marL="231775" indent="-231775" algn="ctr" rtl="0" eaLnBrk="0" fontAlgn="base" hangingPunct="0">
              <a:spcBef>
                <a:spcPct val="0"/>
              </a:spcBef>
              <a:spcAft>
                <a:spcPct val="0"/>
              </a:spcAft>
              <a:defRPr sz="4400">
                <a:solidFill>
                  <a:schemeClr val="tx2"/>
                </a:solidFill>
                <a:latin typeface="Arial" pitchFamily="-107" charset="0"/>
                <a:ea typeface="MS PGothic" charset="0"/>
                <a:cs typeface="MS PGothic" charset="0"/>
              </a:defRPr>
            </a:lvl3pPr>
            <a:lvl4pPr marL="231775" indent="-231775" algn="ctr" rtl="0" eaLnBrk="0" fontAlgn="base" hangingPunct="0">
              <a:spcBef>
                <a:spcPct val="0"/>
              </a:spcBef>
              <a:spcAft>
                <a:spcPct val="0"/>
              </a:spcAft>
              <a:defRPr sz="4400">
                <a:solidFill>
                  <a:schemeClr val="tx2"/>
                </a:solidFill>
                <a:latin typeface="Arial" pitchFamily="-107" charset="0"/>
                <a:ea typeface="MS PGothic" charset="0"/>
                <a:cs typeface="MS PGothic" charset="0"/>
              </a:defRPr>
            </a:lvl4pPr>
            <a:lvl5pPr marL="231775" indent="-231775" algn="ctr" rtl="0" eaLnBrk="0" fontAlgn="base" hangingPunct="0">
              <a:spcBef>
                <a:spcPct val="0"/>
              </a:spcBef>
              <a:spcAft>
                <a:spcPct val="0"/>
              </a:spcAft>
              <a:defRPr sz="4400">
                <a:solidFill>
                  <a:schemeClr val="tx2"/>
                </a:solidFill>
                <a:latin typeface="Arial" pitchFamily="-107" charset="0"/>
                <a:ea typeface="MS PGothic" charset="0"/>
                <a:cs typeface="MS PGothic" charset="0"/>
              </a:defRPr>
            </a:lvl5pPr>
            <a:lvl6pPr marL="688975" algn="ctr" rtl="0" fontAlgn="base">
              <a:spcBef>
                <a:spcPct val="0"/>
              </a:spcBef>
              <a:spcAft>
                <a:spcPct val="0"/>
              </a:spcAft>
              <a:defRPr sz="4400">
                <a:solidFill>
                  <a:schemeClr val="tx2"/>
                </a:solidFill>
                <a:latin typeface="Arial" pitchFamily="-107" charset="0"/>
              </a:defRPr>
            </a:lvl6pPr>
            <a:lvl7pPr marL="1146175" algn="ctr" rtl="0" fontAlgn="base">
              <a:spcBef>
                <a:spcPct val="0"/>
              </a:spcBef>
              <a:spcAft>
                <a:spcPct val="0"/>
              </a:spcAft>
              <a:defRPr sz="4400">
                <a:solidFill>
                  <a:schemeClr val="tx2"/>
                </a:solidFill>
                <a:latin typeface="Arial" pitchFamily="-107" charset="0"/>
              </a:defRPr>
            </a:lvl7pPr>
            <a:lvl8pPr marL="1603375" algn="ctr" rtl="0" fontAlgn="base">
              <a:spcBef>
                <a:spcPct val="0"/>
              </a:spcBef>
              <a:spcAft>
                <a:spcPct val="0"/>
              </a:spcAft>
              <a:defRPr sz="4400">
                <a:solidFill>
                  <a:schemeClr val="tx2"/>
                </a:solidFill>
                <a:latin typeface="Arial" pitchFamily="-107" charset="0"/>
              </a:defRPr>
            </a:lvl8pPr>
            <a:lvl9pPr marL="2060575" algn="ctr" rtl="0" fontAlgn="base">
              <a:spcBef>
                <a:spcPct val="0"/>
              </a:spcBef>
              <a:spcAft>
                <a:spcPct val="0"/>
              </a:spcAft>
              <a:defRPr sz="4400">
                <a:solidFill>
                  <a:schemeClr val="tx2"/>
                </a:solidFill>
                <a:latin typeface="Arial" pitchFamily="-107" charset="0"/>
              </a:defRPr>
            </a:lvl9pPr>
          </a:lstStyle>
          <a:p>
            <a:pPr indent="0" algn="just" eaLnBrk="1" hangingPunct="1"/>
            <a:r>
              <a:rPr lang="en-US" sz="3000" kern="0" dirty="0" smtClean="0">
                <a:solidFill>
                  <a:prstClr val="white"/>
                </a:solidFill>
                <a:ea typeface="ＭＳ Ｐゴシック" pitchFamily="-16" charset="-128"/>
              </a:rPr>
              <a:t>CHAI Background</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14398"/>
            <a:ext cx="9143999" cy="4267201"/>
          </a:xfrm>
          <a:prstGeom prst="rect">
            <a:avLst/>
          </a:prstGeom>
        </p:spPr>
      </p:pic>
      <p:sp>
        <p:nvSpPr>
          <p:cNvPr id="3" name="TextBox 2"/>
          <p:cNvSpPr txBox="1"/>
          <p:nvPr/>
        </p:nvSpPr>
        <p:spPr>
          <a:xfrm>
            <a:off x="380999" y="5115851"/>
            <a:ext cx="8382000" cy="1477328"/>
          </a:xfrm>
          <a:prstGeom prst="rect">
            <a:avLst/>
          </a:prstGeom>
          <a:noFill/>
        </p:spPr>
        <p:txBody>
          <a:bodyPr wrap="square" rtlCol="0">
            <a:spAutoFit/>
          </a:bodyPr>
          <a:lstStyle/>
          <a:p>
            <a:pPr marL="285750" indent="-285750" fontAlgn="auto">
              <a:spcBef>
                <a:spcPts val="0"/>
              </a:spcBef>
              <a:spcAft>
                <a:spcPts val="0"/>
              </a:spcAft>
              <a:buFont typeface="Arial" panose="020B0604020202020204" pitchFamily="34" charset="0"/>
              <a:buChar char="•"/>
            </a:pPr>
            <a:r>
              <a:rPr lang="en-US" sz="1800" dirty="0" smtClean="0">
                <a:solidFill>
                  <a:prstClr val="black"/>
                </a:solidFill>
                <a:latin typeface="Calibri" panose="020F0502020204030204" pitchFamily="34" charset="0"/>
              </a:rPr>
              <a:t>Founded in 2002 by President Clinton and Ira Magaziner to fight the AIDS pandemic</a:t>
            </a:r>
          </a:p>
          <a:p>
            <a:pPr marL="285750" indent="-285750" fontAlgn="auto">
              <a:spcBef>
                <a:spcPts val="0"/>
              </a:spcBef>
              <a:spcAft>
                <a:spcPts val="0"/>
              </a:spcAft>
              <a:buFont typeface="Arial" panose="020B0604020202020204" pitchFamily="34" charset="0"/>
              <a:buChar char="•"/>
            </a:pPr>
            <a:r>
              <a:rPr lang="en-US" sz="1800" dirty="0" smtClean="0">
                <a:solidFill>
                  <a:prstClr val="black"/>
                </a:solidFill>
                <a:latin typeface="Calibri" panose="020F0502020204030204" pitchFamily="34" charset="0"/>
              </a:rPr>
              <a:t>Global Operations based in Boston, Massachusetts </a:t>
            </a:r>
          </a:p>
          <a:p>
            <a:pPr marL="285750" indent="-285750" fontAlgn="auto">
              <a:spcBef>
                <a:spcPts val="0"/>
              </a:spcBef>
              <a:spcAft>
                <a:spcPts val="0"/>
              </a:spcAft>
              <a:buFont typeface="Arial" panose="020B0604020202020204" pitchFamily="34" charset="0"/>
              <a:buChar char="•"/>
            </a:pPr>
            <a:r>
              <a:rPr lang="en-US" sz="1800" dirty="0" smtClean="0">
                <a:solidFill>
                  <a:prstClr val="black"/>
                </a:solidFill>
                <a:latin typeface="Calibri" panose="020F0502020204030204" pitchFamily="34" charset="0"/>
              </a:rPr>
              <a:t>More than 1300 staff members worldwide (approximately 50% key local nationals)</a:t>
            </a:r>
          </a:p>
          <a:p>
            <a:pPr marL="285750" indent="-285750" fontAlgn="auto">
              <a:spcBef>
                <a:spcPts val="0"/>
              </a:spcBef>
              <a:spcAft>
                <a:spcPts val="0"/>
              </a:spcAft>
              <a:buFont typeface="Arial" panose="020B0604020202020204" pitchFamily="34" charset="0"/>
              <a:buChar char="•"/>
            </a:pPr>
            <a:r>
              <a:rPr lang="en-US" sz="1800" dirty="0" smtClean="0">
                <a:solidFill>
                  <a:prstClr val="black"/>
                </a:solidFill>
                <a:latin typeface="Calibri" panose="020F0502020204030204" pitchFamily="34" charset="0"/>
              </a:rPr>
              <a:t>33 program countries (</a:t>
            </a:r>
            <a:r>
              <a:rPr lang="en-US" sz="1800" i="1" dirty="0" smtClean="0">
                <a:solidFill>
                  <a:prstClr val="black"/>
                </a:solidFill>
                <a:latin typeface="Calibri" panose="020F0502020204030204" pitchFamily="34" charset="0"/>
              </a:rPr>
              <a:t>dark blue</a:t>
            </a:r>
            <a:r>
              <a:rPr lang="en-US" sz="1800" dirty="0" smtClean="0">
                <a:solidFill>
                  <a:prstClr val="black"/>
                </a:solidFill>
                <a:latin typeface="Calibri" panose="020F0502020204030204" pitchFamily="34" charset="0"/>
              </a:rPr>
              <a:t>)</a:t>
            </a:r>
          </a:p>
          <a:p>
            <a:pPr marL="285750" indent="-285750" fontAlgn="auto">
              <a:spcBef>
                <a:spcPts val="0"/>
              </a:spcBef>
              <a:spcAft>
                <a:spcPts val="0"/>
              </a:spcAft>
              <a:buFont typeface="Arial" panose="020B0604020202020204" pitchFamily="34" charset="0"/>
              <a:buChar char="•"/>
            </a:pPr>
            <a:r>
              <a:rPr lang="en-US" sz="1800" dirty="0" smtClean="0">
                <a:solidFill>
                  <a:prstClr val="black"/>
                </a:solidFill>
                <a:latin typeface="Calibri" panose="020F0502020204030204" pitchFamily="34" charset="0"/>
              </a:rPr>
              <a:t>More than 70 procurement consortium countries (</a:t>
            </a:r>
            <a:r>
              <a:rPr lang="en-US" sz="1800" i="1" dirty="0" smtClean="0">
                <a:solidFill>
                  <a:prstClr val="black"/>
                </a:solidFill>
                <a:latin typeface="Calibri" panose="020F0502020204030204" pitchFamily="34" charset="0"/>
              </a:rPr>
              <a:t>lighter blue</a:t>
            </a:r>
            <a:r>
              <a:rPr lang="en-US" sz="1800" dirty="0" smtClean="0">
                <a:solidFill>
                  <a:prstClr val="black"/>
                </a:solidFill>
                <a:latin typeface="Calibri" panose="020F0502020204030204" pitchFamily="34" charset="0"/>
              </a:rPr>
              <a:t>)</a:t>
            </a:r>
          </a:p>
        </p:txBody>
      </p:sp>
    </p:spTree>
    <p:extLst>
      <p:ext uri="{BB962C8B-B14F-4D97-AF65-F5344CB8AC3E}">
        <p14:creationId xmlns:p14="http://schemas.microsoft.com/office/powerpoint/2010/main" val="1375282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FFICE" val="Boston"/>
  <p:tag name="THINKCELLUNDODONOTDELETE" val="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ORDER" val="1"/>
  <p:tag name="MULTI-LINE" val="false"/>
  <p:tag name="TEXT" val="Presentation &amp;Title:"/>
  <p:tag name="FILL" val="true"/>
  <p:tag name="OPTIONAL" val="false"/>
  <p:tag name="NAME" val="Presentation Title"/>
  <p:tag name="HEIGHT" val="1"/>
  <p:tag name="INDENTED" val="false"/>
  <p:tag name="CAPTION HEIGHT" val="2"/>
  <p:tag name="THINKCELLSHAPEDONOTDELETE" val="p3UUSQb6IUkOdSmtqf2_0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RtteeCTEkqHgT4cbmLB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bLiMsNGuEGYAdZ9VYY2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AEgDVKUC0Cyb4_oMqqDi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9W5InIXAkawNdR.yVJ76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GSrJdxKL0WuZvbz6aZ5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26.xml><?xml version="1.0" encoding="utf-8"?>
<p:tagLst xmlns:a="http://schemas.openxmlformats.org/drawingml/2006/main" xmlns:r="http://schemas.openxmlformats.org/officeDocument/2006/relationships" xmlns:p="http://schemas.openxmlformats.org/presentationml/2006/main">
  <p:tag name="RESIZE" val="Yes"/>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GSrJdxKL0WuZvbz6aZ5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RESIZ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GSrJdxKL0WuZvbz6aZ5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34.xml><?xml version="1.0" encoding="utf-8"?>
<p:tagLst xmlns:a="http://schemas.openxmlformats.org/drawingml/2006/main" xmlns:r="http://schemas.openxmlformats.org/officeDocument/2006/relationships" xmlns:p="http://schemas.openxmlformats.org/presentationml/2006/main">
  <p:tag name="RESIZE" val="Yes"/>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GSrJdxKL0WuZvbz6aZ5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38.xml><?xml version="1.0" encoding="utf-8"?>
<p:tagLst xmlns:a="http://schemas.openxmlformats.org/drawingml/2006/main" xmlns:r="http://schemas.openxmlformats.org/officeDocument/2006/relationships" xmlns:p="http://schemas.openxmlformats.org/presentationml/2006/main">
  <p:tag name="RESIZE" val="Yes"/>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IZl0rDspU2f2syB5yEu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2TNvSVkMUaimVe17Zl7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nmmghw5NEarHeQnKT2m1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hyyo5c410S40oXOKH28P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3lPTWFsAk65zIC3kIdX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ei1NGVSzUqZplMJqOObRw"/>
</p:tagLst>
</file>

<file path=ppt/tags/tag45.xml><?xml version="1.0" encoding="utf-8"?>
<p:tagLst xmlns:a="http://schemas.openxmlformats.org/drawingml/2006/main" xmlns:r="http://schemas.openxmlformats.org/officeDocument/2006/relationships" xmlns:p="http://schemas.openxmlformats.org/presentationml/2006/main">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48.xml><?xml version="1.0" encoding="utf-8"?>
<p:tagLst xmlns:a="http://schemas.openxmlformats.org/drawingml/2006/main" xmlns:r="http://schemas.openxmlformats.org/officeDocument/2006/relationships" xmlns:p="http://schemas.openxmlformats.org/presentationml/2006/main">
  <p:tag name="RESIZE" val="Yes"/>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GSrJdxKL0WuZvbz6aZ5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52.xml><?xml version="1.0" encoding="utf-8"?>
<p:tagLst xmlns:a="http://schemas.openxmlformats.org/drawingml/2006/main" xmlns:r="http://schemas.openxmlformats.org/officeDocument/2006/relationships" xmlns:p="http://schemas.openxmlformats.org/presentationml/2006/main">
  <p:tag name="RESIZE" val="Yes"/>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GSrJdxKL0WuZvbz6aZ5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57.xml><?xml version="1.0" encoding="utf-8"?>
<p:tagLst xmlns:a="http://schemas.openxmlformats.org/drawingml/2006/main" xmlns:r="http://schemas.openxmlformats.org/officeDocument/2006/relationships" xmlns:p="http://schemas.openxmlformats.org/presentationml/2006/main">
  <p:tag name="RESIZE" val="Yes"/>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GSrJdxKL0WuZvbz6aZ5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2LXUreLLkGR8ZHo8T0Q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2LXUreLLkGR8ZHo8T0QA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lXKklk6XECEaqYnQt4hqw"/>
</p:tagLst>
</file>

<file path=ppt/tags/tag69.xml><?xml version="1.0" encoding="utf-8"?>
<p:tagLst xmlns:a="http://schemas.openxmlformats.org/drawingml/2006/main" xmlns:r="http://schemas.openxmlformats.org/officeDocument/2006/relationships" xmlns:p="http://schemas.openxmlformats.org/presentationml/2006/main">
  <p:tag name="RESIZ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3366"/>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003366"/>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Blank Presentation">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_Default Them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_Default Them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4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Verdana"/>
        <a:ea typeface="Arial"/>
        <a:cs typeface="Arial"/>
      </a:majorFont>
      <a:minorFont>
        <a:latin typeface="Verdana"/>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a:ln>
              <a:noFill/>
            </a:ln>
            <a:solidFill>
              <a:schemeClr val="tx1"/>
            </a:solidFill>
            <a:effectLst/>
            <a:latin typeface="Verdana" pitchFamily="-109" charset="0"/>
            <a:ea typeface="MS PGothic" pitchFamily="34" charset="-128"/>
            <a:cs typeface="MS PGothic" pitchFamily="34" charset="-128"/>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5_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1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Verdana"/>
        <a:ea typeface="Arial"/>
        <a:cs typeface="Arial"/>
      </a:majorFont>
      <a:minorFont>
        <a:latin typeface="Verdana"/>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a:ln>
              <a:noFill/>
            </a:ln>
            <a:solidFill>
              <a:schemeClr val="tx1"/>
            </a:solidFill>
            <a:effectLst/>
            <a:latin typeface="Verdana" pitchFamily="-109" charset="0"/>
            <a:ea typeface="MS PGothic" pitchFamily="34" charset="-128"/>
            <a:cs typeface="MS PGothic" pitchFamily="34" charset="-128"/>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0_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5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C000"/>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1" i="0" u="none" strike="noStrike" cap="none" normalizeH="0" baseline="0" smtClean="0">
            <a:ln>
              <a:noFill/>
            </a:ln>
            <a:solidFill>
              <a:schemeClr val="tx1"/>
            </a:solidFill>
            <a:effectLst/>
            <a:latin typeface="Verdana"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Verdana" pitchFamily="34" charset="0"/>
            <a:ea typeface="MS PGothic" pitchFamily="34" charset="-128"/>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6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C000"/>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400" b="1" i="0" u="none" strike="noStrike" cap="none" normalizeH="0" baseline="0" smtClean="0">
            <a:ln>
              <a:noFill/>
            </a:ln>
            <a:solidFill>
              <a:schemeClr val="tx1"/>
            </a:solidFill>
            <a:effectLst/>
            <a:latin typeface="Verdana" pitchFamily="34" charset="0"/>
            <a:ea typeface="MS PGothic" pitchFamily="34"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Verdana" pitchFamily="34" charset="0"/>
            <a:ea typeface="MS PGothic" pitchFamily="34" charset="-128"/>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Verdana"/>
        <a:ea typeface="Arial"/>
        <a:cs typeface="Arial"/>
      </a:majorFont>
      <a:minorFont>
        <a:latin typeface="Verdana"/>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a:ln>
              <a:noFill/>
            </a:ln>
            <a:solidFill>
              <a:schemeClr val="tx1"/>
            </a:solidFill>
            <a:effectLst/>
            <a:latin typeface="Verdana" pitchFamily="-109" charset="0"/>
            <a:ea typeface="MS PGothic" pitchFamily="34" charset="-128"/>
            <a:cs typeface="MS PGothic" pitchFamily="34" charset="-128"/>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7_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3366"/>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003366"/>
        </a:solid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MS PGothic"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6_CHAI PST Template 2012 -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9_CHAI PST Template 2012 -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10_CHAI PST Template 2012 - blu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7.xml><?xml version="1.0" encoding="utf-8"?>
<a:theme xmlns:a="http://schemas.openxmlformats.org/drawingml/2006/main" name="UNITAID Strategy - 05-2016">
  <a:themeElements>
    <a:clrScheme name="UNITAID Strategy - 05-2016">
      <a:dk1>
        <a:srgbClr val="000000"/>
      </a:dk1>
      <a:lt1>
        <a:srgbClr val="FFFFFF"/>
      </a:lt1>
      <a:dk2>
        <a:srgbClr val="B0120E"/>
      </a:dk2>
      <a:lt2>
        <a:srgbClr val="808080"/>
      </a:lt2>
      <a:accent1>
        <a:srgbClr val="E01712"/>
      </a:accent1>
      <a:accent2>
        <a:srgbClr val="F04642"/>
      </a:accent2>
      <a:accent3>
        <a:srgbClr val="4F81BD"/>
      </a:accent3>
      <a:accent4>
        <a:srgbClr val="8FAFD5"/>
      </a:accent4>
      <a:accent5>
        <a:srgbClr val="B2B2B2"/>
      </a:accent5>
      <a:accent6>
        <a:srgbClr val="E2E2E2"/>
      </a:accent6>
      <a:hlink>
        <a:srgbClr val="4F81BD"/>
      </a:hlink>
      <a:folHlink>
        <a:srgbClr val="D0D8E8"/>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w="9525">
          <a:solidFill>
            <a:schemeClr val="accent6"/>
          </a:solidFill>
        </a:ln>
        <a:effectLst/>
      </a:spPr>
      <a:bodyPr tIns="91440" bIns="91440" rtlCol="0" anchor="ctr" anchorCtr="0"/>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none" tIns="91440" bIns="91440" rtlCol="0">
        <a:spAutoFit/>
      </a:bodyPr>
      <a:lstStyle>
        <a:defPPr>
          <a:defRPr sz="1400" dirty="0" err="1" smtClean="0"/>
        </a:defPPr>
      </a:lstStyle>
    </a:txDef>
  </a:objectDefaults>
  <a:extraClrSchemeLst>
    <a:extraClrScheme>
      <a:clrScheme name="UNITAID Strategy - 05-2016">
        <a:dk1>
          <a:srgbClr val="000000"/>
        </a:dk1>
        <a:lt1>
          <a:srgbClr val="FFFFFF"/>
        </a:lt1>
        <a:dk2>
          <a:srgbClr val="B0120E"/>
        </a:dk2>
        <a:lt2>
          <a:srgbClr val="808080"/>
        </a:lt2>
        <a:accent1>
          <a:srgbClr val="E01712"/>
        </a:accent1>
        <a:accent2>
          <a:srgbClr val="F04642"/>
        </a:accent2>
        <a:accent3>
          <a:srgbClr val="4F81BD"/>
        </a:accent3>
        <a:accent4>
          <a:srgbClr val="8FAFD5"/>
        </a:accent4>
        <a:accent5>
          <a:srgbClr val="B2B2B2"/>
        </a:accent5>
        <a:accent6>
          <a:srgbClr val="E2E2E2"/>
        </a:accent6>
        <a:hlink>
          <a:srgbClr val="4F81BD"/>
        </a:hlink>
        <a:folHlink>
          <a:srgbClr val="D0D8E8"/>
        </a:folHlink>
      </a:clrScheme>
      <a:clrMap bg1="lt1" tx1="dk1" bg2="lt2" tx2="dk2" accent1="accent1" accent2="accent2" accent3="accent3" accent4="accent4" accent5="accent5" accent6="accent6" hlink="hlink" folHlink="folHlink"/>
    </a:extraClrScheme>
  </a:extraClrSchemeLst>
  <a:custClrLst>
    <a:custClr name="White">
      <a:srgbClr val="FFFFFF"/>
    </a:custClr>
    <a:custClr name="Black">
      <a:srgbClr val="000000"/>
    </a:custClr>
    <a:custClr name="Light Red">
      <a:srgbClr val="ECCABD"/>
    </a:custClr>
    <a:custClr name="Medium Red">
      <a:srgbClr val="F79C93"/>
    </a:custClr>
    <a:custClr name="Red">
      <a:srgbClr val="F04642"/>
    </a:custClr>
    <a:custClr name="Dark Red">
      <a:srgbClr val="E01712"/>
    </a:custClr>
    <a:custClr name="UNITAID Red">
      <a:srgbClr val="B0120E"/>
    </a:custClr>
    <a:custClr name="Light Gray BCG">
      <a:srgbClr val="E2E2E2"/>
    </a:custClr>
    <a:custClr name="Medium Gray BCG">
      <a:srgbClr val="B2B2B2"/>
    </a:custClr>
    <a:custClr name="Gray BCG">
      <a:srgbClr val="808080"/>
    </a:custClr>
    <a:custClr name="Dark Gray BCG">
      <a:srgbClr val="4D4D4D"/>
    </a:custClr>
    <a:custClr name="Light Blue">
      <a:srgbClr val="D0D8E8"/>
    </a:custClr>
    <a:custClr name="Medium Blue">
      <a:srgbClr val="8FAFD5"/>
    </a:custClr>
    <a:custClr name="Blue">
      <a:srgbClr val="4F81BD"/>
    </a:custClr>
    <a:custClr name="Dark Blue">
      <a:srgbClr val="25408F"/>
    </a:custClr>
    <a:custClr name="UNITAID Accent Green">
      <a:srgbClr val="41AD49"/>
    </a:custClr>
    <a:custClr name="UNITAID Accent Yellow">
      <a:srgbClr val="FFCB05"/>
    </a:custClr>
    <a:custClr name="UNITAID Accent Purple">
      <a:srgbClr val="9C248F"/>
    </a:custClr>
    <a:custClr name="White">
      <a:srgbClr val="FFFFFF"/>
    </a:custClr>
    <a:custClr name="Light Green">
      <a:srgbClr val="CBF698"/>
    </a:custClr>
    <a:custClr name="Medium Green">
      <a:srgbClr val="80C739"/>
    </a:custClr>
    <a:custClr name="Green">
      <a:srgbClr val="4F9509"/>
    </a:custClr>
    <a:custClr name="Dark Green">
      <a:srgbClr val="39640E"/>
    </a:custClr>
    <a:custClr name="Light Yellow">
      <a:srgbClr val="FCF1BA"/>
    </a:custClr>
    <a:custClr name="Medium Yellow">
      <a:srgbClr val="F1DB6B"/>
    </a:custClr>
    <a:custClr name="Yellow">
      <a:srgbClr val="EABE1C"/>
    </a:custClr>
    <a:custClr name="Dark Yellow">
      <a:srgbClr val="D29B00"/>
    </a:custClr>
    <a:custClr name="Light Purple">
      <a:srgbClr val="F6C8F5"/>
    </a:custClr>
    <a:custClr name="Medium Purple">
      <a:srgbClr val="DE8EDE"/>
    </a:custClr>
    <a:custClr name="Purple">
      <a:srgbClr val="B04EAE"/>
    </a:custClr>
    <a:custClr name="Dark Purple">
      <a:srgbClr val="872985"/>
    </a:custClr>
    <a:custClr name="Light Brown">
      <a:srgbClr val="F4D8BA"/>
    </a:custClr>
    <a:custClr name="Medium Brown">
      <a:srgbClr val="D2A676"/>
    </a:custClr>
    <a:custClr name="Brown">
      <a:srgbClr val="A1784B"/>
    </a:custClr>
    <a:custClr name="Dark Brown">
      <a:srgbClr val="75481B"/>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2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Blank Presentation">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Default Them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Blank Presentation">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6_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CHAI 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4739</TotalTime>
  <Words>2450</Words>
  <Application>Microsoft Office PowerPoint</Application>
  <PresentationFormat>On-screen Show (4:3)</PresentationFormat>
  <Paragraphs>469</Paragraphs>
  <Slides>25</Slides>
  <Notes>21</Notes>
  <HiddenSlides>0</HiddenSlides>
  <MMClips>0</MMClips>
  <ScaleCrop>false</ScaleCrop>
  <HeadingPairs>
    <vt:vector size="6" baseType="variant">
      <vt:variant>
        <vt:lpstr>Theme</vt:lpstr>
      </vt:variant>
      <vt:variant>
        <vt:i4>27</vt:i4>
      </vt:variant>
      <vt:variant>
        <vt:lpstr>Embedded OLE Servers</vt:lpstr>
      </vt:variant>
      <vt:variant>
        <vt:i4>1</vt:i4>
      </vt:variant>
      <vt:variant>
        <vt:lpstr>Slide Titles</vt:lpstr>
      </vt:variant>
      <vt:variant>
        <vt:i4>25</vt:i4>
      </vt:variant>
    </vt:vector>
  </HeadingPairs>
  <TitlesOfParts>
    <vt:vector size="53" baseType="lpstr">
      <vt:lpstr>Blank Presentation</vt:lpstr>
      <vt:lpstr>3_Custom Design</vt:lpstr>
      <vt:lpstr>CHAI Office Theme</vt:lpstr>
      <vt:lpstr>5_CHAI Office Theme</vt:lpstr>
      <vt:lpstr>1_Blank Presentation</vt:lpstr>
      <vt:lpstr>Default Theme</vt:lpstr>
      <vt:lpstr>3_Blank Presentation</vt:lpstr>
      <vt:lpstr>6_CHAI Office Theme</vt:lpstr>
      <vt:lpstr>8_CHAI Office Theme</vt:lpstr>
      <vt:lpstr>4_Blank Presentation</vt:lpstr>
      <vt:lpstr>10_CHAI Office Theme</vt:lpstr>
      <vt:lpstr>1_Default Theme</vt:lpstr>
      <vt:lpstr>2_Default Theme</vt:lpstr>
      <vt:lpstr>4_Custom Design</vt:lpstr>
      <vt:lpstr>15_CHAI Office Theme</vt:lpstr>
      <vt:lpstr>11_Custom Design</vt:lpstr>
      <vt:lpstr>20_CHAI Office Theme</vt:lpstr>
      <vt:lpstr>5_Custom Design</vt:lpstr>
      <vt:lpstr>6_Custom Design</vt:lpstr>
      <vt:lpstr>7_CHAI Office Theme</vt:lpstr>
      <vt:lpstr>2_Blank Presentation</vt:lpstr>
      <vt:lpstr>1_Office Theme</vt:lpstr>
      <vt:lpstr>2_Office Theme</vt:lpstr>
      <vt:lpstr>6_CHAI PST Template 2012 - blue</vt:lpstr>
      <vt:lpstr>9_CHAI PST Template 2012 - blue</vt:lpstr>
      <vt:lpstr>10_CHAI PST Template 2012 - blue</vt:lpstr>
      <vt:lpstr>UNITAID Strategy - 05-2016</vt:lpstr>
      <vt:lpstr>think-cell Slide</vt:lpstr>
      <vt:lpstr>PowerPoint Presentation</vt:lpstr>
      <vt:lpstr>Welcome to CAB members!</vt:lpstr>
      <vt:lpstr>Welcome to our Sengalese colleagues!</vt:lpstr>
      <vt:lpstr>Agenda Overview: Tuesday, April 11</vt:lpstr>
      <vt:lpstr>Agenda Overview: Wednesday, April 12</vt:lpstr>
      <vt:lpstr>Agenda Overview: Tuesday, April 11</vt:lpstr>
      <vt:lpstr>Introductions and Scene Setting: Country Context</vt:lpstr>
      <vt:lpstr>Agenda Overview: Tuesday, April 11</vt:lpstr>
      <vt:lpstr>PowerPoint Presentation</vt:lpstr>
      <vt:lpstr>CHAI Background: CHAI HIV Access Program Mission Statement</vt:lpstr>
      <vt:lpstr>CHAI’s strategy is based on coordinated engagement with both the supply and demand sides of the ARV market</vt:lpstr>
      <vt:lpstr>The UNITAID-CHAI Optimal ARV project aims to generate demand for target ARVs in high-burden focal countries, driving rapid uptake and lowering global costs</vt:lpstr>
      <vt:lpstr>A coordinated approach with global and in-country partners will be critical to the success of this project</vt:lpstr>
      <vt:lpstr>Question: Why is Community Engagement so Important to Optimal Treatment Access?</vt:lpstr>
      <vt:lpstr>Answers: Why is Community Engagement so Important to Optimal Treatment Access?</vt:lpstr>
      <vt:lpstr>CHAI’s work in countries consists of a holistic set of interventions to accelerate introduction of optimal new products for PLHIV</vt:lpstr>
      <vt:lpstr>Dolutegravir (DTG) is a new and highly optimal ARV.  CHAI is supporting DTG adoption and introduction across all focal countries, as well as limited procurement for three early adopter countries – Kenya, Uganda, Nigeria</vt:lpstr>
      <vt:lpstr>Several countries have initiated early adoption and procurement of DTG that will lead to national scale-up when FDCs become available</vt:lpstr>
      <vt:lpstr>Role of the CAB in the Optimal ARV Project</vt:lpstr>
      <vt:lpstr>Optimal ARV CAB Practicalities </vt:lpstr>
      <vt:lpstr>PowerPoint Presentation</vt:lpstr>
      <vt:lpstr>UNITAID's mission &amp; new strategy</vt:lpstr>
      <vt:lpstr>HOW UNITAID OPERATES NOW</vt:lpstr>
      <vt:lpstr>What are concrete interventions?</vt:lpstr>
      <vt:lpstr>Thank you!</vt:lpstr>
    </vt:vector>
  </TitlesOfParts>
  <Company>William J. Clinton Found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olyn Amole</dc:creator>
  <cp:lastModifiedBy>Caroline Middlecoate</cp:lastModifiedBy>
  <cp:revision>1923</cp:revision>
  <dcterms:created xsi:type="dcterms:W3CDTF">2008-03-04T08:08:00Z</dcterms:created>
  <dcterms:modified xsi:type="dcterms:W3CDTF">2017-04-12T11:5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umberOfSlides">
    <vt:i4>37</vt:i4>
  </property>
  <property fmtid="{D5CDD505-2E9C-101B-9397-08002B2CF9AE}" pid="3" name="RevisionCount">
    <vt:i4>44</vt:i4>
  </property>
</Properties>
</file>